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8.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9.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 id="2147483834" r:id="rId2"/>
    <p:sldMasterId id="2147486371" r:id="rId3"/>
  </p:sldMasterIdLst>
  <p:notesMasterIdLst>
    <p:notesMasterId r:id="rId76"/>
  </p:notesMasterIdLst>
  <p:handoutMasterIdLst>
    <p:handoutMasterId r:id="rId77"/>
  </p:handoutMasterIdLst>
  <p:sldIdLst>
    <p:sldId id="257" r:id="rId4"/>
    <p:sldId id="501" r:id="rId5"/>
    <p:sldId id="341" r:id="rId6"/>
    <p:sldId id="415" r:id="rId7"/>
    <p:sldId id="416" r:id="rId8"/>
    <p:sldId id="492" r:id="rId9"/>
    <p:sldId id="386" r:id="rId10"/>
    <p:sldId id="387" r:id="rId11"/>
    <p:sldId id="388" r:id="rId12"/>
    <p:sldId id="389" r:id="rId13"/>
    <p:sldId id="390" r:id="rId14"/>
    <p:sldId id="391" r:id="rId15"/>
    <p:sldId id="392" r:id="rId16"/>
    <p:sldId id="487" r:id="rId17"/>
    <p:sldId id="425" r:id="rId18"/>
    <p:sldId id="478" r:id="rId19"/>
    <p:sldId id="535" r:id="rId20"/>
    <p:sldId id="479" r:id="rId21"/>
    <p:sldId id="480" r:id="rId22"/>
    <p:sldId id="481" r:id="rId23"/>
    <p:sldId id="483" r:id="rId24"/>
    <p:sldId id="484" r:id="rId25"/>
    <p:sldId id="551" r:id="rId26"/>
    <p:sldId id="485" r:id="rId27"/>
    <p:sldId id="419" r:id="rId28"/>
    <p:sldId id="490" r:id="rId29"/>
    <p:sldId id="486" r:id="rId30"/>
    <p:sldId id="420" r:id="rId31"/>
    <p:sldId id="489" r:id="rId32"/>
    <p:sldId id="525" r:id="rId33"/>
    <p:sldId id="524" r:id="rId34"/>
    <p:sldId id="523" r:id="rId35"/>
    <p:sldId id="522" r:id="rId36"/>
    <p:sldId id="521" r:id="rId37"/>
    <p:sldId id="532" r:id="rId38"/>
    <p:sldId id="505" r:id="rId39"/>
    <p:sldId id="506" r:id="rId40"/>
    <p:sldId id="507" r:id="rId41"/>
    <p:sldId id="508" r:id="rId42"/>
    <p:sldId id="504" r:id="rId43"/>
    <p:sldId id="549" r:id="rId44"/>
    <p:sldId id="548" r:id="rId45"/>
    <p:sldId id="531" r:id="rId46"/>
    <p:sldId id="516" r:id="rId47"/>
    <p:sldId id="553" r:id="rId48"/>
    <p:sldId id="510" r:id="rId49"/>
    <p:sldId id="547" r:id="rId50"/>
    <p:sldId id="527" r:id="rId51"/>
    <p:sldId id="503" r:id="rId52"/>
    <p:sldId id="530" r:id="rId53"/>
    <p:sldId id="511" r:id="rId54"/>
    <p:sldId id="552" r:id="rId55"/>
    <p:sldId id="509" r:id="rId56"/>
    <p:sldId id="515" r:id="rId57"/>
    <p:sldId id="554" r:id="rId58"/>
    <p:sldId id="533" r:id="rId59"/>
    <p:sldId id="513" r:id="rId60"/>
    <p:sldId id="514" r:id="rId61"/>
    <p:sldId id="555" r:id="rId62"/>
    <p:sldId id="529" r:id="rId63"/>
    <p:sldId id="517" r:id="rId64"/>
    <p:sldId id="518" r:id="rId65"/>
    <p:sldId id="491" r:id="rId66"/>
    <p:sldId id="461" r:id="rId67"/>
    <p:sldId id="556" r:id="rId68"/>
    <p:sldId id="557" r:id="rId69"/>
    <p:sldId id="558" r:id="rId70"/>
    <p:sldId id="559" r:id="rId71"/>
    <p:sldId id="560" r:id="rId72"/>
    <p:sldId id="550" r:id="rId73"/>
    <p:sldId id="379" r:id="rId74"/>
    <p:sldId id="429" r:id="rId75"/>
  </p:sldIdLst>
  <p:sldSz cx="9144000" cy="6858000" type="screen4x3"/>
  <p:notesSz cx="6797675" cy="9928225"/>
  <p:custDataLst>
    <p:tags r:id="rId78"/>
  </p:custDataLst>
  <p:defaultTextStyle>
    <a:defPPr>
      <a:defRPr lang="en-GB"/>
    </a:defPPr>
    <a:lvl1pPr algn="l" rtl="0" fontAlgn="base">
      <a:spcBef>
        <a:spcPct val="0"/>
      </a:spcBef>
      <a:spcAft>
        <a:spcPct val="0"/>
      </a:spcAft>
      <a:defRPr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b="1" kern="1200">
        <a:solidFill>
          <a:schemeClr val="tx1"/>
        </a:solidFill>
        <a:latin typeface="Arial" pitchFamily="34" charset="0"/>
        <a:ea typeface="+mn-ea"/>
        <a:cs typeface="Arial" pitchFamily="34" charset="0"/>
      </a:defRPr>
    </a:lvl5pPr>
    <a:lvl6pPr marL="2286000" algn="l" defTabSz="914400" rtl="0" eaLnBrk="1" latinLnBrk="0" hangingPunct="1">
      <a:defRPr b="1" kern="1200">
        <a:solidFill>
          <a:schemeClr val="tx1"/>
        </a:solidFill>
        <a:latin typeface="Arial" pitchFamily="34" charset="0"/>
        <a:ea typeface="+mn-ea"/>
        <a:cs typeface="Arial" pitchFamily="34" charset="0"/>
      </a:defRPr>
    </a:lvl6pPr>
    <a:lvl7pPr marL="2743200" algn="l" defTabSz="914400" rtl="0" eaLnBrk="1" latinLnBrk="0" hangingPunct="1">
      <a:defRPr b="1" kern="1200">
        <a:solidFill>
          <a:schemeClr val="tx1"/>
        </a:solidFill>
        <a:latin typeface="Arial" pitchFamily="34" charset="0"/>
        <a:ea typeface="+mn-ea"/>
        <a:cs typeface="Arial" pitchFamily="34" charset="0"/>
      </a:defRPr>
    </a:lvl7pPr>
    <a:lvl8pPr marL="3200400" algn="l" defTabSz="914400" rtl="0" eaLnBrk="1" latinLnBrk="0" hangingPunct="1">
      <a:defRPr b="1" kern="1200">
        <a:solidFill>
          <a:schemeClr val="tx1"/>
        </a:solidFill>
        <a:latin typeface="Arial" pitchFamily="34" charset="0"/>
        <a:ea typeface="+mn-ea"/>
        <a:cs typeface="Arial" pitchFamily="34" charset="0"/>
      </a:defRPr>
    </a:lvl8pPr>
    <a:lvl9pPr marL="3657600" algn="l" defTabSz="914400" rtl="0" eaLnBrk="1" latinLnBrk="0" hangingPunct="1">
      <a:defRPr b="1"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orient="horz" pos="811">
          <p15:clr>
            <a:srgbClr val="A4A3A4"/>
          </p15:clr>
        </p15:guide>
        <p15:guide id="3" orient="horz" pos="3980">
          <p15:clr>
            <a:srgbClr val="A4A3A4"/>
          </p15:clr>
        </p15:guide>
        <p15:guide id="4" orient="horz" pos="254">
          <p15:clr>
            <a:srgbClr val="A4A3A4"/>
          </p15:clr>
        </p15:guide>
        <p15:guide id="5" orient="horz" pos="4081">
          <p15:clr>
            <a:srgbClr val="A4A3A4"/>
          </p15:clr>
        </p15:guide>
        <p15:guide id="6" pos="2880">
          <p15:clr>
            <a:srgbClr val="A4A3A4"/>
          </p15:clr>
        </p15:guide>
        <p15:guide id="7" pos="228">
          <p15:clr>
            <a:srgbClr val="A4A3A4"/>
          </p15:clr>
        </p15:guide>
        <p15:guide id="8" pos="5554">
          <p15:clr>
            <a:srgbClr val="A4A3A4"/>
          </p15:clr>
        </p15:guide>
        <p15:guide id="9" pos="32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2D400"/>
    <a:srgbClr val="72C7E7"/>
    <a:srgbClr val="00A1DE"/>
    <a:srgbClr val="002776"/>
    <a:srgbClr val="99CCFF"/>
    <a:srgbClr val="080808"/>
    <a:srgbClr val="52D0FF"/>
    <a:srgbClr val="000066"/>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44" autoAdjust="0"/>
    <p:restoredTop sz="93961" autoAdjust="0"/>
  </p:normalViewPr>
  <p:slideViewPr>
    <p:cSldViewPr snapToGrid="0" showGuides="1">
      <p:cViewPr varScale="1">
        <p:scale>
          <a:sx n="86" d="100"/>
          <a:sy n="86" d="100"/>
        </p:scale>
        <p:origin x="1387" y="58"/>
      </p:cViewPr>
      <p:guideLst>
        <p:guide orient="horz" pos="2160"/>
        <p:guide orient="horz" pos="811"/>
        <p:guide orient="horz" pos="3980"/>
        <p:guide orient="horz" pos="254"/>
        <p:guide orient="horz" pos="4081"/>
        <p:guide pos="2880"/>
        <p:guide pos="228"/>
        <p:guide pos="5554"/>
        <p:guide pos="3227"/>
      </p:guideLst>
    </p:cSldViewPr>
  </p:slideViewPr>
  <p:outlineViewPr>
    <p:cViewPr>
      <p:scale>
        <a:sx n="33" d="100"/>
        <a:sy n="33" d="100"/>
      </p:scale>
      <p:origin x="0" y="966"/>
    </p:cViewPr>
  </p:outlineViewPr>
  <p:notesTextViewPr>
    <p:cViewPr>
      <p:scale>
        <a:sx n="100" d="100"/>
        <a:sy n="100" d="100"/>
      </p:scale>
      <p:origin x="0" y="0"/>
    </p:cViewPr>
  </p:notesTextViewPr>
  <p:sorterViewPr>
    <p:cViewPr>
      <p:scale>
        <a:sx n="100" d="100"/>
        <a:sy n="100" d="100"/>
      </p:scale>
      <p:origin x="0" y="96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notesMaster" Target="notesMasters/notesMaster1.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handoutMaster" Target="handoutMasters/handout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DFC49983-8A62-4B48-82C7-BE1F512B5EF4}" type="datetimeFigureOut">
              <a:rPr lang="en-GB" smtClean="0"/>
              <a:t>21/03/2016</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1F712A92-C9BA-40F2-8B57-F28FC7A39E48}" type="slidenum">
              <a:rPr lang="en-GB" smtClean="0"/>
              <a:t>‹#›</a:t>
            </a:fld>
            <a:endParaRPr lang="en-GB"/>
          </a:p>
        </p:txBody>
      </p:sp>
    </p:spTree>
    <p:extLst>
      <p:ext uri="{BB962C8B-B14F-4D97-AF65-F5344CB8AC3E}">
        <p14:creationId xmlns:p14="http://schemas.microsoft.com/office/powerpoint/2010/main" val="22480297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0" smtClean="0"/>
            </a:lvl1pPr>
          </a:lstStyle>
          <a:p>
            <a:pPr>
              <a:defRPr/>
            </a:pPr>
            <a:endParaRPr lang="en-US"/>
          </a:p>
        </p:txBody>
      </p:sp>
      <p:sp>
        <p:nvSpPr>
          <p:cNvPr id="5123" name="Rectangle 3"/>
          <p:cNvSpPr>
            <a:spLocks noGrp="1" noChangeArrowheads="1"/>
          </p:cNvSpPr>
          <p:nvPr>
            <p:ph type="dt" idx="1"/>
          </p:nvPr>
        </p:nvSpPr>
        <p:spPr bwMode="auto">
          <a:xfrm>
            <a:off x="3849688"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smtClean="0"/>
            </a:lvl1pPr>
          </a:lstStyle>
          <a:p>
            <a:pPr>
              <a:defRPr/>
            </a:pPr>
            <a:endParaRPr lang="en-US"/>
          </a:p>
        </p:txBody>
      </p:sp>
      <p:sp>
        <p:nvSpPr>
          <p:cNvPr id="176132"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679450" y="4716463"/>
            <a:ext cx="5438775"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5126"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b="0" smtClean="0"/>
            </a:lvl1pPr>
          </a:lstStyle>
          <a:p>
            <a:pPr>
              <a:defRPr/>
            </a:pPr>
            <a:endParaRPr lang="en-US"/>
          </a:p>
        </p:txBody>
      </p:sp>
      <p:sp>
        <p:nvSpPr>
          <p:cNvPr id="5127" name="Rectangle 7"/>
          <p:cNvSpPr>
            <a:spLocks noGrp="1" noChangeArrowheads="1"/>
          </p:cNvSpPr>
          <p:nvPr>
            <p:ph type="sldNum" sz="quarter" idx="5"/>
          </p:nvPr>
        </p:nvSpPr>
        <p:spPr bwMode="auto">
          <a:xfrm>
            <a:off x="3849688" y="9429750"/>
            <a:ext cx="29464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smtClean="0"/>
            </a:lvl1pPr>
          </a:lstStyle>
          <a:p>
            <a:pPr>
              <a:defRPr/>
            </a:pPr>
            <a:fld id="{175AB767-9C1F-4ACC-8170-E813DABD47B4}" type="slidenum">
              <a:rPr lang="en-GB"/>
              <a:pPr>
                <a:defRPr/>
              </a:pPr>
              <a:t>‹#›</a:t>
            </a:fld>
            <a:endParaRPr lang="en-GB"/>
          </a:p>
        </p:txBody>
      </p:sp>
    </p:spTree>
    <p:extLst>
      <p:ext uri="{BB962C8B-B14F-4D97-AF65-F5344CB8AC3E}">
        <p14:creationId xmlns:p14="http://schemas.microsoft.com/office/powerpoint/2010/main" val="218789083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7"/>
          <p:cNvSpPr>
            <a:spLocks noGrp="1" noChangeArrowheads="1"/>
          </p:cNvSpPr>
          <p:nvPr>
            <p:ph type="sldNum" sz="quarter" idx="5"/>
          </p:nvPr>
        </p:nvSpPr>
        <p:spPr>
          <a:noFill/>
        </p:spPr>
        <p:txBody>
          <a:bodyPr/>
          <a:lstStyle/>
          <a:p>
            <a:fld id="{070379D2-1285-4556-B568-235A16E4C425}" type="slidenum">
              <a:rPr lang="en-GB"/>
              <a:pPr/>
              <a:t>1</a:t>
            </a:fld>
            <a:endParaRPr lang="en-GB"/>
          </a:p>
        </p:txBody>
      </p:sp>
      <p:sp>
        <p:nvSpPr>
          <p:cNvPr id="177155" name="Rectangle 2"/>
          <p:cNvSpPr>
            <a:spLocks noGrp="1" noRot="1" noChangeAspect="1" noChangeArrowheads="1" noTextEdit="1"/>
          </p:cNvSpPr>
          <p:nvPr>
            <p:ph type="sldImg"/>
          </p:nvPr>
        </p:nvSpPr>
        <p:spPr>
          <a:xfrm>
            <a:off x="568325" y="222250"/>
            <a:ext cx="5653088" cy="4241800"/>
          </a:xfrm>
          <a:ln/>
        </p:spPr>
      </p:sp>
      <p:sp>
        <p:nvSpPr>
          <p:cNvPr id="177156" name="Rectangle 3"/>
          <p:cNvSpPr>
            <a:spLocks noGrp="1" noChangeArrowheads="1"/>
          </p:cNvSpPr>
          <p:nvPr>
            <p:ph type="body" idx="1"/>
          </p:nvPr>
        </p:nvSpPr>
        <p:spPr>
          <a:xfrm>
            <a:off x="179388" y="4508500"/>
            <a:ext cx="6430962" cy="5232400"/>
          </a:xfrm>
          <a:noFill/>
          <a:ln/>
        </p:spPr>
        <p:txBody>
          <a:bodyPr/>
          <a:lstStyle/>
          <a:p>
            <a:pPr eaLnBrk="1" hangingPunct="1"/>
            <a:endParaRPr lang="en-US" smtClean="0"/>
          </a:p>
        </p:txBody>
      </p:sp>
    </p:spTree>
    <p:extLst>
      <p:ext uri="{BB962C8B-B14F-4D97-AF65-F5344CB8AC3E}">
        <p14:creationId xmlns:p14="http://schemas.microsoft.com/office/powerpoint/2010/main" val="22799962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7"/>
          <p:cNvSpPr>
            <a:spLocks noGrp="1" noChangeArrowheads="1"/>
          </p:cNvSpPr>
          <p:nvPr>
            <p:ph type="sldNum" sz="quarter" idx="5"/>
          </p:nvPr>
        </p:nvSpPr>
        <p:spPr>
          <a:noFill/>
        </p:spPr>
        <p:txBody>
          <a:bodyPr/>
          <a:lstStyle/>
          <a:p>
            <a:fld id="{23BEE544-F274-477D-AE3C-8BD49412093F}" type="slidenum">
              <a:rPr lang="en-GB">
                <a:solidFill>
                  <a:srgbClr val="000000"/>
                </a:solidFill>
              </a:rPr>
              <a:pPr/>
              <a:t>13</a:t>
            </a:fld>
            <a:endParaRPr lang="en-GB">
              <a:solidFill>
                <a:srgbClr val="000000"/>
              </a:solidFill>
            </a:endParaRPr>
          </a:p>
        </p:txBody>
      </p:sp>
      <p:sp>
        <p:nvSpPr>
          <p:cNvPr id="186371" name="Rectangle 2"/>
          <p:cNvSpPr>
            <a:spLocks noGrp="1" noRot="1" noChangeAspect="1" noChangeArrowheads="1" noTextEdit="1"/>
          </p:cNvSpPr>
          <p:nvPr>
            <p:ph type="sldImg"/>
          </p:nvPr>
        </p:nvSpPr>
        <p:spPr>
          <a:ln/>
        </p:spPr>
      </p:sp>
      <p:sp>
        <p:nvSpPr>
          <p:cNvPr id="186372"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1480514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Rectangle 7"/>
          <p:cNvSpPr>
            <a:spLocks noGrp="1" noChangeArrowheads="1"/>
          </p:cNvSpPr>
          <p:nvPr>
            <p:ph type="sldNum" sz="quarter" idx="5"/>
          </p:nvPr>
        </p:nvSpPr>
        <p:spPr>
          <a:noFill/>
        </p:spPr>
        <p:txBody>
          <a:bodyPr/>
          <a:lstStyle/>
          <a:p>
            <a:fld id="{FA594D97-3424-498D-AA9E-5C2E9FE7044F}" type="slidenum">
              <a:rPr lang="en-GB">
                <a:solidFill>
                  <a:srgbClr val="000000"/>
                </a:solidFill>
              </a:rPr>
              <a:pPr/>
              <a:t>16</a:t>
            </a:fld>
            <a:endParaRPr lang="en-GB">
              <a:solidFill>
                <a:srgbClr val="000000"/>
              </a:solidFill>
            </a:endParaRPr>
          </a:p>
        </p:txBody>
      </p:sp>
      <p:sp>
        <p:nvSpPr>
          <p:cNvPr id="190467" name="Rectangle 2"/>
          <p:cNvSpPr>
            <a:spLocks noGrp="1" noRot="1" noChangeAspect="1" noChangeArrowheads="1" noTextEdit="1"/>
          </p:cNvSpPr>
          <p:nvPr>
            <p:ph type="sldImg"/>
          </p:nvPr>
        </p:nvSpPr>
        <p:spPr>
          <a:ln/>
        </p:spPr>
      </p:sp>
      <p:sp>
        <p:nvSpPr>
          <p:cNvPr id="190468"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740426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a:noFill/>
        </p:spPr>
        <p:txBody>
          <a:bodyPr/>
          <a:lstStyle/>
          <a:p>
            <a:fld id="{E7A5DEF7-D8C2-4AE1-90EF-FBF2616CE22F}" type="slidenum">
              <a:rPr lang="en-GB">
                <a:solidFill>
                  <a:srgbClr val="000000"/>
                </a:solidFill>
              </a:rPr>
              <a:pPr/>
              <a:t>17</a:t>
            </a:fld>
            <a:endParaRPr lang="en-GB">
              <a:solidFill>
                <a:srgbClr val="000000"/>
              </a:solidFill>
            </a:endParaRPr>
          </a:p>
        </p:txBody>
      </p:sp>
      <p:sp>
        <p:nvSpPr>
          <p:cNvPr id="178179" name="Rectangle 2"/>
          <p:cNvSpPr>
            <a:spLocks noGrp="1" noRot="1" noChangeAspect="1" noChangeArrowheads="1" noTextEdit="1"/>
          </p:cNvSpPr>
          <p:nvPr>
            <p:ph type="sldImg"/>
          </p:nvPr>
        </p:nvSpPr>
        <p:spPr>
          <a:ln/>
        </p:spPr>
      </p:sp>
      <p:sp>
        <p:nvSpPr>
          <p:cNvPr id="178180" name="Rectangle 3"/>
          <p:cNvSpPr>
            <a:spLocks noGrp="1" noChangeArrowheads="1"/>
          </p:cNvSpPr>
          <p:nvPr>
            <p:ph type="body" idx="1"/>
          </p:nvPr>
        </p:nvSpPr>
        <p:spPr>
          <a:noFill/>
          <a:ln/>
        </p:spPr>
        <p:txBody>
          <a:bodyPr/>
          <a:lstStyle/>
          <a:p>
            <a:pPr eaLnBrk="1" hangingPunct="1"/>
            <a:r>
              <a:rPr lang="en-GB" smtClean="0"/>
              <a:t>Version </a:t>
            </a:r>
          </a:p>
        </p:txBody>
      </p:sp>
    </p:spTree>
    <p:extLst>
      <p:ext uri="{BB962C8B-B14F-4D97-AF65-F5344CB8AC3E}">
        <p14:creationId xmlns:p14="http://schemas.microsoft.com/office/powerpoint/2010/main" val="2477949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7"/>
          <p:cNvSpPr>
            <a:spLocks noGrp="1" noChangeArrowheads="1"/>
          </p:cNvSpPr>
          <p:nvPr>
            <p:ph type="sldNum" sz="quarter" idx="5"/>
          </p:nvPr>
        </p:nvSpPr>
        <p:spPr>
          <a:noFill/>
        </p:spPr>
        <p:txBody>
          <a:bodyPr/>
          <a:lstStyle/>
          <a:p>
            <a:fld id="{E77E8667-DC00-426C-AA0F-37AD8D896D6F}" type="slidenum">
              <a:rPr lang="en-GB">
                <a:solidFill>
                  <a:srgbClr val="000000"/>
                </a:solidFill>
              </a:rPr>
              <a:pPr/>
              <a:t>18</a:t>
            </a:fld>
            <a:endParaRPr lang="en-GB">
              <a:solidFill>
                <a:srgbClr val="000000"/>
              </a:solidFill>
            </a:endParaRPr>
          </a:p>
        </p:txBody>
      </p:sp>
      <p:sp>
        <p:nvSpPr>
          <p:cNvPr id="191491" name="Rectangle 2"/>
          <p:cNvSpPr>
            <a:spLocks noGrp="1" noRot="1" noChangeAspect="1" noChangeArrowheads="1" noTextEdit="1"/>
          </p:cNvSpPr>
          <p:nvPr>
            <p:ph type="sldImg"/>
          </p:nvPr>
        </p:nvSpPr>
        <p:spPr>
          <a:ln/>
        </p:spPr>
      </p:sp>
      <p:sp>
        <p:nvSpPr>
          <p:cNvPr id="191492"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6104078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7"/>
          <p:cNvSpPr>
            <a:spLocks noGrp="1" noChangeArrowheads="1"/>
          </p:cNvSpPr>
          <p:nvPr>
            <p:ph type="sldNum" sz="quarter" idx="5"/>
          </p:nvPr>
        </p:nvSpPr>
        <p:spPr>
          <a:noFill/>
        </p:spPr>
        <p:txBody>
          <a:bodyPr/>
          <a:lstStyle/>
          <a:p>
            <a:fld id="{B5B77490-8CC2-44A6-BFEB-2CB43FC8C0F1}" type="slidenum">
              <a:rPr lang="en-GB">
                <a:solidFill>
                  <a:srgbClr val="000000"/>
                </a:solidFill>
              </a:rPr>
              <a:pPr/>
              <a:t>19</a:t>
            </a:fld>
            <a:endParaRPr lang="en-GB">
              <a:solidFill>
                <a:srgbClr val="000000"/>
              </a:solidFill>
            </a:endParaRPr>
          </a:p>
        </p:txBody>
      </p:sp>
      <p:sp>
        <p:nvSpPr>
          <p:cNvPr id="192515" name="Rectangle 2"/>
          <p:cNvSpPr>
            <a:spLocks noGrp="1" noRot="1" noChangeAspect="1" noChangeArrowheads="1" noTextEdit="1"/>
          </p:cNvSpPr>
          <p:nvPr>
            <p:ph type="sldImg"/>
          </p:nvPr>
        </p:nvSpPr>
        <p:spPr>
          <a:ln/>
        </p:spPr>
      </p:sp>
      <p:sp>
        <p:nvSpPr>
          <p:cNvPr id="192516"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41704941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Rectangle 7"/>
          <p:cNvSpPr>
            <a:spLocks noGrp="1" noChangeArrowheads="1"/>
          </p:cNvSpPr>
          <p:nvPr>
            <p:ph type="sldNum" sz="quarter" idx="5"/>
          </p:nvPr>
        </p:nvSpPr>
        <p:spPr>
          <a:noFill/>
        </p:spPr>
        <p:txBody>
          <a:bodyPr/>
          <a:lstStyle/>
          <a:p>
            <a:fld id="{D3345A18-8FE1-45B0-B3C2-75128F15D5E0}" type="slidenum">
              <a:rPr lang="en-GB">
                <a:solidFill>
                  <a:srgbClr val="000000"/>
                </a:solidFill>
              </a:rPr>
              <a:pPr/>
              <a:t>20</a:t>
            </a:fld>
            <a:endParaRPr lang="en-GB">
              <a:solidFill>
                <a:srgbClr val="000000"/>
              </a:solidFill>
            </a:endParaRPr>
          </a:p>
        </p:txBody>
      </p:sp>
      <p:sp>
        <p:nvSpPr>
          <p:cNvPr id="193539" name="Rectangle 2"/>
          <p:cNvSpPr>
            <a:spLocks noGrp="1" noRot="1" noChangeAspect="1" noChangeArrowheads="1" noTextEdit="1"/>
          </p:cNvSpPr>
          <p:nvPr>
            <p:ph type="sldImg"/>
          </p:nvPr>
        </p:nvSpPr>
        <p:spPr>
          <a:ln/>
        </p:spPr>
      </p:sp>
      <p:sp>
        <p:nvSpPr>
          <p:cNvPr id="193540"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293246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Rectangle 7"/>
          <p:cNvSpPr>
            <a:spLocks noGrp="1" noChangeArrowheads="1"/>
          </p:cNvSpPr>
          <p:nvPr>
            <p:ph type="sldNum" sz="quarter" idx="5"/>
          </p:nvPr>
        </p:nvSpPr>
        <p:spPr>
          <a:noFill/>
        </p:spPr>
        <p:txBody>
          <a:bodyPr/>
          <a:lstStyle/>
          <a:p>
            <a:fld id="{5A571DD6-8236-43B8-BF26-7DEDB7A4BE42}" type="slidenum">
              <a:rPr lang="en-GB">
                <a:solidFill>
                  <a:srgbClr val="000000"/>
                </a:solidFill>
              </a:rPr>
              <a:pPr/>
              <a:t>21</a:t>
            </a:fld>
            <a:endParaRPr lang="en-GB">
              <a:solidFill>
                <a:srgbClr val="000000"/>
              </a:solidFill>
            </a:endParaRPr>
          </a:p>
        </p:txBody>
      </p:sp>
      <p:sp>
        <p:nvSpPr>
          <p:cNvPr id="199683" name="Rectangle 2"/>
          <p:cNvSpPr>
            <a:spLocks noGrp="1" noRot="1" noChangeAspect="1" noChangeArrowheads="1" noTextEdit="1"/>
          </p:cNvSpPr>
          <p:nvPr>
            <p:ph type="sldImg"/>
          </p:nvPr>
        </p:nvSpPr>
        <p:spPr>
          <a:ln/>
        </p:spPr>
      </p:sp>
      <p:sp>
        <p:nvSpPr>
          <p:cNvPr id="199684"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4054822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7"/>
          <p:cNvSpPr>
            <a:spLocks noGrp="1" noChangeArrowheads="1"/>
          </p:cNvSpPr>
          <p:nvPr>
            <p:ph type="sldNum" sz="quarter" idx="5"/>
          </p:nvPr>
        </p:nvSpPr>
        <p:spPr>
          <a:noFill/>
        </p:spPr>
        <p:txBody>
          <a:bodyPr/>
          <a:lstStyle/>
          <a:p>
            <a:fld id="{F3206535-6A74-4798-A5AB-9FF28358B905}" type="slidenum">
              <a:rPr lang="en-GB">
                <a:solidFill>
                  <a:srgbClr val="000000"/>
                </a:solidFill>
              </a:rPr>
              <a:pPr/>
              <a:t>22</a:t>
            </a:fld>
            <a:endParaRPr lang="en-GB">
              <a:solidFill>
                <a:srgbClr val="000000"/>
              </a:solidFill>
            </a:endParaRPr>
          </a:p>
        </p:txBody>
      </p:sp>
      <p:sp>
        <p:nvSpPr>
          <p:cNvPr id="200707" name="Rectangle 2"/>
          <p:cNvSpPr>
            <a:spLocks noGrp="1" noRot="1" noChangeAspect="1" noChangeArrowheads="1" noTextEdit="1"/>
          </p:cNvSpPr>
          <p:nvPr>
            <p:ph type="sldImg"/>
          </p:nvPr>
        </p:nvSpPr>
        <p:spPr>
          <a:ln/>
        </p:spPr>
      </p:sp>
      <p:sp>
        <p:nvSpPr>
          <p:cNvPr id="200708"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3732192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Rectangle 7"/>
          <p:cNvSpPr>
            <a:spLocks noGrp="1" noChangeArrowheads="1"/>
          </p:cNvSpPr>
          <p:nvPr>
            <p:ph type="sldNum" sz="quarter" idx="5"/>
          </p:nvPr>
        </p:nvSpPr>
        <p:spPr>
          <a:noFill/>
        </p:spPr>
        <p:txBody>
          <a:bodyPr/>
          <a:lstStyle/>
          <a:p>
            <a:fld id="{C689844C-5B0C-4B71-8203-25F6526CA0B5}" type="slidenum">
              <a:rPr lang="en-GB">
                <a:solidFill>
                  <a:srgbClr val="000000"/>
                </a:solidFill>
              </a:rPr>
              <a:pPr/>
              <a:t>24</a:t>
            </a:fld>
            <a:endParaRPr lang="en-GB">
              <a:solidFill>
                <a:srgbClr val="000000"/>
              </a:solidFill>
            </a:endParaRPr>
          </a:p>
        </p:txBody>
      </p:sp>
      <p:sp>
        <p:nvSpPr>
          <p:cNvPr id="201731" name="Rectangle 2"/>
          <p:cNvSpPr>
            <a:spLocks noGrp="1" noRot="1" noChangeAspect="1" noChangeArrowheads="1" noTextEdit="1"/>
          </p:cNvSpPr>
          <p:nvPr>
            <p:ph type="sldImg"/>
          </p:nvPr>
        </p:nvSpPr>
        <p:spPr>
          <a:ln/>
        </p:spPr>
      </p:sp>
      <p:sp>
        <p:nvSpPr>
          <p:cNvPr id="201732"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6999356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75AB767-9C1F-4ACC-8170-E813DABD47B4}" type="slidenum">
              <a:rPr lang="en-GB" smtClean="0"/>
              <a:pPr>
                <a:defRPr/>
              </a:pPr>
              <a:t>30</a:t>
            </a:fld>
            <a:endParaRPr lang="en-GB"/>
          </a:p>
        </p:txBody>
      </p:sp>
    </p:spTree>
    <p:extLst>
      <p:ext uri="{BB962C8B-B14F-4D97-AF65-F5344CB8AC3E}">
        <p14:creationId xmlns:p14="http://schemas.microsoft.com/office/powerpoint/2010/main" val="867258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a:noFill/>
        </p:spPr>
        <p:txBody>
          <a:bodyPr/>
          <a:lstStyle/>
          <a:p>
            <a:fld id="{E7A5DEF7-D8C2-4AE1-90EF-FBF2616CE22F}" type="slidenum">
              <a:rPr lang="en-GB">
                <a:solidFill>
                  <a:srgbClr val="000000"/>
                </a:solidFill>
              </a:rPr>
              <a:pPr/>
              <a:t>4</a:t>
            </a:fld>
            <a:endParaRPr lang="en-GB">
              <a:solidFill>
                <a:srgbClr val="000000"/>
              </a:solidFill>
            </a:endParaRPr>
          </a:p>
        </p:txBody>
      </p:sp>
      <p:sp>
        <p:nvSpPr>
          <p:cNvPr id="178179" name="Rectangle 2"/>
          <p:cNvSpPr>
            <a:spLocks noGrp="1" noRot="1" noChangeAspect="1" noChangeArrowheads="1" noTextEdit="1"/>
          </p:cNvSpPr>
          <p:nvPr>
            <p:ph type="sldImg"/>
          </p:nvPr>
        </p:nvSpPr>
        <p:spPr>
          <a:ln/>
        </p:spPr>
      </p:sp>
      <p:sp>
        <p:nvSpPr>
          <p:cNvPr id="178180" name="Rectangle 3"/>
          <p:cNvSpPr>
            <a:spLocks noGrp="1" noChangeArrowheads="1"/>
          </p:cNvSpPr>
          <p:nvPr>
            <p:ph type="body" idx="1"/>
          </p:nvPr>
        </p:nvSpPr>
        <p:spPr>
          <a:noFill/>
          <a:ln/>
        </p:spPr>
        <p:txBody>
          <a:bodyPr/>
          <a:lstStyle/>
          <a:p>
            <a:pPr eaLnBrk="1" hangingPunct="1"/>
            <a:r>
              <a:rPr lang="en-GB" smtClean="0"/>
              <a:t>Version </a:t>
            </a:r>
          </a:p>
        </p:txBody>
      </p:sp>
    </p:spTree>
    <p:extLst>
      <p:ext uri="{BB962C8B-B14F-4D97-AF65-F5344CB8AC3E}">
        <p14:creationId xmlns:p14="http://schemas.microsoft.com/office/powerpoint/2010/main" val="38543566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75AB767-9C1F-4ACC-8170-E813DABD47B4}" type="slidenum">
              <a:rPr lang="en-GB" smtClean="0"/>
              <a:pPr>
                <a:defRPr/>
              </a:pPr>
              <a:t>31</a:t>
            </a:fld>
            <a:endParaRPr lang="en-GB"/>
          </a:p>
        </p:txBody>
      </p:sp>
    </p:spTree>
    <p:extLst>
      <p:ext uri="{BB962C8B-B14F-4D97-AF65-F5344CB8AC3E}">
        <p14:creationId xmlns:p14="http://schemas.microsoft.com/office/powerpoint/2010/main" val="867258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75AB767-9C1F-4ACC-8170-E813DABD47B4}" type="slidenum">
              <a:rPr lang="en-GB" smtClean="0"/>
              <a:pPr>
                <a:defRPr/>
              </a:pPr>
              <a:t>32</a:t>
            </a:fld>
            <a:endParaRPr lang="en-GB"/>
          </a:p>
        </p:txBody>
      </p:sp>
    </p:spTree>
    <p:extLst>
      <p:ext uri="{BB962C8B-B14F-4D97-AF65-F5344CB8AC3E}">
        <p14:creationId xmlns:p14="http://schemas.microsoft.com/office/powerpoint/2010/main" val="8672586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xfrm>
            <a:off x="917575" y="744538"/>
            <a:ext cx="4962525" cy="3722687"/>
          </a:xfrm>
          <a:ln/>
        </p:spPr>
      </p:sp>
      <p:sp>
        <p:nvSpPr>
          <p:cNvPr id="4099" name="Rectangle 3"/>
          <p:cNvSpPr>
            <a:spLocks noGrp="1" noChangeArrowheads="1"/>
          </p:cNvSpPr>
          <p:nvPr>
            <p:ph type="body" idx="1"/>
          </p:nvPr>
        </p:nvSpPr>
        <p:spPr>
          <a:xfrm>
            <a:off x="1060713" y="4715105"/>
            <a:ext cx="4695805" cy="4467702"/>
          </a:xfrm>
          <a:noFill/>
          <a:ln w="9525"/>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Arial" pitchFamily="34" charset="0"/>
                <a:ea typeface="+mn-ea"/>
                <a:cs typeface="+mn-cs"/>
              </a:rPr>
              <a:t>Worksheets 1 – 4 people circle numbers 1 to 49 in numerical order. In each round give</a:t>
            </a:r>
            <a:r>
              <a:rPr lang="en-GB" sz="1200" kern="1200" baseline="0" dirty="0" smtClean="0">
                <a:solidFill>
                  <a:schemeClr val="tx1"/>
                </a:solidFill>
                <a:effectLst/>
                <a:latin typeface="Arial" pitchFamily="34" charset="0"/>
                <a:ea typeface="+mn-ea"/>
                <a:cs typeface="+mn-cs"/>
              </a:rPr>
              <a:t> 30s to 1min. See how far people have got after each round. Check after each round how people found i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kern="1200" baseline="0" dirty="0" smtClean="0">
              <a:solidFill>
                <a:schemeClr val="tx1"/>
              </a:solidFill>
              <a:effectLst/>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Arial" pitchFamily="34" charset="0"/>
                <a:ea typeface="+mn-ea"/>
                <a:cs typeface="+mn-cs"/>
              </a:rPr>
              <a:t>Worksheet 1: Baseline</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Arial" pitchFamily="34" charset="0"/>
                <a:ea typeface="+mn-ea"/>
                <a:cs typeface="+mn-cs"/>
              </a:rPr>
              <a:t>Worksheet 2: SORT - Unnecessary numbers outside 1 – 49 removed</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Arial" pitchFamily="34" charset="0"/>
                <a:ea typeface="+mn-ea"/>
                <a:cs typeface="+mn-cs"/>
              </a:rPr>
              <a:t>Worksheet 3: SIMPLIFY – start in bottom left the one number in each grid</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Arial" pitchFamily="34" charset="0"/>
                <a:ea typeface="+mn-ea"/>
                <a:cs typeface="+mn-cs"/>
              </a:rPr>
              <a:t>Worksheet 4: SHINE, STANDARDISED – tidied up numbers so they are in order</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kern="1200" baseline="0" dirty="0" smtClean="0">
              <a:solidFill>
                <a:schemeClr val="tx1"/>
              </a:solidFill>
              <a:effectLst/>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Arial" pitchFamily="34" charset="0"/>
                <a:ea typeface="+mn-ea"/>
                <a:cs typeface="+mn-cs"/>
              </a:rPr>
              <a:t>Worksheets 5 and 6 you have to identify the missing numbers</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Arial" pitchFamily="34" charset="0"/>
                <a:ea typeface="+mn-ea"/>
                <a:cs typeface="+mn-cs"/>
              </a:rPr>
              <a:t>Worksheet 5 – difficult, has not been SUSTAINED</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Arial" pitchFamily="34" charset="0"/>
                <a:ea typeface="+mn-ea"/>
                <a:cs typeface="+mn-cs"/>
              </a:rPr>
              <a:t>Worksheet 6 – very eas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kern="1200" dirty="0" smtClean="0">
              <a:solidFill>
                <a:schemeClr val="tx1"/>
              </a:solidFill>
              <a:effectLst/>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kern="1200" dirty="0" smtClean="0">
              <a:solidFill>
                <a:schemeClr val="tx1"/>
              </a:solidFill>
              <a:effectLst/>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kern="1200" dirty="0" smtClean="0">
              <a:solidFill>
                <a:schemeClr val="tx1"/>
              </a:solidFill>
              <a:effectLst/>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Arial" pitchFamily="34" charset="0"/>
                <a:ea typeface="+mn-ea"/>
                <a:cs typeface="+mn-cs"/>
              </a:rPr>
              <a:t>On worksheets 5 and 6 you have to identify the numbers that are missing.</a:t>
            </a:r>
          </a:p>
          <a:p>
            <a:endParaRPr lang="en-GB" dirty="0" smtClean="0"/>
          </a:p>
        </p:txBody>
      </p:sp>
    </p:spTree>
    <p:extLst>
      <p:ext uri="{BB962C8B-B14F-4D97-AF65-F5344CB8AC3E}">
        <p14:creationId xmlns:p14="http://schemas.microsoft.com/office/powerpoint/2010/main" val="7681118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75AB767-9C1F-4ACC-8170-E813DABD47B4}" type="slidenum">
              <a:rPr lang="en-GB" smtClean="0"/>
              <a:pPr>
                <a:defRPr/>
              </a:pPr>
              <a:t>34</a:t>
            </a:fld>
            <a:endParaRPr lang="en-GB"/>
          </a:p>
        </p:txBody>
      </p:sp>
    </p:spTree>
    <p:extLst>
      <p:ext uri="{BB962C8B-B14F-4D97-AF65-F5344CB8AC3E}">
        <p14:creationId xmlns:p14="http://schemas.microsoft.com/office/powerpoint/2010/main" val="8672586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75AB767-9C1F-4ACC-8170-E813DABD47B4}" type="slidenum">
              <a:rPr lang="en-GB" smtClean="0"/>
              <a:pPr>
                <a:defRPr/>
              </a:pPr>
              <a:t>35</a:t>
            </a:fld>
            <a:endParaRPr lang="en-GB"/>
          </a:p>
        </p:txBody>
      </p:sp>
    </p:spTree>
    <p:extLst>
      <p:ext uri="{BB962C8B-B14F-4D97-AF65-F5344CB8AC3E}">
        <p14:creationId xmlns:p14="http://schemas.microsoft.com/office/powerpoint/2010/main" val="8672586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75AB767-9C1F-4ACC-8170-E813DABD47B4}" type="slidenum">
              <a:rPr lang="en-GB" smtClean="0"/>
              <a:pPr>
                <a:defRPr/>
              </a:pPr>
              <a:t>36</a:t>
            </a:fld>
            <a:endParaRPr lang="en-GB"/>
          </a:p>
        </p:txBody>
      </p:sp>
    </p:spTree>
    <p:extLst>
      <p:ext uri="{BB962C8B-B14F-4D97-AF65-F5344CB8AC3E}">
        <p14:creationId xmlns:p14="http://schemas.microsoft.com/office/powerpoint/2010/main" val="8672586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6"/>
          <p:cNvSpPr>
            <a:spLocks noGrp="1" noChangeArrowheads="1"/>
          </p:cNvSpPr>
          <p:nvPr>
            <p:ph type="ftr" sz="quarter" idx="4"/>
          </p:nvPr>
        </p:nvSpPr>
        <p:spPr>
          <a:noFill/>
        </p:spPr>
        <p:txBody>
          <a:bodyPr/>
          <a:lstStyle/>
          <a:p>
            <a:r>
              <a:rPr lang="en-GB"/>
              <a:t> Confidential</a:t>
            </a:r>
          </a:p>
        </p:txBody>
      </p:sp>
      <p:sp>
        <p:nvSpPr>
          <p:cNvPr id="194563" name="Rectangle 2"/>
          <p:cNvSpPr>
            <a:spLocks noGrp="1" noRot="1" noChangeAspect="1" noChangeArrowheads="1" noTextEdit="1"/>
          </p:cNvSpPr>
          <p:nvPr>
            <p:ph type="sldImg"/>
          </p:nvPr>
        </p:nvSpPr>
        <p:spPr>
          <a:ln/>
        </p:spPr>
      </p:sp>
      <p:sp>
        <p:nvSpPr>
          <p:cNvPr id="194564" name="Rectangle 3"/>
          <p:cNvSpPr>
            <a:spLocks noGrp="1" noChangeArrowheads="1"/>
          </p:cNvSpPr>
          <p:nvPr>
            <p:ph type="body" idx="1"/>
          </p:nvPr>
        </p:nvSpPr>
        <p:spPr>
          <a:noFill/>
          <a:ln/>
        </p:spPr>
        <p:txBody>
          <a:bodyPr/>
          <a:lstStyle/>
          <a:p>
            <a:pPr eaLnBrk="1" hangingPunct="1"/>
            <a:endParaRPr lang="en-US" smtClean="0">
              <a:cs typeface="Arial" pitchFamily="34" charset="0"/>
            </a:endParaRPr>
          </a:p>
        </p:txBody>
      </p:sp>
    </p:spTree>
    <p:extLst>
      <p:ext uri="{BB962C8B-B14F-4D97-AF65-F5344CB8AC3E}">
        <p14:creationId xmlns:p14="http://schemas.microsoft.com/office/powerpoint/2010/main" val="16572536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7"/>
          <p:cNvSpPr>
            <a:spLocks noGrp="1" noChangeArrowheads="1"/>
          </p:cNvSpPr>
          <p:nvPr>
            <p:ph type="sldNum" sz="quarter" idx="5"/>
          </p:nvPr>
        </p:nvSpPr>
        <p:spPr>
          <a:noFill/>
        </p:spPr>
        <p:txBody>
          <a:bodyPr/>
          <a:lstStyle/>
          <a:p>
            <a:fld id="{EA1D1ECD-DC30-4A78-A254-2D8151D5D72E}" type="slidenum">
              <a:rPr lang="en-GB"/>
              <a:pPr/>
              <a:t>39</a:t>
            </a:fld>
            <a:endParaRPr lang="en-GB"/>
          </a:p>
        </p:txBody>
      </p:sp>
      <p:sp>
        <p:nvSpPr>
          <p:cNvPr id="195587" name="Rectangle 2"/>
          <p:cNvSpPr>
            <a:spLocks noGrp="1" noRot="1" noChangeAspect="1" noChangeArrowheads="1" noTextEdit="1"/>
          </p:cNvSpPr>
          <p:nvPr>
            <p:ph type="sldImg"/>
          </p:nvPr>
        </p:nvSpPr>
        <p:spPr>
          <a:ln/>
        </p:spPr>
      </p:sp>
      <p:sp>
        <p:nvSpPr>
          <p:cNvPr id="195588" name="Rectangle 3"/>
          <p:cNvSpPr>
            <a:spLocks noGrp="1" noChangeArrowheads="1"/>
          </p:cNvSpPr>
          <p:nvPr>
            <p:ph type="body" idx="1"/>
          </p:nvPr>
        </p:nvSpPr>
        <p:spPr>
          <a:noFill/>
          <a:ln/>
        </p:spPr>
        <p:txBody>
          <a:bodyPr/>
          <a:lstStyle/>
          <a:p>
            <a:r>
              <a:rPr lang="en-GB" dirty="0" smtClean="0"/>
              <a:t>The audience my not think it, but they undertake 5S activities every day at home without realising. </a:t>
            </a:r>
          </a:p>
          <a:p>
            <a:endParaRPr lang="en-GB" dirty="0" smtClean="0"/>
          </a:p>
          <a:p>
            <a:r>
              <a:rPr lang="en-GB" b="1" dirty="0" smtClean="0"/>
              <a:t>Sort</a:t>
            </a:r>
            <a:r>
              <a:rPr lang="en-GB" dirty="0" smtClean="0"/>
              <a:t> –		Sorting knifes and forks</a:t>
            </a:r>
          </a:p>
          <a:p>
            <a:r>
              <a:rPr lang="en-GB" b="1" dirty="0" smtClean="0"/>
              <a:t>Set in order</a:t>
            </a:r>
            <a:r>
              <a:rPr lang="en-GB" dirty="0" smtClean="0"/>
              <a:t> – 	Organise and use tray – A place for everything, and everything in its place!</a:t>
            </a:r>
          </a:p>
          <a:p>
            <a:r>
              <a:rPr lang="en-GB" b="1" dirty="0" smtClean="0"/>
              <a:t>Shine</a:t>
            </a:r>
            <a:r>
              <a:rPr lang="en-GB" dirty="0" smtClean="0"/>
              <a:t> – 		Clean the knifes and forks and put in order</a:t>
            </a:r>
          </a:p>
          <a:p>
            <a:r>
              <a:rPr lang="en-GB" b="1" dirty="0" smtClean="0"/>
              <a:t>Standardise</a:t>
            </a:r>
            <a:r>
              <a:rPr lang="en-GB" dirty="0" smtClean="0"/>
              <a:t> – 	Define standard layout of tray</a:t>
            </a:r>
          </a:p>
          <a:p>
            <a:r>
              <a:rPr lang="en-GB" b="1" dirty="0" smtClean="0"/>
              <a:t>Sustain</a:t>
            </a:r>
            <a:r>
              <a:rPr lang="en-GB" dirty="0" smtClean="0"/>
              <a:t> – 		Adhere to try standard. Sustainment presents opportunities for further improvements, such as reduction of cluttered cutlery and ability to visualise the keep control of the situation. For example, Tea spoons inevitability get lost – reorder quantity.</a:t>
            </a:r>
          </a:p>
          <a:p>
            <a:endParaRPr lang="en-GB" dirty="0" smtClean="0"/>
          </a:p>
          <a:p>
            <a:r>
              <a:rPr lang="en-GB" dirty="0" smtClean="0"/>
              <a:t>Sustainment is the most difficult step. If we cannot sustain, the work conducted and time taken during the first four steps is essentially waste – as you’ve resorted back to the old current state you moved away from!</a:t>
            </a:r>
          </a:p>
          <a:p>
            <a:endParaRPr lang="en-GB" dirty="0" smtClean="0"/>
          </a:p>
          <a:p>
            <a:r>
              <a:rPr lang="en-GB" dirty="0" smtClean="0"/>
              <a:t>SHOW MICHAEL MCINTYRE</a:t>
            </a:r>
            <a:r>
              <a:rPr lang="en-GB" baseline="0" dirty="0" smtClean="0"/>
              <a:t> MAN DRAWER</a:t>
            </a:r>
            <a:endParaRPr lang="en-GB" dirty="0" smtClean="0"/>
          </a:p>
        </p:txBody>
      </p:sp>
    </p:spTree>
    <p:extLst>
      <p:ext uri="{BB962C8B-B14F-4D97-AF65-F5344CB8AC3E}">
        <p14:creationId xmlns:p14="http://schemas.microsoft.com/office/powerpoint/2010/main" val="27033901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ow does a good 5S looks like?</a:t>
            </a:r>
          </a:p>
          <a:p>
            <a:endParaRPr lang="en-US" dirty="0" smtClean="0"/>
          </a:p>
          <a:p>
            <a:r>
              <a:rPr lang="en-US" dirty="0" smtClean="0"/>
              <a:t>Would</a:t>
            </a:r>
            <a:r>
              <a:rPr lang="en-US" baseline="0" dirty="0" smtClean="0"/>
              <a:t> u like to be the man in the picture?</a:t>
            </a:r>
            <a:endParaRPr lang="en-US" dirty="0" smtClean="0"/>
          </a:p>
          <a:p>
            <a:endParaRPr lang="en-GB" dirty="0"/>
          </a:p>
        </p:txBody>
      </p:sp>
      <p:sp>
        <p:nvSpPr>
          <p:cNvPr id="4" name="Slide Number Placeholder 3"/>
          <p:cNvSpPr>
            <a:spLocks noGrp="1"/>
          </p:cNvSpPr>
          <p:nvPr>
            <p:ph type="sldNum" sz="quarter" idx="10"/>
          </p:nvPr>
        </p:nvSpPr>
        <p:spPr/>
        <p:txBody>
          <a:bodyPr/>
          <a:lstStyle/>
          <a:p>
            <a:pPr>
              <a:defRPr/>
            </a:pPr>
            <a:fld id="{928C2AB6-77D0-4ED6-9DBA-669C73E79C89}" type="slidenum">
              <a:rPr lang="en-GB" smtClean="0"/>
              <a:pPr>
                <a:defRPr/>
              </a:pPr>
              <a:t>40</a:t>
            </a:fld>
            <a:endParaRPr lang="en-GB" dirty="0"/>
          </a:p>
        </p:txBody>
      </p:sp>
    </p:spTree>
    <p:extLst>
      <p:ext uri="{BB962C8B-B14F-4D97-AF65-F5344CB8AC3E}">
        <p14:creationId xmlns:p14="http://schemas.microsoft.com/office/powerpoint/2010/main" val="4002037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magine</a:t>
            </a:r>
            <a:r>
              <a:rPr lang="en-US" baseline="0" dirty="0" smtClean="0"/>
              <a:t> u are the shop owner. </a:t>
            </a:r>
          </a:p>
          <a:p>
            <a:endParaRPr lang="en-US" baseline="0" dirty="0" smtClean="0"/>
          </a:p>
          <a:p>
            <a:r>
              <a:rPr lang="en-US" baseline="0" dirty="0" smtClean="0"/>
              <a:t>How do you feel. Describe.</a:t>
            </a:r>
          </a:p>
          <a:p>
            <a:endParaRPr lang="en-US" baseline="0" dirty="0" smtClean="0"/>
          </a:p>
          <a:p>
            <a:r>
              <a:rPr lang="en-US" baseline="0" dirty="0" smtClean="0"/>
              <a:t>Can you find what you need easily? Why?</a:t>
            </a:r>
          </a:p>
          <a:p>
            <a:endParaRPr lang="en-US" baseline="0" dirty="0" smtClean="0"/>
          </a:p>
          <a:p>
            <a:r>
              <a:rPr lang="en-US" baseline="0" dirty="0" smtClean="0"/>
              <a:t>Is this a safe environment? </a:t>
            </a:r>
            <a:endParaRPr lang="en-US" dirty="0" smtClean="0"/>
          </a:p>
          <a:p>
            <a:endParaRPr lang="en-GB" dirty="0"/>
          </a:p>
        </p:txBody>
      </p:sp>
      <p:sp>
        <p:nvSpPr>
          <p:cNvPr id="4" name="Slide Number Placeholder 3"/>
          <p:cNvSpPr>
            <a:spLocks noGrp="1"/>
          </p:cNvSpPr>
          <p:nvPr>
            <p:ph type="sldNum" sz="quarter" idx="10"/>
          </p:nvPr>
        </p:nvSpPr>
        <p:spPr/>
        <p:txBody>
          <a:bodyPr/>
          <a:lstStyle/>
          <a:p>
            <a:pPr>
              <a:defRPr/>
            </a:pPr>
            <a:fld id="{928C2AB6-77D0-4ED6-9DBA-669C73E79C89}" type="slidenum">
              <a:rPr lang="en-GB" smtClean="0"/>
              <a:pPr>
                <a:defRPr/>
              </a:pPr>
              <a:t>41</a:t>
            </a:fld>
            <a:endParaRPr lang="en-GB" dirty="0"/>
          </a:p>
        </p:txBody>
      </p:sp>
    </p:spTree>
    <p:extLst>
      <p:ext uri="{BB962C8B-B14F-4D97-AF65-F5344CB8AC3E}">
        <p14:creationId xmlns:p14="http://schemas.microsoft.com/office/powerpoint/2010/main" val="1039251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7"/>
          <p:cNvSpPr>
            <a:spLocks noGrp="1" noChangeArrowheads="1"/>
          </p:cNvSpPr>
          <p:nvPr>
            <p:ph type="sldNum" sz="quarter" idx="5"/>
          </p:nvPr>
        </p:nvSpPr>
        <p:spPr>
          <a:noFill/>
        </p:spPr>
        <p:txBody>
          <a:bodyPr/>
          <a:lstStyle/>
          <a:p>
            <a:fld id="{7FBA7AAB-A184-4A01-8962-6766A8366154}" type="slidenum">
              <a:rPr lang="en-GB">
                <a:solidFill>
                  <a:srgbClr val="000000"/>
                </a:solidFill>
              </a:rPr>
              <a:pPr/>
              <a:t>5</a:t>
            </a:fld>
            <a:endParaRPr lang="en-GB">
              <a:solidFill>
                <a:srgbClr val="000000"/>
              </a:solidFill>
            </a:endParaRPr>
          </a:p>
        </p:txBody>
      </p:sp>
      <p:sp>
        <p:nvSpPr>
          <p:cNvPr id="179203" name="Rectangle 2"/>
          <p:cNvSpPr>
            <a:spLocks noGrp="1" noRot="1" noChangeAspect="1" noChangeArrowheads="1" noTextEdit="1"/>
          </p:cNvSpPr>
          <p:nvPr>
            <p:ph type="sldImg"/>
          </p:nvPr>
        </p:nvSpPr>
        <p:spPr>
          <a:ln/>
        </p:spPr>
      </p:sp>
      <p:sp>
        <p:nvSpPr>
          <p:cNvPr id="179204"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3355206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928C2AB6-77D0-4ED6-9DBA-669C73E79C89}" type="slidenum">
              <a:rPr lang="en-GB" smtClean="0"/>
              <a:pPr>
                <a:defRPr/>
              </a:pPr>
              <a:t>42</a:t>
            </a:fld>
            <a:endParaRPr lang="en-GB" dirty="0"/>
          </a:p>
        </p:txBody>
      </p:sp>
    </p:spTree>
    <p:extLst>
      <p:ext uri="{BB962C8B-B14F-4D97-AF65-F5344CB8AC3E}">
        <p14:creationId xmlns:p14="http://schemas.microsoft.com/office/powerpoint/2010/main" val="26718450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928C2AB6-77D0-4ED6-9DBA-669C73E79C89}" type="slidenum">
              <a:rPr lang="en-GB" smtClean="0"/>
              <a:pPr>
                <a:defRPr/>
              </a:pPr>
              <a:t>43</a:t>
            </a:fld>
            <a:endParaRPr lang="en-GB" dirty="0"/>
          </a:p>
        </p:txBody>
      </p:sp>
    </p:spTree>
    <p:extLst>
      <p:ext uri="{BB962C8B-B14F-4D97-AF65-F5344CB8AC3E}">
        <p14:creationId xmlns:p14="http://schemas.microsoft.com/office/powerpoint/2010/main" val="8284899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6"/>
          <p:cNvSpPr>
            <a:spLocks noGrp="1" noChangeArrowheads="1"/>
          </p:cNvSpPr>
          <p:nvPr>
            <p:ph type="ftr" sz="quarter" idx="4"/>
          </p:nvPr>
        </p:nvSpPr>
        <p:spPr>
          <a:noFill/>
        </p:spPr>
        <p:txBody>
          <a:bodyPr/>
          <a:lstStyle/>
          <a:p>
            <a:r>
              <a:rPr lang="en-GB"/>
              <a:t> Confidential</a:t>
            </a:r>
          </a:p>
        </p:txBody>
      </p:sp>
      <p:sp>
        <p:nvSpPr>
          <p:cNvPr id="197635" name="Rectangle 2"/>
          <p:cNvSpPr>
            <a:spLocks noGrp="1" noRot="1" noChangeAspect="1" noChangeArrowheads="1" noTextEdit="1"/>
          </p:cNvSpPr>
          <p:nvPr>
            <p:ph type="sldImg"/>
          </p:nvPr>
        </p:nvSpPr>
        <p:spPr>
          <a:ln/>
        </p:spPr>
      </p:sp>
      <p:sp>
        <p:nvSpPr>
          <p:cNvPr id="197636" name="Rectangle 3"/>
          <p:cNvSpPr>
            <a:spLocks noGrp="1" noChangeArrowheads="1"/>
          </p:cNvSpPr>
          <p:nvPr>
            <p:ph type="body" idx="1"/>
          </p:nvPr>
        </p:nvSpPr>
        <p:spPr>
          <a:noFill/>
          <a:ln/>
        </p:spPr>
        <p:txBody>
          <a:bodyPr/>
          <a:lstStyle/>
          <a:p>
            <a:pPr eaLnBrk="1" hangingPunct="1"/>
            <a:r>
              <a:rPr lang="en-GB" smtClean="0">
                <a:cs typeface="Arial" pitchFamily="34" charset="0"/>
              </a:rPr>
              <a:t>Use the car analogy:</a:t>
            </a:r>
          </a:p>
          <a:p>
            <a:pPr eaLnBrk="1" hangingPunct="1"/>
            <a:r>
              <a:rPr lang="en-GB" smtClean="0">
                <a:cs typeface="Arial" pitchFamily="34" charset="0"/>
              </a:rPr>
              <a:t>If we drove like we typically do at work we would use our mirrors to guide us (Looking back)</a:t>
            </a:r>
          </a:p>
          <a:p>
            <a:pPr eaLnBrk="1" hangingPunct="1"/>
            <a:r>
              <a:rPr lang="en-GB" smtClean="0">
                <a:cs typeface="Arial" pitchFamily="34" charset="0"/>
              </a:rPr>
              <a:t>We actually drive using windows, mirrors and dashboard and correct using steering, accelerator and breaks.</a:t>
            </a:r>
          </a:p>
          <a:p>
            <a:pPr eaLnBrk="1" hangingPunct="1"/>
            <a:endParaRPr lang="en-GB" smtClean="0">
              <a:cs typeface="Arial" pitchFamily="34" charset="0"/>
            </a:endParaRPr>
          </a:p>
        </p:txBody>
      </p:sp>
    </p:spTree>
    <p:extLst>
      <p:ext uri="{BB962C8B-B14F-4D97-AF65-F5344CB8AC3E}">
        <p14:creationId xmlns:p14="http://schemas.microsoft.com/office/powerpoint/2010/main" val="29921413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75AB767-9C1F-4ACC-8170-E813DABD47B4}" type="slidenum">
              <a:rPr lang="en-GB" smtClean="0"/>
              <a:pPr>
                <a:defRPr/>
              </a:pPr>
              <a:t>48</a:t>
            </a:fld>
            <a:endParaRPr lang="en-GB"/>
          </a:p>
        </p:txBody>
      </p:sp>
    </p:spTree>
    <p:extLst>
      <p:ext uri="{BB962C8B-B14F-4D97-AF65-F5344CB8AC3E}">
        <p14:creationId xmlns:p14="http://schemas.microsoft.com/office/powerpoint/2010/main" val="8672586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928C2AB6-77D0-4ED6-9DBA-669C73E79C89}" type="slidenum">
              <a:rPr lang="en-GB" smtClean="0"/>
              <a:pPr>
                <a:defRPr/>
              </a:pPr>
              <a:t>49</a:t>
            </a:fld>
            <a:endParaRPr lang="en-GB" dirty="0"/>
          </a:p>
        </p:txBody>
      </p:sp>
    </p:spTree>
    <p:extLst>
      <p:ext uri="{BB962C8B-B14F-4D97-AF65-F5344CB8AC3E}">
        <p14:creationId xmlns:p14="http://schemas.microsoft.com/office/powerpoint/2010/main" val="40447713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928C2AB6-77D0-4ED6-9DBA-669C73E79C89}" type="slidenum">
              <a:rPr lang="en-GB" smtClean="0"/>
              <a:pPr>
                <a:defRPr/>
              </a:pPr>
              <a:t>50</a:t>
            </a:fld>
            <a:endParaRPr lang="en-GB" dirty="0"/>
          </a:p>
        </p:txBody>
      </p:sp>
    </p:spTree>
    <p:extLst>
      <p:ext uri="{BB962C8B-B14F-4D97-AF65-F5344CB8AC3E}">
        <p14:creationId xmlns:p14="http://schemas.microsoft.com/office/powerpoint/2010/main" val="21676910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Rectangle 7"/>
          <p:cNvSpPr>
            <a:spLocks noGrp="1" noChangeArrowheads="1"/>
          </p:cNvSpPr>
          <p:nvPr>
            <p:ph type="sldNum" sz="quarter" idx="5"/>
          </p:nvPr>
        </p:nvSpPr>
        <p:spPr>
          <a:noFill/>
        </p:spPr>
        <p:txBody>
          <a:bodyPr/>
          <a:lstStyle/>
          <a:p>
            <a:fld id="{42D80750-4D80-480E-813A-DD48479FDE1D}" type="slidenum">
              <a:rPr lang="en-GB">
                <a:solidFill>
                  <a:srgbClr val="000000"/>
                </a:solidFill>
              </a:rPr>
              <a:pPr/>
              <a:t>54</a:t>
            </a:fld>
            <a:endParaRPr lang="en-GB" dirty="0">
              <a:solidFill>
                <a:srgbClr val="000000"/>
              </a:solidFill>
            </a:endParaRPr>
          </a:p>
        </p:txBody>
      </p:sp>
      <p:sp>
        <p:nvSpPr>
          <p:cNvPr id="203779" name="Rectangle 2"/>
          <p:cNvSpPr>
            <a:spLocks noGrp="1" noRot="1" noChangeAspect="1" noChangeArrowheads="1" noTextEdit="1"/>
          </p:cNvSpPr>
          <p:nvPr>
            <p:ph type="sldImg"/>
          </p:nvPr>
        </p:nvSpPr>
        <p:spPr>
          <a:xfrm>
            <a:off x="917575" y="744538"/>
            <a:ext cx="4962525" cy="3722687"/>
          </a:xfrm>
          <a:ln/>
        </p:spPr>
      </p:sp>
      <p:sp>
        <p:nvSpPr>
          <p:cNvPr id="203780" name="Rectangle 3"/>
          <p:cNvSpPr>
            <a:spLocks noGrp="1" noChangeArrowheads="1"/>
          </p:cNvSpPr>
          <p:nvPr>
            <p:ph type="body" idx="1"/>
          </p:nvPr>
        </p:nvSpPr>
        <p:spPr>
          <a:noFill/>
          <a:ln/>
        </p:spPr>
        <p:txBody>
          <a:bodyPr/>
          <a:lstStyle/>
          <a:p>
            <a:r>
              <a:rPr lang="en-GB" altLang="fr-FR" dirty="0" smtClean="0">
                <a:latin typeface="Futura Medium" pitchFamily="2" charset="0"/>
              </a:rPr>
              <a:t>The Tutor confirms that everybody knows what a fish is. The Tutor doesn’t draw a fish!!!!!</a:t>
            </a:r>
          </a:p>
          <a:p>
            <a:r>
              <a:rPr lang="en-GB" altLang="fr-FR" dirty="0" smtClean="0">
                <a:latin typeface="Futura Medium" pitchFamily="2" charset="0"/>
              </a:rPr>
              <a:t>The tutor asks the participants to draw a fish.</a:t>
            </a:r>
          </a:p>
          <a:p>
            <a:r>
              <a:rPr lang="en-GB" altLang="fr-FR" dirty="0" smtClean="0">
                <a:latin typeface="Futura Medium" pitchFamily="2" charset="0"/>
              </a:rPr>
              <a:t>The delegates compare their fish.</a:t>
            </a:r>
          </a:p>
          <a:p>
            <a:r>
              <a:rPr lang="en-GB" altLang="fr-FR" dirty="0" smtClean="0">
                <a:latin typeface="Futura Medium" pitchFamily="2" charset="0"/>
              </a:rPr>
              <a:t>There will be variation in size, detail and direction.</a:t>
            </a:r>
          </a:p>
          <a:p>
            <a:r>
              <a:rPr lang="en-GB" altLang="fr-FR" dirty="0" smtClean="0">
                <a:latin typeface="Futura Medium" pitchFamily="2" charset="0"/>
              </a:rPr>
              <a:t>The tutor explains this is not the fish that the customer was expecting.</a:t>
            </a:r>
          </a:p>
          <a:p>
            <a:r>
              <a:rPr lang="en-GB" altLang="fr-FR" dirty="0" smtClean="0">
                <a:latin typeface="Futura Medium" pitchFamily="2" charset="0"/>
              </a:rPr>
              <a:t>Tutor draws parallels between real life and this exercise:</a:t>
            </a:r>
          </a:p>
          <a:p>
            <a:pPr>
              <a:buFontTx/>
              <a:buChar char="-"/>
            </a:pPr>
            <a:r>
              <a:rPr lang="en-GB" altLang="fr-FR" dirty="0" smtClean="0">
                <a:latin typeface="Futura Medium" pitchFamily="2" charset="0"/>
              </a:rPr>
              <a:t>the delegates have interpreted the customers expectations rather than clarified them</a:t>
            </a:r>
          </a:p>
          <a:p>
            <a:pPr>
              <a:buFontTx/>
              <a:buChar char="-"/>
            </a:pPr>
            <a:r>
              <a:rPr lang="en-GB" altLang="fr-FR" dirty="0" smtClean="0">
                <a:latin typeface="Futura Medium" pitchFamily="2" charset="0"/>
              </a:rPr>
              <a:t>Sizes and shapes are all different – is reflected to the different outputs that any process can deliver</a:t>
            </a:r>
          </a:p>
        </p:txBody>
      </p:sp>
    </p:spTree>
    <p:extLst>
      <p:ext uri="{BB962C8B-B14F-4D97-AF65-F5344CB8AC3E}">
        <p14:creationId xmlns:p14="http://schemas.microsoft.com/office/powerpoint/2010/main" val="12496140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6"/>
          <p:cNvSpPr>
            <a:spLocks noGrp="1" noChangeArrowheads="1"/>
          </p:cNvSpPr>
          <p:nvPr>
            <p:ph type="ftr" sz="quarter" idx="4"/>
          </p:nvPr>
        </p:nvSpPr>
        <p:spPr>
          <a:noFill/>
        </p:spPr>
        <p:txBody>
          <a:bodyPr/>
          <a:lstStyle/>
          <a:p>
            <a:r>
              <a:rPr lang="en-GB"/>
              <a:t> Confidential</a:t>
            </a:r>
          </a:p>
        </p:txBody>
      </p:sp>
      <p:sp>
        <p:nvSpPr>
          <p:cNvPr id="196611" name="Rectangle 2"/>
          <p:cNvSpPr>
            <a:spLocks noGrp="1" noRot="1" noChangeAspect="1" noChangeArrowheads="1" noTextEdit="1"/>
          </p:cNvSpPr>
          <p:nvPr>
            <p:ph type="sldImg"/>
          </p:nvPr>
        </p:nvSpPr>
        <p:spPr>
          <a:ln/>
        </p:spPr>
      </p:sp>
      <p:sp>
        <p:nvSpPr>
          <p:cNvPr id="196612" name="Rectangle 3"/>
          <p:cNvSpPr>
            <a:spLocks noGrp="1" noChangeArrowheads="1"/>
          </p:cNvSpPr>
          <p:nvPr>
            <p:ph type="body" idx="1"/>
          </p:nvPr>
        </p:nvSpPr>
        <p:spPr>
          <a:noFill/>
          <a:ln/>
        </p:spPr>
        <p:txBody>
          <a:bodyPr/>
          <a:lstStyle/>
          <a:p>
            <a:pPr eaLnBrk="1" hangingPunct="1"/>
            <a:endParaRPr lang="en-US" smtClean="0">
              <a:cs typeface="Arial" pitchFamily="34" charset="0"/>
            </a:endParaRPr>
          </a:p>
        </p:txBody>
      </p:sp>
    </p:spTree>
    <p:extLst>
      <p:ext uri="{BB962C8B-B14F-4D97-AF65-F5344CB8AC3E}">
        <p14:creationId xmlns:p14="http://schemas.microsoft.com/office/powerpoint/2010/main" val="40211555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6"/>
          <p:cNvSpPr>
            <a:spLocks noGrp="1" noChangeArrowheads="1"/>
          </p:cNvSpPr>
          <p:nvPr>
            <p:ph type="ftr" sz="quarter" idx="4"/>
          </p:nvPr>
        </p:nvSpPr>
        <p:spPr>
          <a:noFill/>
        </p:spPr>
        <p:txBody>
          <a:bodyPr/>
          <a:lstStyle/>
          <a:p>
            <a:r>
              <a:rPr lang="en-GB"/>
              <a:t> Confidential</a:t>
            </a:r>
          </a:p>
        </p:txBody>
      </p:sp>
      <p:sp>
        <p:nvSpPr>
          <p:cNvPr id="196611" name="Rectangle 2"/>
          <p:cNvSpPr>
            <a:spLocks noGrp="1" noRot="1" noChangeAspect="1" noChangeArrowheads="1" noTextEdit="1"/>
          </p:cNvSpPr>
          <p:nvPr>
            <p:ph type="sldImg"/>
          </p:nvPr>
        </p:nvSpPr>
        <p:spPr>
          <a:ln/>
        </p:spPr>
      </p:sp>
      <p:sp>
        <p:nvSpPr>
          <p:cNvPr id="196612" name="Rectangle 3"/>
          <p:cNvSpPr>
            <a:spLocks noGrp="1" noChangeArrowheads="1"/>
          </p:cNvSpPr>
          <p:nvPr>
            <p:ph type="body" idx="1"/>
          </p:nvPr>
        </p:nvSpPr>
        <p:spPr>
          <a:noFill/>
          <a:ln/>
        </p:spPr>
        <p:txBody>
          <a:bodyPr/>
          <a:lstStyle/>
          <a:p>
            <a:pPr eaLnBrk="1" hangingPunct="1"/>
            <a:endParaRPr lang="en-US" smtClean="0">
              <a:cs typeface="Arial" pitchFamily="34" charset="0"/>
            </a:endParaRPr>
          </a:p>
        </p:txBody>
      </p:sp>
    </p:spTree>
    <p:extLst>
      <p:ext uri="{BB962C8B-B14F-4D97-AF65-F5344CB8AC3E}">
        <p14:creationId xmlns:p14="http://schemas.microsoft.com/office/powerpoint/2010/main" val="38875326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6"/>
          <p:cNvSpPr>
            <a:spLocks noGrp="1" noChangeArrowheads="1"/>
          </p:cNvSpPr>
          <p:nvPr>
            <p:ph type="ftr" sz="quarter" idx="4"/>
          </p:nvPr>
        </p:nvSpPr>
        <p:spPr>
          <a:noFill/>
        </p:spPr>
        <p:txBody>
          <a:bodyPr/>
          <a:lstStyle/>
          <a:p>
            <a:r>
              <a:rPr lang="en-GB"/>
              <a:t> Confidential</a:t>
            </a:r>
          </a:p>
        </p:txBody>
      </p:sp>
      <p:sp>
        <p:nvSpPr>
          <p:cNvPr id="196611" name="Rectangle 2"/>
          <p:cNvSpPr>
            <a:spLocks noGrp="1" noRot="1" noChangeAspect="1" noChangeArrowheads="1" noTextEdit="1"/>
          </p:cNvSpPr>
          <p:nvPr>
            <p:ph type="sldImg"/>
          </p:nvPr>
        </p:nvSpPr>
        <p:spPr>
          <a:ln/>
        </p:spPr>
      </p:sp>
      <p:sp>
        <p:nvSpPr>
          <p:cNvPr id="196612" name="Rectangle 3"/>
          <p:cNvSpPr>
            <a:spLocks noGrp="1" noChangeArrowheads="1"/>
          </p:cNvSpPr>
          <p:nvPr>
            <p:ph type="body" idx="1"/>
          </p:nvPr>
        </p:nvSpPr>
        <p:spPr>
          <a:noFill/>
          <a:ln/>
        </p:spPr>
        <p:txBody>
          <a:bodyPr/>
          <a:lstStyle/>
          <a:p>
            <a:pPr eaLnBrk="1" hangingPunct="1"/>
            <a:endParaRPr lang="en-US" smtClean="0">
              <a:cs typeface="Arial" pitchFamily="34" charset="0"/>
            </a:endParaRPr>
          </a:p>
        </p:txBody>
      </p:sp>
    </p:spTree>
    <p:extLst>
      <p:ext uri="{BB962C8B-B14F-4D97-AF65-F5344CB8AC3E}">
        <p14:creationId xmlns:p14="http://schemas.microsoft.com/office/powerpoint/2010/main" val="2326825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7"/>
          <p:cNvSpPr>
            <a:spLocks noGrp="1" noChangeArrowheads="1"/>
          </p:cNvSpPr>
          <p:nvPr>
            <p:ph type="sldNum" sz="quarter" idx="5"/>
          </p:nvPr>
        </p:nvSpPr>
        <p:spPr>
          <a:noFill/>
        </p:spPr>
        <p:txBody>
          <a:bodyPr/>
          <a:lstStyle/>
          <a:p>
            <a:fld id="{9851341A-E5A1-406D-9023-3628BE662547}" type="slidenum">
              <a:rPr lang="en-GB">
                <a:solidFill>
                  <a:srgbClr val="000000"/>
                </a:solidFill>
              </a:rPr>
              <a:pPr/>
              <a:t>7</a:t>
            </a:fld>
            <a:endParaRPr lang="en-GB">
              <a:solidFill>
                <a:srgbClr val="000000"/>
              </a:solidFill>
            </a:endParaRPr>
          </a:p>
        </p:txBody>
      </p:sp>
      <p:sp>
        <p:nvSpPr>
          <p:cNvPr id="180227" name="Rectangle 2"/>
          <p:cNvSpPr>
            <a:spLocks noGrp="1" noRot="1" noChangeAspect="1" noChangeArrowheads="1" noTextEdit="1"/>
          </p:cNvSpPr>
          <p:nvPr>
            <p:ph type="sldImg"/>
          </p:nvPr>
        </p:nvSpPr>
        <p:spPr>
          <a:ln/>
        </p:spPr>
      </p:sp>
      <p:sp>
        <p:nvSpPr>
          <p:cNvPr id="180228"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8814220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6"/>
          <p:cNvSpPr>
            <a:spLocks noGrp="1" noChangeArrowheads="1"/>
          </p:cNvSpPr>
          <p:nvPr>
            <p:ph type="ftr" sz="quarter" idx="4"/>
          </p:nvPr>
        </p:nvSpPr>
        <p:spPr>
          <a:noFill/>
        </p:spPr>
        <p:txBody>
          <a:bodyPr/>
          <a:lstStyle/>
          <a:p>
            <a:r>
              <a:rPr lang="en-GB"/>
              <a:t> Confidential</a:t>
            </a:r>
          </a:p>
        </p:txBody>
      </p:sp>
      <p:sp>
        <p:nvSpPr>
          <p:cNvPr id="196611" name="Rectangle 2"/>
          <p:cNvSpPr>
            <a:spLocks noGrp="1" noRot="1" noChangeAspect="1" noChangeArrowheads="1" noTextEdit="1"/>
          </p:cNvSpPr>
          <p:nvPr>
            <p:ph type="sldImg"/>
          </p:nvPr>
        </p:nvSpPr>
        <p:spPr>
          <a:ln/>
        </p:spPr>
      </p:sp>
      <p:sp>
        <p:nvSpPr>
          <p:cNvPr id="196612" name="Rectangle 3"/>
          <p:cNvSpPr>
            <a:spLocks noGrp="1" noChangeArrowheads="1"/>
          </p:cNvSpPr>
          <p:nvPr>
            <p:ph type="body" idx="1"/>
          </p:nvPr>
        </p:nvSpPr>
        <p:spPr>
          <a:noFill/>
          <a:ln/>
        </p:spPr>
        <p:txBody>
          <a:bodyPr/>
          <a:lstStyle/>
          <a:p>
            <a:pPr eaLnBrk="1" hangingPunct="1"/>
            <a:endParaRPr lang="en-US" smtClean="0">
              <a:cs typeface="Arial" pitchFamily="34" charset="0"/>
            </a:endParaRPr>
          </a:p>
        </p:txBody>
      </p:sp>
    </p:spTree>
    <p:extLst>
      <p:ext uri="{BB962C8B-B14F-4D97-AF65-F5344CB8AC3E}">
        <p14:creationId xmlns:p14="http://schemas.microsoft.com/office/powerpoint/2010/main" val="16786052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7"/>
          <p:cNvSpPr>
            <a:spLocks noGrp="1" noChangeArrowheads="1"/>
          </p:cNvSpPr>
          <p:nvPr>
            <p:ph type="sldNum" sz="quarter" idx="5"/>
          </p:nvPr>
        </p:nvSpPr>
        <p:spPr>
          <a:noFill/>
        </p:spPr>
        <p:txBody>
          <a:bodyPr/>
          <a:lstStyle/>
          <a:p>
            <a:fld id="{A9BD76E0-66C7-4480-A76C-AD1513B0F871}" type="slidenum">
              <a:rPr lang="en-GB">
                <a:solidFill>
                  <a:srgbClr val="000000"/>
                </a:solidFill>
              </a:rPr>
              <a:pPr/>
              <a:t>61</a:t>
            </a:fld>
            <a:endParaRPr lang="en-GB">
              <a:solidFill>
                <a:srgbClr val="000000"/>
              </a:solidFill>
            </a:endParaRPr>
          </a:p>
        </p:txBody>
      </p:sp>
      <p:sp>
        <p:nvSpPr>
          <p:cNvPr id="202755" name="Rectangle 2"/>
          <p:cNvSpPr>
            <a:spLocks noGrp="1" noRot="1" noChangeAspect="1" noChangeArrowheads="1" noTextEdit="1"/>
          </p:cNvSpPr>
          <p:nvPr>
            <p:ph type="sldImg"/>
          </p:nvPr>
        </p:nvSpPr>
        <p:spPr>
          <a:ln/>
        </p:spPr>
      </p:sp>
      <p:sp>
        <p:nvSpPr>
          <p:cNvPr id="202756"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6059336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7"/>
          <p:cNvSpPr>
            <a:spLocks noGrp="1" noChangeArrowheads="1"/>
          </p:cNvSpPr>
          <p:nvPr>
            <p:ph type="sldNum" sz="quarter" idx="5"/>
          </p:nvPr>
        </p:nvSpPr>
        <p:spPr>
          <a:noFill/>
        </p:spPr>
        <p:txBody>
          <a:bodyPr/>
          <a:lstStyle/>
          <a:p>
            <a:fld id="{A9BD76E0-66C7-4480-A76C-AD1513B0F871}" type="slidenum">
              <a:rPr lang="en-GB">
                <a:solidFill>
                  <a:srgbClr val="000000"/>
                </a:solidFill>
              </a:rPr>
              <a:pPr/>
              <a:t>62</a:t>
            </a:fld>
            <a:endParaRPr lang="en-GB">
              <a:solidFill>
                <a:srgbClr val="000000"/>
              </a:solidFill>
            </a:endParaRPr>
          </a:p>
        </p:txBody>
      </p:sp>
      <p:sp>
        <p:nvSpPr>
          <p:cNvPr id="202755" name="Rectangle 2"/>
          <p:cNvSpPr>
            <a:spLocks noGrp="1" noRot="1" noChangeAspect="1" noChangeArrowheads="1" noTextEdit="1"/>
          </p:cNvSpPr>
          <p:nvPr>
            <p:ph type="sldImg"/>
          </p:nvPr>
        </p:nvSpPr>
        <p:spPr>
          <a:ln/>
        </p:spPr>
      </p:sp>
      <p:sp>
        <p:nvSpPr>
          <p:cNvPr id="202756"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1868311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7"/>
          <p:cNvSpPr>
            <a:spLocks noGrp="1" noChangeArrowheads="1"/>
          </p:cNvSpPr>
          <p:nvPr>
            <p:ph type="sldNum" sz="quarter" idx="5"/>
          </p:nvPr>
        </p:nvSpPr>
        <p:spPr>
          <a:noFill/>
        </p:spPr>
        <p:txBody>
          <a:bodyPr/>
          <a:lstStyle/>
          <a:p>
            <a:fld id="{55D49F3A-1160-451F-8071-416D86C55AB2}" type="slidenum">
              <a:rPr lang="en-GB">
                <a:solidFill>
                  <a:srgbClr val="000000"/>
                </a:solidFill>
              </a:rPr>
              <a:pPr/>
              <a:t>64</a:t>
            </a:fld>
            <a:endParaRPr lang="en-GB">
              <a:solidFill>
                <a:srgbClr val="000000"/>
              </a:solidFill>
            </a:endParaRPr>
          </a:p>
        </p:txBody>
      </p:sp>
      <p:sp>
        <p:nvSpPr>
          <p:cNvPr id="204803" name="Rectangle 2"/>
          <p:cNvSpPr>
            <a:spLocks noGrp="1" noRot="1" noChangeAspect="1" noChangeArrowheads="1" noTextEdit="1"/>
          </p:cNvSpPr>
          <p:nvPr>
            <p:ph type="sldImg"/>
          </p:nvPr>
        </p:nvSpPr>
        <p:spPr>
          <a:ln/>
        </p:spPr>
      </p:sp>
      <p:sp>
        <p:nvSpPr>
          <p:cNvPr id="204804"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42252954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65</a:t>
            </a:fld>
            <a:endParaRPr lang="en-GB"/>
          </a:p>
        </p:txBody>
      </p:sp>
    </p:spTree>
    <p:extLst>
      <p:ext uri="{BB962C8B-B14F-4D97-AF65-F5344CB8AC3E}">
        <p14:creationId xmlns:p14="http://schemas.microsoft.com/office/powerpoint/2010/main" val="18646419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Slide Image Placeholder 1"/>
          <p:cNvSpPr>
            <a:spLocks noGrp="1" noRot="1" noChangeAspect="1" noTextEdit="1"/>
          </p:cNvSpPr>
          <p:nvPr>
            <p:ph type="sldImg"/>
          </p:nvPr>
        </p:nvSpPr>
        <p:spPr>
          <a:ln/>
        </p:spPr>
      </p:sp>
      <p:sp>
        <p:nvSpPr>
          <p:cNvPr id="205827" name="Notes Placeholder 2"/>
          <p:cNvSpPr>
            <a:spLocks noGrp="1"/>
          </p:cNvSpPr>
          <p:nvPr>
            <p:ph type="body" idx="1"/>
          </p:nvPr>
        </p:nvSpPr>
        <p:spPr>
          <a:noFill/>
          <a:ln/>
        </p:spPr>
        <p:txBody>
          <a:bodyPr/>
          <a:lstStyle/>
          <a:p>
            <a:endParaRPr lang="en-US" smtClean="0"/>
          </a:p>
        </p:txBody>
      </p:sp>
      <p:sp>
        <p:nvSpPr>
          <p:cNvPr id="205828" name="Slide Number Placeholder 3"/>
          <p:cNvSpPr>
            <a:spLocks noGrp="1"/>
          </p:cNvSpPr>
          <p:nvPr>
            <p:ph type="sldNum" sz="quarter" idx="5"/>
          </p:nvPr>
        </p:nvSpPr>
        <p:spPr>
          <a:noFill/>
        </p:spPr>
        <p:txBody>
          <a:bodyPr/>
          <a:lstStyle/>
          <a:p>
            <a:fld id="{79F12530-645A-4EB0-A65D-237CD9A145D7}" type="slidenum">
              <a:rPr lang="en-GB">
                <a:solidFill>
                  <a:srgbClr val="000000"/>
                </a:solidFill>
              </a:rPr>
              <a:pPr/>
              <a:t>70</a:t>
            </a:fld>
            <a:endParaRPr lang="en-GB">
              <a:solidFill>
                <a:srgbClr val="000000"/>
              </a:solidFill>
            </a:endParaRPr>
          </a:p>
        </p:txBody>
      </p:sp>
    </p:spTree>
    <p:extLst>
      <p:ext uri="{BB962C8B-B14F-4D97-AF65-F5344CB8AC3E}">
        <p14:creationId xmlns:p14="http://schemas.microsoft.com/office/powerpoint/2010/main" val="18974719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Slide Image Placeholder 1"/>
          <p:cNvSpPr>
            <a:spLocks noGrp="1" noRot="1" noChangeAspect="1" noTextEdit="1"/>
          </p:cNvSpPr>
          <p:nvPr>
            <p:ph type="sldImg"/>
          </p:nvPr>
        </p:nvSpPr>
        <p:spPr>
          <a:xfrm>
            <a:off x="-119063" y="0"/>
            <a:ext cx="7035801" cy="5276850"/>
          </a:xfrm>
          <a:ln/>
        </p:spPr>
      </p:sp>
      <p:sp>
        <p:nvSpPr>
          <p:cNvPr id="206851" name="Notes Placeholder 2"/>
          <p:cNvSpPr>
            <a:spLocks noGrp="1"/>
          </p:cNvSpPr>
          <p:nvPr>
            <p:ph type="body" idx="1"/>
          </p:nvPr>
        </p:nvSpPr>
        <p:spPr>
          <a:noFill/>
          <a:ln/>
        </p:spPr>
        <p:txBody>
          <a:bodyPr/>
          <a:lstStyle/>
          <a:p>
            <a:endParaRPr lang="en-US" smtClean="0"/>
          </a:p>
        </p:txBody>
      </p:sp>
      <p:sp>
        <p:nvSpPr>
          <p:cNvPr id="206852" name="Slide Number Placeholder 3"/>
          <p:cNvSpPr>
            <a:spLocks noGrp="1"/>
          </p:cNvSpPr>
          <p:nvPr>
            <p:ph type="sldNum" sz="quarter" idx="5"/>
          </p:nvPr>
        </p:nvSpPr>
        <p:spPr>
          <a:noFill/>
        </p:spPr>
        <p:txBody>
          <a:bodyPr/>
          <a:lstStyle/>
          <a:p>
            <a:fld id="{732A5E34-37E5-4B05-9D81-E769080BC02C}" type="slidenum">
              <a:rPr lang="en-GB">
                <a:solidFill>
                  <a:srgbClr val="000000"/>
                </a:solidFill>
              </a:rPr>
              <a:pPr/>
              <a:t>72</a:t>
            </a:fld>
            <a:endParaRPr lang="en-GB">
              <a:solidFill>
                <a:srgbClr val="000000"/>
              </a:solidFill>
            </a:endParaRPr>
          </a:p>
        </p:txBody>
      </p:sp>
    </p:spTree>
    <p:extLst>
      <p:ext uri="{BB962C8B-B14F-4D97-AF65-F5344CB8AC3E}">
        <p14:creationId xmlns:p14="http://schemas.microsoft.com/office/powerpoint/2010/main" val="1160758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7"/>
          <p:cNvSpPr>
            <a:spLocks noGrp="1" noChangeArrowheads="1"/>
          </p:cNvSpPr>
          <p:nvPr>
            <p:ph type="sldNum" sz="quarter" idx="5"/>
          </p:nvPr>
        </p:nvSpPr>
        <p:spPr>
          <a:noFill/>
        </p:spPr>
        <p:txBody>
          <a:bodyPr/>
          <a:lstStyle/>
          <a:p>
            <a:fld id="{CF3B7E7B-955D-47C7-9D5E-62758F7BFEF6}" type="slidenum">
              <a:rPr lang="en-GB">
                <a:solidFill>
                  <a:srgbClr val="000000"/>
                </a:solidFill>
              </a:rPr>
              <a:pPr/>
              <a:t>8</a:t>
            </a:fld>
            <a:endParaRPr lang="en-GB">
              <a:solidFill>
                <a:srgbClr val="000000"/>
              </a:solidFill>
            </a:endParaRPr>
          </a:p>
        </p:txBody>
      </p:sp>
      <p:sp>
        <p:nvSpPr>
          <p:cNvPr id="181251" name="Rectangle 2"/>
          <p:cNvSpPr>
            <a:spLocks noGrp="1" noRot="1" noChangeAspect="1" noChangeArrowheads="1" noTextEdit="1"/>
          </p:cNvSpPr>
          <p:nvPr>
            <p:ph type="sldImg"/>
          </p:nvPr>
        </p:nvSpPr>
        <p:spPr>
          <a:ln/>
        </p:spPr>
      </p:sp>
      <p:sp>
        <p:nvSpPr>
          <p:cNvPr id="181252"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4241739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7"/>
          <p:cNvSpPr>
            <a:spLocks noGrp="1" noChangeArrowheads="1"/>
          </p:cNvSpPr>
          <p:nvPr>
            <p:ph type="sldNum" sz="quarter" idx="5"/>
          </p:nvPr>
        </p:nvSpPr>
        <p:spPr>
          <a:noFill/>
        </p:spPr>
        <p:txBody>
          <a:bodyPr/>
          <a:lstStyle/>
          <a:p>
            <a:fld id="{3A6D6DAE-D6B8-46A7-9D06-F5299580E764}" type="slidenum">
              <a:rPr lang="en-GB">
                <a:solidFill>
                  <a:srgbClr val="000000"/>
                </a:solidFill>
              </a:rPr>
              <a:pPr/>
              <a:t>9</a:t>
            </a:fld>
            <a:endParaRPr lang="en-GB">
              <a:solidFill>
                <a:srgbClr val="000000"/>
              </a:solidFill>
            </a:endParaRPr>
          </a:p>
        </p:txBody>
      </p:sp>
      <p:sp>
        <p:nvSpPr>
          <p:cNvPr id="182275" name="Rectangle 2"/>
          <p:cNvSpPr>
            <a:spLocks noGrp="1" noRot="1" noChangeAspect="1" noChangeArrowheads="1" noTextEdit="1"/>
          </p:cNvSpPr>
          <p:nvPr>
            <p:ph type="sldImg"/>
          </p:nvPr>
        </p:nvSpPr>
        <p:spPr>
          <a:ln/>
        </p:spPr>
      </p:sp>
      <p:sp>
        <p:nvSpPr>
          <p:cNvPr id="182276"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2510150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7"/>
          <p:cNvSpPr>
            <a:spLocks noGrp="1" noChangeArrowheads="1"/>
          </p:cNvSpPr>
          <p:nvPr>
            <p:ph type="sldNum" sz="quarter" idx="5"/>
          </p:nvPr>
        </p:nvSpPr>
        <p:spPr>
          <a:noFill/>
        </p:spPr>
        <p:txBody>
          <a:bodyPr/>
          <a:lstStyle/>
          <a:p>
            <a:fld id="{412A7ED3-63B1-4473-AED9-928A5209DD48}" type="slidenum">
              <a:rPr lang="en-GB">
                <a:solidFill>
                  <a:srgbClr val="000000"/>
                </a:solidFill>
              </a:rPr>
              <a:pPr/>
              <a:t>10</a:t>
            </a:fld>
            <a:endParaRPr lang="en-GB">
              <a:solidFill>
                <a:srgbClr val="000000"/>
              </a:solidFill>
            </a:endParaRPr>
          </a:p>
        </p:txBody>
      </p:sp>
      <p:sp>
        <p:nvSpPr>
          <p:cNvPr id="183299" name="Rectangle 2"/>
          <p:cNvSpPr>
            <a:spLocks noGrp="1" noRot="1" noChangeAspect="1" noChangeArrowheads="1" noTextEdit="1"/>
          </p:cNvSpPr>
          <p:nvPr>
            <p:ph type="sldImg"/>
          </p:nvPr>
        </p:nvSpPr>
        <p:spPr>
          <a:ln/>
        </p:spPr>
      </p:sp>
      <p:sp>
        <p:nvSpPr>
          <p:cNvPr id="183300"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993123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7"/>
          <p:cNvSpPr>
            <a:spLocks noGrp="1" noChangeArrowheads="1"/>
          </p:cNvSpPr>
          <p:nvPr>
            <p:ph type="sldNum" sz="quarter" idx="5"/>
          </p:nvPr>
        </p:nvSpPr>
        <p:spPr>
          <a:noFill/>
        </p:spPr>
        <p:txBody>
          <a:bodyPr/>
          <a:lstStyle/>
          <a:p>
            <a:fld id="{36CD68E9-F2B2-4781-B054-194337A4450F}" type="slidenum">
              <a:rPr lang="en-GB">
                <a:solidFill>
                  <a:srgbClr val="000000"/>
                </a:solidFill>
              </a:rPr>
              <a:pPr/>
              <a:t>11</a:t>
            </a:fld>
            <a:endParaRPr lang="en-GB">
              <a:solidFill>
                <a:srgbClr val="000000"/>
              </a:solidFill>
            </a:endParaRPr>
          </a:p>
        </p:txBody>
      </p:sp>
      <p:sp>
        <p:nvSpPr>
          <p:cNvPr id="184323" name="Rectangle 2"/>
          <p:cNvSpPr>
            <a:spLocks noGrp="1" noRot="1" noChangeAspect="1" noChangeArrowheads="1" noTextEdit="1"/>
          </p:cNvSpPr>
          <p:nvPr>
            <p:ph type="sldImg"/>
          </p:nvPr>
        </p:nvSpPr>
        <p:spPr>
          <a:ln/>
        </p:spPr>
      </p:sp>
      <p:sp>
        <p:nvSpPr>
          <p:cNvPr id="184324"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3249943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7"/>
          <p:cNvSpPr>
            <a:spLocks noGrp="1" noChangeArrowheads="1"/>
          </p:cNvSpPr>
          <p:nvPr>
            <p:ph type="sldNum" sz="quarter" idx="5"/>
          </p:nvPr>
        </p:nvSpPr>
        <p:spPr>
          <a:noFill/>
        </p:spPr>
        <p:txBody>
          <a:bodyPr/>
          <a:lstStyle/>
          <a:p>
            <a:fld id="{0702B0F6-AFC4-4AD1-BA7A-FD6988AB1B2D}" type="slidenum">
              <a:rPr lang="en-GB">
                <a:solidFill>
                  <a:srgbClr val="000000"/>
                </a:solidFill>
              </a:rPr>
              <a:pPr/>
              <a:t>12</a:t>
            </a:fld>
            <a:endParaRPr lang="en-GB">
              <a:solidFill>
                <a:srgbClr val="000000"/>
              </a:solidFill>
            </a:endParaRPr>
          </a:p>
        </p:txBody>
      </p:sp>
      <p:sp>
        <p:nvSpPr>
          <p:cNvPr id="185347" name="Rectangle 2"/>
          <p:cNvSpPr>
            <a:spLocks noGrp="1" noRot="1" noChangeAspect="1" noChangeArrowheads="1" noTextEdit="1"/>
          </p:cNvSpPr>
          <p:nvPr>
            <p:ph type="sldImg"/>
          </p:nvPr>
        </p:nvSpPr>
        <p:spPr>
          <a:ln/>
        </p:spPr>
      </p:sp>
      <p:sp>
        <p:nvSpPr>
          <p:cNvPr id="185348"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0177908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DEL_COL"/>
          <p:cNvPicPr preferRelativeResize="0">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8775" y="358775"/>
            <a:ext cx="1903413" cy="381000"/>
          </a:xfrm>
          <a:prstGeom prst="rect">
            <a:avLst/>
          </a:prstGeom>
          <a:noFill/>
          <a:ln w="12700">
            <a:noFill/>
            <a:miter lim="800000"/>
            <a:headEnd/>
            <a:tailEnd/>
          </a:ln>
        </p:spPr>
      </p:pic>
      <p:pic>
        <p:nvPicPr>
          <p:cNvPr id="5" name="Picture 5" descr="DEL_Strapline_UK_B"/>
          <p:cNvPicPr preferRelativeResize="0">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58775" y="6369050"/>
            <a:ext cx="3105150" cy="161925"/>
          </a:xfrm>
          <a:prstGeom prst="rect">
            <a:avLst/>
          </a:prstGeom>
          <a:noFill/>
          <a:ln w="12700">
            <a:noFill/>
            <a:miter lim="800000"/>
            <a:headEnd/>
            <a:tailEnd/>
          </a:ln>
        </p:spPr>
      </p:pic>
      <p:sp>
        <p:nvSpPr>
          <p:cNvPr id="8194" name="Rectangle 2"/>
          <p:cNvSpPr>
            <a:spLocks noGrp="1" noChangeArrowheads="1"/>
          </p:cNvSpPr>
          <p:nvPr>
            <p:ph type="ctrTitle"/>
          </p:nvPr>
        </p:nvSpPr>
        <p:spPr>
          <a:xfrm>
            <a:off x="358775" y="2159000"/>
            <a:ext cx="8421688" cy="1397000"/>
          </a:xfrm>
        </p:spPr>
        <p:txBody>
          <a:bodyPr>
            <a:spAutoFit/>
          </a:bodyPr>
          <a:lstStyle>
            <a:lvl1pPr>
              <a:lnSpc>
                <a:spcPts val="5500"/>
              </a:lnSpc>
              <a:defRPr sz="6000">
                <a:latin typeface="Times New Roman" pitchFamily="18" charset="0"/>
              </a:defRPr>
            </a:lvl1pPr>
          </a:lstStyle>
          <a:p>
            <a:r>
              <a:rPr lang="en-GB"/>
              <a:t>Click to edit Master title style</a:t>
            </a:r>
          </a:p>
        </p:txBody>
      </p:sp>
      <p:sp>
        <p:nvSpPr>
          <p:cNvPr id="8195" name="Rectangle 3"/>
          <p:cNvSpPr>
            <a:spLocks noGrp="1" noChangeArrowheads="1"/>
          </p:cNvSpPr>
          <p:nvPr>
            <p:ph type="subTitle" idx="1"/>
          </p:nvPr>
        </p:nvSpPr>
        <p:spPr>
          <a:xfrm>
            <a:off x="358775" y="3778250"/>
            <a:ext cx="5399088" cy="203200"/>
          </a:xfrm>
        </p:spPr>
        <p:txBody>
          <a:bodyPr>
            <a:spAutoFit/>
          </a:bodyPr>
          <a:lstStyle>
            <a:lvl1pPr>
              <a:lnSpc>
                <a:spcPts val="1600"/>
              </a:lnSpc>
              <a:defRPr sz="1400"/>
            </a:lvl1pPr>
          </a:lstStyle>
          <a:p>
            <a:r>
              <a:rPr lang="en-GB"/>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lvl1pPr>
              <a:defRPr>
                <a:latin typeface="Arial" pitchFamily="34" charset="0"/>
              </a:defRPr>
            </a:lvl1pPr>
          </a:lstStyle>
          <a:p>
            <a:pPr>
              <a:defRPr/>
            </a:pPr>
            <a:r>
              <a:rPr lang="en-GB" altLang="en-GB"/>
              <a:t>Lean Workshops</a:t>
            </a:r>
          </a:p>
        </p:txBody>
      </p:sp>
      <p:sp>
        <p:nvSpPr>
          <p:cNvPr id="4" name="Slide Number Placeholder 3"/>
          <p:cNvSpPr>
            <a:spLocks noGrp="1"/>
          </p:cNvSpPr>
          <p:nvPr>
            <p:ph type="sldNum" sz="quarter" idx="11"/>
          </p:nvPr>
        </p:nvSpPr>
        <p:spPr/>
        <p:txBody>
          <a:bodyPr/>
          <a:lstStyle>
            <a:lvl1pPr>
              <a:defRPr smtClean="0"/>
            </a:lvl1pPr>
          </a:lstStyle>
          <a:p>
            <a:pPr>
              <a:defRPr/>
            </a:pPr>
            <a:fld id="{52E1F56E-0AD8-4EA9-9BCA-27C227E9B0E9}" type="slidenum">
              <a:rPr lang="en-GB" altLang="en-GB"/>
              <a:pPr>
                <a:defRPr/>
              </a:pPr>
              <a:t>‹#›</a:t>
            </a:fld>
            <a:endParaRPr lang="en-GB" altLang="en-GB"/>
          </a:p>
        </p:txBody>
      </p:sp>
    </p:spTree>
    <p:extLst>
      <p:ext uri="{BB962C8B-B14F-4D97-AF65-F5344CB8AC3E}">
        <p14:creationId xmlns:p14="http://schemas.microsoft.com/office/powerpoint/2010/main" val="21169042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6088" y="566738"/>
            <a:ext cx="8245475" cy="498475"/>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39738" y="1331913"/>
            <a:ext cx="4041775" cy="4651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33913" y="1331913"/>
            <a:ext cx="4043362" cy="4651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9"/>
          <p:cNvSpPr>
            <a:spLocks noGrp="1"/>
          </p:cNvSpPr>
          <p:nvPr>
            <p:ph type="sldNum" sz="quarter" idx="10"/>
          </p:nvPr>
        </p:nvSpPr>
        <p:spPr/>
        <p:txBody>
          <a:bodyPr/>
          <a:lstStyle>
            <a:lvl1pPr>
              <a:defRPr smtClean="0"/>
            </a:lvl1pPr>
          </a:lstStyle>
          <a:p>
            <a:pPr>
              <a:defRPr/>
            </a:pPr>
            <a:fld id="{407A2718-9190-496F-923A-39C6AE739A5E}" type="slidenum">
              <a:rPr lang="en-GB"/>
              <a:pPr>
                <a:defRPr/>
              </a:pPr>
              <a:t>‹#›</a:t>
            </a:fld>
            <a:endParaRPr lang="en-GB"/>
          </a:p>
        </p:txBody>
      </p:sp>
    </p:spTree>
    <p:extLst>
      <p:ext uri="{BB962C8B-B14F-4D97-AF65-F5344CB8AC3E}">
        <p14:creationId xmlns:p14="http://schemas.microsoft.com/office/powerpoint/2010/main" val="41473900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2" y="1812927"/>
            <a:ext cx="8415313" cy="973133"/>
          </a:xfrm>
        </p:spPr>
        <p:txBody>
          <a:bodyPr anchor="t">
            <a:noAutofit/>
          </a:bodyPr>
          <a:lstStyle>
            <a:lvl1pPr algn="l">
              <a:defRPr sz="5539"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77056"/>
            <a:ext cx="792088" cy="113557"/>
          </a:xfrm>
          <a:prstGeom prst="rect">
            <a:avLst/>
          </a:prstGeom>
        </p:spPr>
        <p:txBody>
          <a:bodyPr vert="horz" lIns="0" tIns="0" rIns="0" bIns="0" rtlCol="0" anchor="ctr" anchorCtr="0"/>
          <a:lstStyle>
            <a:lvl1pPr algn="r">
              <a:defRPr sz="738"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6477056"/>
            <a:ext cx="7559473" cy="113557"/>
          </a:xfrm>
          <a:prstGeom prst="rect">
            <a:avLst/>
          </a:prstGeom>
        </p:spPr>
        <p:txBody>
          <a:bodyPr vert="horz" lIns="0" tIns="0" rIns="0" bIns="0" rtlCol="0" anchor="ctr" anchorCtr="0"/>
          <a:lstStyle>
            <a:lvl1pPr algn="l">
              <a:defRPr sz="738" b="0">
                <a:solidFill>
                  <a:schemeClr val="bg1"/>
                </a:solidFill>
              </a:defRPr>
            </a:lvl1pPr>
          </a:lstStyle>
          <a:p>
            <a:r>
              <a:rPr lang="en-GB" smtClean="0"/>
              <a:t>© 2015 Deloitte SAS</a:t>
            </a:r>
            <a:endParaRPr lang="en-GB" dirty="0"/>
          </a:p>
        </p:txBody>
      </p:sp>
      <p:sp>
        <p:nvSpPr>
          <p:cNvPr id="6" name="Text Placeholder 5"/>
          <p:cNvSpPr>
            <a:spLocks noGrp="1"/>
          </p:cNvSpPr>
          <p:nvPr>
            <p:ph type="body" sz="quarter" idx="10"/>
          </p:nvPr>
        </p:nvSpPr>
        <p:spPr>
          <a:xfrm>
            <a:off x="357189" y="2787770"/>
            <a:ext cx="8429654" cy="3200080"/>
          </a:xfrm>
        </p:spPr>
        <p:txBody>
          <a:bodyPr>
            <a:noAutofit/>
          </a:bodyPr>
          <a:lstStyle>
            <a:lvl1pPr marL="0" indent="0">
              <a:buNone/>
              <a:defRPr sz="5539">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12099240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2769"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477056"/>
            <a:ext cx="7559473" cy="113557"/>
          </a:xfrm>
          <a:prstGeom prst="rect">
            <a:avLst/>
          </a:prstGeom>
        </p:spPr>
        <p:txBody>
          <a:bodyPr vert="horz" lIns="0" tIns="0" rIns="0" bIns="0" rtlCol="0" anchor="ctr" anchorCtr="0"/>
          <a:lstStyle>
            <a:lvl1pPr algn="l">
              <a:defRPr sz="738" b="0">
                <a:solidFill>
                  <a:srgbClr val="8C8C8C"/>
                </a:solidFill>
              </a:defRPr>
            </a:lvl1pPr>
          </a:lstStyle>
          <a:p>
            <a:r>
              <a:rPr lang="en-GB" smtClean="0"/>
              <a:t>© 2015 Deloitte SAS</a:t>
            </a:r>
            <a:endParaRPr lang="en-GB" dirty="0"/>
          </a:p>
        </p:txBody>
      </p:sp>
      <p:sp>
        <p:nvSpPr>
          <p:cNvPr id="6" name="Slide Number Placeholder 7"/>
          <p:cNvSpPr>
            <a:spLocks noGrp="1"/>
          </p:cNvSpPr>
          <p:nvPr>
            <p:ph type="sldNum" sz="quarter" idx="4"/>
          </p:nvPr>
        </p:nvSpPr>
        <p:spPr>
          <a:xfrm>
            <a:off x="7971996" y="6477056"/>
            <a:ext cx="792088" cy="113557"/>
          </a:xfrm>
          <a:prstGeom prst="rect">
            <a:avLst/>
          </a:prstGeom>
        </p:spPr>
        <p:txBody>
          <a:bodyPr vert="horz" lIns="0" tIns="0" rIns="0" bIns="0" rtlCol="0" anchor="ctr" anchorCtr="0"/>
          <a:lstStyle>
            <a:lvl1pPr algn="r">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99404677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lvl1pPr>
              <a:defRPr>
                <a:latin typeface="Arial" pitchFamily="34" charset="0"/>
              </a:defRPr>
            </a:lvl1pPr>
          </a:lstStyle>
          <a:p>
            <a:pPr>
              <a:defRPr/>
            </a:pPr>
            <a:r>
              <a:rPr lang="en-GB" altLang="en-GB"/>
              <a:t>Lean Workshops</a:t>
            </a:r>
          </a:p>
        </p:txBody>
      </p:sp>
      <p:sp>
        <p:nvSpPr>
          <p:cNvPr id="4" name="Slide Number Placeholder 3"/>
          <p:cNvSpPr>
            <a:spLocks noGrp="1"/>
          </p:cNvSpPr>
          <p:nvPr>
            <p:ph type="sldNum" sz="quarter" idx="11"/>
          </p:nvPr>
        </p:nvSpPr>
        <p:spPr/>
        <p:txBody>
          <a:bodyPr/>
          <a:lstStyle>
            <a:lvl1pPr>
              <a:defRPr smtClean="0"/>
            </a:lvl1pPr>
          </a:lstStyle>
          <a:p>
            <a:pPr>
              <a:defRPr/>
            </a:pPr>
            <a:fld id="{52E1F56E-0AD8-4EA9-9BCA-27C227E9B0E9}" type="slidenum">
              <a:rPr lang="en-GB" altLang="en-GB"/>
              <a:pPr>
                <a:defRPr/>
              </a:pPr>
              <a:t>‹#›</a:t>
            </a:fld>
            <a:endParaRPr lang="en-GB" altLang="en-GB"/>
          </a:p>
        </p:txBody>
      </p:sp>
    </p:spTree>
    <p:extLst>
      <p:ext uri="{BB962C8B-B14F-4D97-AF65-F5344CB8AC3E}">
        <p14:creationId xmlns:p14="http://schemas.microsoft.com/office/powerpoint/2010/main" val="3582424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atin typeface="Arial" pitchFamily="34" charset="0"/>
              </a:defRPr>
            </a:lvl1pPr>
          </a:lstStyle>
          <a:p>
            <a:pPr>
              <a:defRPr/>
            </a:pPr>
            <a:r>
              <a:rPr lang="en-GB" altLang="en-GB"/>
              <a:t>Lean Workshops</a:t>
            </a:r>
          </a:p>
        </p:txBody>
      </p:sp>
      <p:sp>
        <p:nvSpPr>
          <p:cNvPr id="5" name="Slide Number Placeholder 4"/>
          <p:cNvSpPr>
            <a:spLocks noGrp="1"/>
          </p:cNvSpPr>
          <p:nvPr>
            <p:ph type="sldNum" sz="quarter" idx="11"/>
          </p:nvPr>
        </p:nvSpPr>
        <p:spPr/>
        <p:txBody>
          <a:bodyPr/>
          <a:lstStyle>
            <a:lvl1pPr>
              <a:defRPr smtClean="0"/>
            </a:lvl1pPr>
          </a:lstStyle>
          <a:p>
            <a:pPr>
              <a:defRPr/>
            </a:pPr>
            <a:fld id="{BBF9233D-E07D-4816-8266-016219A90821}" type="slidenum">
              <a:rPr lang="en-GB" altLang="en-GB"/>
              <a:pPr>
                <a:defRPr/>
              </a:pPr>
              <a:t>‹#›</a:t>
            </a:fld>
            <a:endParaRPr lang="en-GB" alt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6088" y="566738"/>
            <a:ext cx="8245475" cy="498475"/>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39738" y="1331913"/>
            <a:ext cx="4041775" cy="4651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33913" y="1331913"/>
            <a:ext cx="4043362" cy="4651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9"/>
          <p:cNvSpPr>
            <a:spLocks noGrp="1"/>
          </p:cNvSpPr>
          <p:nvPr>
            <p:ph type="sldNum" sz="quarter" idx="10"/>
          </p:nvPr>
        </p:nvSpPr>
        <p:spPr/>
        <p:txBody>
          <a:bodyPr/>
          <a:lstStyle>
            <a:lvl1pPr>
              <a:defRPr smtClean="0"/>
            </a:lvl1pPr>
          </a:lstStyle>
          <a:p>
            <a:pPr>
              <a:defRPr/>
            </a:pPr>
            <a:fld id="{407A2718-9190-496F-923A-39C6AE739A5E}" type="slidenum">
              <a:rPr lang="en-GB"/>
              <a:pPr>
                <a:defRPr/>
              </a:pPr>
              <a:t>‹#›</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anchor="ctr"/>
          <a:lstStyle/>
          <a:p>
            <a:pPr algn="ctr">
              <a:defRPr/>
            </a:pPr>
            <a:endParaRPr lang="en-US" b="0">
              <a:solidFill>
                <a:srgbClr val="FFFFFF"/>
              </a:solidFill>
              <a:cs typeface="Arial" pitchFamily="34" charset="0"/>
            </a:endParaRPr>
          </a:p>
        </p:txBody>
      </p:sp>
      <p:pic>
        <p:nvPicPr>
          <p:cNvPr id="3" name="Picture 4" descr="DEL_COL"/>
          <p:cNvPicPr preferRelativeResize="0">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27025" y="2255838"/>
            <a:ext cx="3143250" cy="627062"/>
          </a:xfrm>
          <a:prstGeom prst="rect">
            <a:avLst/>
          </a:prstGeom>
          <a:noFill/>
          <a:ln w="12700">
            <a:noFill/>
            <a:miter lim="800000"/>
            <a:headEnd/>
            <a:tailEnd/>
          </a:ln>
        </p:spPr>
      </p:pic>
      <p:sp>
        <p:nvSpPr>
          <p:cNvPr id="4" name="Footer Placeholder 4"/>
          <p:cNvSpPr>
            <a:spLocks noGrp="1"/>
          </p:cNvSpPr>
          <p:nvPr>
            <p:ph type="ftr" sz="quarter" idx="10"/>
          </p:nvPr>
        </p:nvSpPr>
        <p:spPr>
          <a:xfrm>
            <a:off x="720725" y="6569075"/>
            <a:ext cx="3671888" cy="153988"/>
          </a:xfrm>
        </p:spPr>
        <p:txBody>
          <a:bodyPr rtlCol="0"/>
          <a:lstStyle>
            <a:lvl1pPr algn="l">
              <a:defRPr sz="1000" b="1">
                <a:solidFill>
                  <a:srgbClr val="FFFFFF"/>
                </a:solidFill>
              </a:defRPr>
            </a:lvl1pPr>
          </a:lstStyle>
          <a:p>
            <a:pPr>
              <a:defRPr/>
            </a:pPr>
            <a:r>
              <a:rPr lang="en-US"/>
              <a:t>Presentation title</a:t>
            </a:r>
          </a:p>
        </p:txBody>
      </p:sp>
      <p:sp>
        <p:nvSpPr>
          <p:cNvPr id="5" name="Slide Number Placeholder 5"/>
          <p:cNvSpPr>
            <a:spLocks noGrp="1"/>
          </p:cNvSpPr>
          <p:nvPr>
            <p:ph type="sldNum" sz="quarter" idx="11"/>
          </p:nvPr>
        </p:nvSpPr>
        <p:spPr>
          <a:xfrm>
            <a:off x="358775" y="6569075"/>
            <a:ext cx="360363" cy="153988"/>
          </a:xfrm>
        </p:spPr>
        <p:txBody>
          <a:bodyPr/>
          <a:lstStyle>
            <a:lvl1pPr>
              <a:defRPr sz="1000" b="1" smtClean="0">
                <a:solidFill>
                  <a:srgbClr val="FFFFFF"/>
                </a:solidFill>
              </a:defRPr>
            </a:lvl1pPr>
          </a:lstStyle>
          <a:p>
            <a:pPr>
              <a:defRPr/>
            </a:pPr>
            <a:fld id="{DFAC8F3D-08AD-4323-AA15-027F139DC2C8}"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atin typeface="Arial" pitchFamily="34" charset="0"/>
              </a:defRPr>
            </a:lvl1pPr>
          </a:lstStyle>
          <a:p>
            <a:pPr>
              <a:defRPr/>
            </a:pPr>
            <a:r>
              <a:rPr lang="en-GB" altLang="en-GB"/>
              <a:t>Lean Workshops</a:t>
            </a:r>
          </a:p>
        </p:txBody>
      </p:sp>
      <p:sp>
        <p:nvSpPr>
          <p:cNvPr id="5" name="Slide Number Placeholder 4"/>
          <p:cNvSpPr>
            <a:spLocks noGrp="1"/>
          </p:cNvSpPr>
          <p:nvPr>
            <p:ph type="sldNum" sz="quarter" idx="11"/>
          </p:nvPr>
        </p:nvSpPr>
        <p:spPr/>
        <p:txBody>
          <a:bodyPr/>
          <a:lstStyle>
            <a:lvl1pPr>
              <a:defRPr smtClean="0"/>
            </a:lvl1pPr>
          </a:lstStyle>
          <a:p>
            <a:pPr>
              <a:defRPr/>
            </a:pPr>
            <a:fld id="{BBF9233D-E07D-4816-8266-016219A90821}" type="slidenum">
              <a:rPr lang="en-GB" altLang="en-GB"/>
              <a:pPr>
                <a:defRPr/>
              </a:pPr>
              <a:t>‹#›</a:t>
            </a:fld>
            <a:endParaRPr lang="en-GB" alt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lvl1pPr>
              <a:defRPr>
                <a:latin typeface="Arial" pitchFamily="34" charset="0"/>
              </a:defRPr>
            </a:lvl1pPr>
          </a:lstStyle>
          <a:p>
            <a:pPr>
              <a:defRPr/>
            </a:pPr>
            <a:r>
              <a:rPr lang="en-GB" altLang="en-GB"/>
              <a:t>Lean Workshops</a:t>
            </a:r>
          </a:p>
        </p:txBody>
      </p:sp>
      <p:sp>
        <p:nvSpPr>
          <p:cNvPr id="4" name="Slide Number Placeholder 3"/>
          <p:cNvSpPr>
            <a:spLocks noGrp="1"/>
          </p:cNvSpPr>
          <p:nvPr>
            <p:ph type="sldNum" sz="quarter" idx="11"/>
          </p:nvPr>
        </p:nvSpPr>
        <p:spPr/>
        <p:txBody>
          <a:bodyPr/>
          <a:lstStyle>
            <a:lvl1pPr>
              <a:defRPr smtClean="0"/>
            </a:lvl1pPr>
          </a:lstStyle>
          <a:p>
            <a:pPr>
              <a:defRPr/>
            </a:pPr>
            <a:fld id="{52E1F56E-0AD8-4EA9-9BCA-27C227E9B0E9}" type="slidenum">
              <a:rPr lang="en-GB" altLang="en-GB"/>
              <a:pPr>
                <a:defRPr/>
              </a:pPr>
              <a:t>‹#›</a:t>
            </a:fld>
            <a:endParaRPr lang="en-GB" alt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6088" y="566738"/>
            <a:ext cx="8245475" cy="498475"/>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39738" y="1331913"/>
            <a:ext cx="4041775" cy="4651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33913" y="1331913"/>
            <a:ext cx="4043362" cy="4651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9"/>
          <p:cNvSpPr>
            <a:spLocks noGrp="1"/>
          </p:cNvSpPr>
          <p:nvPr>
            <p:ph type="sldNum" sz="quarter" idx="10"/>
          </p:nvPr>
        </p:nvSpPr>
        <p:spPr/>
        <p:txBody>
          <a:bodyPr/>
          <a:lstStyle>
            <a:lvl1pPr>
              <a:defRPr smtClean="0"/>
            </a:lvl1pPr>
          </a:lstStyle>
          <a:p>
            <a:pPr>
              <a:defRPr/>
            </a:pPr>
            <a:fld id="{407A2718-9190-496F-923A-39C6AE739A5E}" type="slidenum">
              <a:rPr lang="en-GB"/>
              <a:pPr>
                <a:defRPr/>
              </a:pPr>
              <a:t>‹#›</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atin typeface="Arial" pitchFamily="34" charset="0"/>
              </a:defRPr>
            </a:lvl1pPr>
          </a:lstStyle>
          <a:p>
            <a:pPr>
              <a:defRPr/>
            </a:pPr>
            <a:r>
              <a:rPr lang="en-GB" altLang="en-GB"/>
              <a:t>Lean Workshops</a:t>
            </a:r>
          </a:p>
        </p:txBody>
      </p:sp>
      <p:sp>
        <p:nvSpPr>
          <p:cNvPr id="5" name="Slide Number Placeholder 4"/>
          <p:cNvSpPr>
            <a:spLocks noGrp="1"/>
          </p:cNvSpPr>
          <p:nvPr>
            <p:ph type="sldNum" sz="quarter" idx="11"/>
          </p:nvPr>
        </p:nvSpPr>
        <p:spPr/>
        <p:txBody>
          <a:bodyPr/>
          <a:lstStyle>
            <a:lvl1pPr>
              <a:defRPr smtClean="0"/>
            </a:lvl1pPr>
          </a:lstStyle>
          <a:p>
            <a:pPr>
              <a:defRPr/>
            </a:pPr>
            <a:fld id="{BBF9233D-E07D-4816-8266-016219A90821}" type="slidenum">
              <a:rPr lang="en-GB" altLang="en-GB"/>
              <a:pPr>
                <a:defRPr/>
              </a:pPr>
              <a:t>‹#›</a:t>
            </a:fld>
            <a:endParaRPr lang="en-GB" altLang="en-GB"/>
          </a:p>
        </p:txBody>
      </p:sp>
    </p:spTree>
    <p:extLst>
      <p:ext uri="{BB962C8B-B14F-4D97-AF65-F5344CB8AC3E}">
        <p14:creationId xmlns:p14="http://schemas.microsoft.com/office/powerpoint/2010/main" val="277400789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3.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58775" y="358775"/>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2051" name="Rectangle 3"/>
          <p:cNvSpPr>
            <a:spLocks noGrp="1" noChangeArrowheads="1"/>
          </p:cNvSpPr>
          <p:nvPr>
            <p:ph type="body" idx="1"/>
          </p:nvPr>
        </p:nvSpPr>
        <p:spPr bwMode="auto">
          <a:xfrm>
            <a:off x="358775" y="1258888"/>
            <a:ext cx="8421688" cy="5127625"/>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First level</a:t>
            </a:r>
          </a:p>
          <a:p>
            <a:pPr lvl="2"/>
            <a:r>
              <a:rPr lang="en-GB" smtClean="0"/>
              <a:t>Second level</a:t>
            </a:r>
          </a:p>
          <a:p>
            <a:pPr lvl="3"/>
            <a:r>
              <a:rPr lang="en-GB" smtClean="0"/>
              <a:t>Third level</a:t>
            </a:r>
          </a:p>
        </p:txBody>
      </p:sp>
      <p:sp>
        <p:nvSpPr>
          <p:cNvPr id="7172" name="Rectangle 4"/>
          <p:cNvSpPr>
            <a:spLocks noGrp="1" noChangeArrowheads="1"/>
          </p:cNvSpPr>
          <p:nvPr>
            <p:ph type="ftr" sz="quarter" idx="3"/>
          </p:nvPr>
        </p:nvSpPr>
        <p:spPr bwMode="auto">
          <a:xfrm>
            <a:off x="723900" y="6548438"/>
            <a:ext cx="5243513"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b="0">
                <a:solidFill>
                  <a:srgbClr val="000066"/>
                </a:solidFill>
                <a:cs typeface="+mn-cs"/>
              </a:defRPr>
            </a:lvl1pPr>
          </a:lstStyle>
          <a:p>
            <a:pPr>
              <a:defRPr/>
            </a:pPr>
            <a:r>
              <a:rPr lang="en-GB" altLang="en-GB"/>
              <a:t>Lean Workshops</a:t>
            </a:r>
          </a:p>
        </p:txBody>
      </p:sp>
      <p:sp>
        <p:nvSpPr>
          <p:cNvPr id="7173" name="Rectangle 5"/>
          <p:cNvSpPr>
            <a:spLocks noGrp="1" noChangeArrowheads="1"/>
          </p:cNvSpPr>
          <p:nvPr>
            <p:ph type="sldNum" sz="quarter" idx="4"/>
          </p:nvPr>
        </p:nvSpPr>
        <p:spPr bwMode="auto">
          <a:xfrm>
            <a:off x="358775" y="6548438"/>
            <a:ext cx="355600" cy="122237"/>
          </a:xfrm>
          <a:prstGeom prst="rect">
            <a:avLst/>
          </a:prstGeom>
          <a:noFill/>
          <a:ln w="12700">
            <a:noFill/>
            <a:miter lim="800000"/>
            <a:headEnd/>
            <a:tailEnd/>
          </a:ln>
          <a:effectLst/>
        </p:spPr>
        <p:txBody>
          <a:bodyPr vert="horz" wrap="square" lIns="0" tIns="0" rIns="0" bIns="0" numCol="1" anchor="b" anchorCtr="0" compatLnSpc="1">
            <a:prstTxWarp prst="textNoShape">
              <a:avLst/>
            </a:prstTxWarp>
            <a:spAutoFit/>
          </a:bodyPr>
          <a:lstStyle>
            <a:lvl1pPr>
              <a:defRPr sz="800" b="0" smtClean="0">
                <a:solidFill>
                  <a:srgbClr val="000066"/>
                </a:solidFill>
              </a:defRPr>
            </a:lvl1pPr>
          </a:lstStyle>
          <a:p>
            <a:pPr>
              <a:defRPr/>
            </a:pPr>
            <a:fld id="{0357DD66-050F-425A-8E3A-36ECF8D3862C}" type="slidenum">
              <a:rPr lang="en-GB" altLang="en-GB"/>
              <a:pPr>
                <a:defRPr/>
              </a:pPr>
              <a:t>‹#›</a:t>
            </a:fld>
            <a:endParaRPr lang="en-GB" altLang="en-GB"/>
          </a:p>
        </p:txBody>
      </p:sp>
      <p:sp>
        <p:nvSpPr>
          <p:cNvPr id="7175" name="Legal Entity"/>
          <p:cNvSpPr txBox="1">
            <a:spLocks noChangeArrowheads="1"/>
          </p:cNvSpPr>
          <p:nvPr userDrawn="1"/>
        </p:nvSpPr>
        <p:spPr bwMode="auto">
          <a:xfrm>
            <a:off x="3106738" y="6519863"/>
            <a:ext cx="5657850" cy="122237"/>
          </a:xfrm>
          <a:prstGeom prst="rect">
            <a:avLst/>
          </a:prstGeom>
          <a:noFill/>
          <a:ln w="9525">
            <a:noFill/>
            <a:miter lim="800000"/>
            <a:headEnd/>
            <a:tailEnd/>
          </a:ln>
          <a:effectLst/>
        </p:spPr>
        <p:txBody>
          <a:bodyPr lIns="0" tIns="0" rIns="0" bIns="0">
            <a:spAutoFit/>
          </a:bodyPr>
          <a:lstStyle/>
          <a:p>
            <a:pPr algn="r" eaLnBrk="0" hangingPunct="0">
              <a:spcBef>
                <a:spcPct val="50000"/>
              </a:spcBef>
              <a:defRPr/>
            </a:pPr>
            <a:r>
              <a:rPr lang="en-GB" sz="800" b="0" dirty="0">
                <a:solidFill>
                  <a:srgbClr val="000066"/>
                </a:solidFill>
                <a:cs typeface="+mn-cs"/>
              </a:rPr>
              <a:t> ©</a:t>
            </a:r>
            <a:r>
              <a:rPr lang="en-GB" sz="800" b="0" dirty="0" smtClean="0">
                <a:solidFill>
                  <a:srgbClr val="000066"/>
                </a:solidFill>
                <a:cs typeface="+mn-cs"/>
              </a:rPr>
              <a:t>2015 </a:t>
            </a:r>
            <a:r>
              <a:rPr lang="en-GB" sz="800" b="0" dirty="0">
                <a:solidFill>
                  <a:srgbClr val="000066"/>
                </a:solidFill>
                <a:cs typeface="+mn-cs"/>
              </a:rPr>
              <a:t>Deloitte MCS Limited</a:t>
            </a:r>
            <a:r>
              <a:rPr lang="en-GB" sz="800" b="0" dirty="0" smtClean="0">
                <a:solidFill>
                  <a:srgbClr val="000066"/>
                </a:solidFill>
                <a:cs typeface="+mn-cs"/>
              </a:rPr>
              <a:t>. Private </a:t>
            </a:r>
            <a:r>
              <a:rPr lang="en-GB" sz="800" b="0" dirty="0">
                <a:solidFill>
                  <a:srgbClr val="000066"/>
                </a:solidFill>
                <a:cs typeface="+mn-cs"/>
              </a:rPr>
              <a:t>and confidential</a:t>
            </a:r>
          </a:p>
        </p:txBody>
      </p:sp>
    </p:spTree>
  </p:cSld>
  <p:clrMap bg1="dk2" tx1="lt1" bg2="dk1" tx2="lt2" accent1="accent1" accent2="accent2" accent3="accent3" accent4="accent4" accent5="accent5" accent6="accent6" hlink="hlink" folHlink="folHlink"/>
  <p:sldLayoutIdLst>
    <p:sldLayoutId id="2147486209" r:id="rId1"/>
    <p:sldLayoutId id="2147486370" r:id="rId2"/>
    <p:sldLayoutId id="2147486375" r:id="rId3"/>
    <p:sldLayoutId id="2147486376" r:id="rId4"/>
    <p:sldLayoutId id="2147486377" r:id="rId5"/>
  </p:sldLayoutIdLst>
  <p:hf hdr="0" dt="0"/>
  <p:txStyles>
    <p:titleStyle>
      <a:lvl1pPr algn="l" rtl="0" eaLnBrk="0" fontAlgn="base" hangingPunct="0">
        <a:lnSpc>
          <a:spcPts val="2600"/>
        </a:lnSpc>
        <a:spcBef>
          <a:spcPct val="0"/>
        </a:spcBef>
        <a:spcAft>
          <a:spcPct val="0"/>
        </a:spcAft>
        <a:defRPr sz="2400">
          <a:solidFill>
            <a:srgbClr val="000066"/>
          </a:solidFill>
          <a:latin typeface="+mj-lt"/>
          <a:ea typeface="+mj-ea"/>
          <a:cs typeface="+mj-cs"/>
        </a:defRPr>
      </a:lvl1pPr>
      <a:lvl2pPr algn="l" rtl="0" eaLnBrk="0" fontAlgn="base" hangingPunct="0">
        <a:lnSpc>
          <a:spcPts val="2600"/>
        </a:lnSpc>
        <a:spcBef>
          <a:spcPct val="0"/>
        </a:spcBef>
        <a:spcAft>
          <a:spcPct val="0"/>
        </a:spcAft>
        <a:defRPr sz="2400">
          <a:solidFill>
            <a:srgbClr val="000066"/>
          </a:solidFill>
          <a:latin typeface="Arial" pitchFamily="34" charset="0"/>
        </a:defRPr>
      </a:lvl2pPr>
      <a:lvl3pPr algn="l" rtl="0" eaLnBrk="0" fontAlgn="base" hangingPunct="0">
        <a:lnSpc>
          <a:spcPts val="2600"/>
        </a:lnSpc>
        <a:spcBef>
          <a:spcPct val="0"/>
        </a:spcBef>
        <a:spcAft>
          <a:spcPct val="0"/>
        </a:spcAft>
        <a:defRPr sz="2400">
          <a:solidFill>
            <a:srgbClr val="000066"/>
          </a:solidFill>
          <a:latin typeface="Arial" pitchFamily="34" charset="0"/>
        </a:defRPr>
      </a:lvl3pPr>
      <a:lvl4pPr algn="l" rtl="0" eaLnBrk="0" fontAlgn="base" hangingPunct="0">
        <a:lnSpc>
          <a:spcPts val="2600"/>
        </a:lnSpc>
        <a:spcBef>
          <a:spcPct val="0"/>
        </a:spcBef>
        <a:spcAft>
          <a:spcPct val="0"/>
        </a:spcAft>
        <a:defRPr sz="2400">
          <a:solidFill>
            <a:srgbClr val="000066"/>
          </a:solidFill>
          <a:latin typeface="Arial" pitchFamily="34" charset="0"/>
        </a:defRPr>
      </a:lvl4pPr>
      <a:lvl5pPr algn="l" rtl="0" eaLnBrk="0" fontAlgn="base" hangingPunct="0">
        <a:lnSpc>
          <a:spcPts val="2600"/>
        </a:lnSpc>
        <a:spcBef>
          <a:spcPct val="0"/>
        </a:spcBef>
        <a:spcAft>
          <a:spcPct val="0"/>
        </a:spcAft>
        <a:defRPr sz="2400">
          <a:solidFill>
            <a:srgbClr val="000066"/>
          </a:solidFill>
          <a:latin typeface="Arial" pitchFamily="34" charset="0"/>
        </a:defRPr>
      </a:lvl5pPr>
      <a:lvl6pPr marL="457200" algn="l" rtl="0" fontAlgn="base">
        <a:lnSpc>
          <a:spcPts val="2600"/>
        </a:lnSpc>
        <a:spcBef>
          <a:spcPct val="0"/>
        </a:spcBef>
        <a:spcAft>
          <a:spcPct val="0"/>
        </a:spcAft>
        <a:defRPr sz="2400">
          <a:solidFill>
            <a:srgbClr val="000066"/>
          </a:solidFill>
          <a:latin typeface="Arial" pitchFamily="34" charset="0"/>
        </a:defRPr>
      </a:lvl6pPr>
      <a:lvl7pPr marL="914400" algn="l" rtl="0" fontAlgn="base">
        <a:lnSpc>
          <a:spcPts val="2600"/>
        </a:lnSpc>
        <a:spcBef>
          <a:spcPct val="0"/>
        </a:spcBef>
        <a:spcAft>
          <a:spcPct val="0"/>
        </a:spcAft>
        <a:defRPr sz="2400">
          <a:solidFill>
            <a:srgbClr val="000066"/>
          </a:solidFill>
          <a:latin typeface="Arial" pitchFamily="34" charset="0"/>
        </a:defRPr>
      </a:lvl7pPr>
      <a:lvl8pPr marL="1371600" algn="l" rtl="0" fontAlgn="base">
        <a:lnSpc>
          <a:spcPts val="2600"/>
        </a:lnSpc>
        <a:spcBef>
          <a:spcPct val="0"/>
        </a:spcBef>
        <a:spcAft>
          <a:spcPct val="0"/>
        </a:spcAft>
        <a:defRPr sz="2400">
          <a:solidFill>
            <a:srgbClr val="000066"/>
          </a:solidFill>
          <a:latin typeface="Arial" pitchFamily="34" charset="0"/>
        </a:defRPr>
      </a:lvl8pPr>
      <a:lvl9pPr marL="1828800" algn="l" rtl="0" fontAlgn="base">
        <a:lnSpc>
          <a:spcPts val="2600"/>
        </a:lnSpc>
        <a:spcBef>
          <a:spcPct val="0"/>
        </a:spcBef>
        <a:spcAft>
          <a:spcPct val="0"/>
        </a:spcAft>
        <a:defRPr sz="2400">
          <a:solidFill>
            <a:srgbClr val="000066"/>
          </a:solidFill>
          <a:latin typeface="Arial" pitchFamily="34" charset="0"/>
        </a:defRPr>
      </a:lvl9pPr>
    </p:titleStyle>
    <p:bodyStyle>
      <a:lvl1pPr marL="342900" indent="-342900" algn="l" rtl="0" eaLnBrk="0" fontAlgn="base" hangingPunct="0">
        <a:lnSpc>
          <a:spcPts val="2200"/>
        </a:lnSpc>
        <a:spcBef>
          <a:spcPct val="0"/>
        </a:spcBef>
        <a:spcAft>
          <a:spcPct val="25000"/>
        </a:spcAft>
        <a:defRPr sz="2000">
          <a:solidFill>
            <a:srgbClr val="000066"/>
          </a:solidFill>
          <a:latin typeface="+mn-lt"/>
          <a:ea typeface="+mn-ea"/>
          <a:cs typeface="+mn-cs"/>
        </a:defRPr>
      </a:lvl1pPr>
      <a:lvl2pPr marL="169863" indent="-168275" algn="l" rtl="0" eaLnBrk="0" fontAlgn="base" hangingPunct="0">
        <a:lnSpc>
          <a:spcPts val="2200"/>
        </a:lnSpc>
        <a:spcBef>
          <a:spcPct val="0"/>
        </a:spcBef>
        <a:spcAft>
          <a:spcPct val="25000"/>
        </a:spcAft>
        <a:buChar char="•"/>
        <a:defRPr sz="2000">
          <a:solidFill>
            <a:srgbClr val="000066"/>
          </a:solidFill>
          <a:latin typeface="+mn-lt"/>
        </a:defRPr>
      </a:lvl2pPr>
      <a:lvl3pPr marL="457200" indent="-171450" algn="l" rtl="0" eaLnBrk="0" fontAlgn="base" hangingPunct="0">
        <a:lnSpc>
          <a:spcPts val="2000"/>
        </a:lnSpc>
        <a:spcBef>
          <a:spcPct val="0"/>
        </a:spcBef>
        <a:spcAft>
          <a:spcPct val="25000"/>
        </a:spcAft>
        <a:buChar char="–"/>
        <a:defRPr>
          <a:solidFill>
            <a:srgbClr val="000066"/>
          </a:solidFill>
          <a:latin typeface="+mn-lt"/>
        </a:defRPr>
      </a:lvl3pPr>
      <a:lvl4pPr marL="742950" indent="-171450" algn="l" rtl="0" eaLnBrk="0" fontAlgn="base" hangingPunct="0">
        <a:lnSpc>
          <a:spcPts val="1800"/>
        </a:lnSpc>
        <a:spcBef>
          <a:spcPct val="0"/>
        </a:spcBef>
        <a:spcAft>
          <a:spcPct val="25000"/>
        </a:spcAft>
        <a:buChar char="•"/>
        <a:defRPr sz="1600">
          <a:solidFill>
            <a:srgbClr val="000066"/>
          </a:solidFill>
          <a:latin typeface="+mn-lt"/>
        </a:defRPr>
      </a:lvl4pPr>
      <a:lvl5pPr marL="1028700" indent="-171450" algn="l" rtl="0" eaLnBrk="0" fontAlgn="base" hangingPunct="0">
        <a:spcBef>
          <a:spcPct val="0"/>
        </a:spcBef>
        <a:spcAft>
          <a:spcPct val="25000"/>
        </a:spcAft>
        <a:buChar char="–"/>
        <a:defRPr sz="1200">
          <a:solidFill>
            <a:srgbClr val="000066"/>
          </a:solidFill>
          <a:latin typeface="+mn-lt"/>
        </a:defRPr>
      </a:lvl5pPr>
      <a:lvl6pPr marL="1485900" indent="-171450" algn="l" rtl="0" fontAlgn="base">
        <a:spcBef>
          <a:spcPct val="0"/>
        </a:spcBef>
        <a:spcAft>
          <a:spcPct val="25000"/>
        </a:spcAft>
        <a:buChar char="–"/>
        <a:defRPr sz="1200">
          <a:solidFill>
            <a:srgbClr val="000066"/>
          </a:solidFill>
          <a:latin typeface="+mn-lt"/>
        </a:defRPr>
      </a:lvl6pPr>
      <a:lvl7pPr marL="1943100" indent="-171450" algn="l" rtl="0" fontAlgn="base">
        <a:spcBef>
          <a:spcPct val="0"/>
        </a:spcBef>
        <a:spcAft>
          <a:spcPct val="25000"/>
        </a:spcAft>
        <a:buChar char="–"/>
        <a:defRPr sz="1200">
          <a:solidFill>
            <a:srgbClr val="000066"/>
          </a:solidFill>
          <a:latin typeface="+mn-lt"/>
        </a:defRPr>
      </a:lvl7pPr>
      <a:lvl8pPr marL="2400300" indent="-171450" algn="l" rtl="0" fontAlgn="base">
        <a:spcBef>
          <a:spcPct val="0"/>
        </a:spcBef>
        <a:spcAft>
          <a:spcPct val="25000"/>
        </a:spcAft>
        <a:buChar char="–"/>
        <a:defRPr sz="1200">
          <a:solidFill>
            <a:srgbClr val="000066"/>
          </a:solidFill>
          <a:latin typeface="+mn-lt"/>
        </a:defRPr>
      </a:lvl8pPr>
      <a:lvl9pPr marL="2857500" indent="-171450" algn="l" rtl="0" fontAlgn="base">
        <a:spcBef>
          <a:spcPct val="0"/>
        </a:spcBef>
        <a:spcAft>
          <a:spcPct val="25000"/>
        </a:spcAft>
        <a:buChar char="–"/>
        <a:defRPr sz="1200">
          <a:solidFill>
            <a:srgbClr val="000066"/>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358775" y="358775"/>
            <a:ext cx="8391525" cy="619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n-GB" smtClean="0"/>
              <a:t>Click to edit Master title style</a:t>
            </a:r>
          </a:p>
        </p:txBody>
      </p:sp>
      <p:sp>
        <p:nvSpPr>
          <p:cNvPr id="3075" name="Rectangle 3"/>
          <p:cNvSpPr>
            <a:spLocks noGrp="1" noChangeArrowheads="1"/>
          </p:cNvSpPr>
          <p:nvPr>
            <p:ph type="body" idx="1"/>
          </p:nvPr>
        </p:nvSpPr>
        <p:spPr bwMode="auto">
          <a:xfrm>
            <a:off x="358775" y="1258888"/>
            <a:ext cx="8394700" cy="5008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n-GB" smtClean="0"/>
              <a:t>Click to edit Master text styles</a:t>
            </a:r>
          </a:p>
          <a:p>
            <a:pPr lvl="1"/>
            <a:r>
              <a:rPr lang="en-GB" altLang="en-GB" smtClean="0"/>
              <a:t>Second level</a:t>
            </a:r>
          </a:p>
          <a:p>
            <a:pPr lvl="2"/>
            <a:r>
              <a:rPr lang="en-GB" altLang="en-GB" smtClean="0"/>
              <a:t>Third level</a:t>
            </a:r>
          </a:p>
          <a:p>
            <a:pPr lvl="3"/>
            <a:r>
              <a:rPr lang="en-GB" altLang="en-GB" smtClean="0"/>
              <a:t>Fourth level</a:t>
            </a:r>
          </a:p>
        </p:txBody>
      </p:sp>
      <p:sp>
        <p:nvSpPr>
          <p:cNvPr id="14340" name="Rectangle 4"/>
          <p:cNvSpPr>
            <a:spLocks noGrp="1" noChangeArrowheads="1"/>
          </p:cNvSpPr>
          <p:nvPr>
            <p:ph type="ftr" sz="quarter" idx="3"/>
          </p:nvPr>
        </p:nvSpPr>
        <p:spPr bwMode="auto">
          <a:xfrm>
            <a:off x="723900" y="6519863"/>
            <a:ext cx="5243513" cy="12223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defRPr sz="800" b="0">
                <a:solidFill>
                  <a:srgbClr val="000066"/>
                </a:solidFill>
                <a:latin typeface="Arial" charset="0"/>
                <a:cs typeface="+mn-cs"/>
              </a:defRPr>
            </a:lvl1pPr>
          </a:lstStyle>
          <a:p>
            <a:pPr>
              <a:defRPr/>
            </a:pPr>
            <a:r>
              <a:rPr lang="en-GB" altLang="en-GB"/>
              <a:t>Lean Workshops</a:t>
            </a:r>
          </a:p>
        </p:txBody>
      </p:sp>
      <p:sp>
        <p:nvSpPr>
          <p:cNvPr id="14341" name="Rectangle 5"/>
          <p:cNvSpPr>
            <a:spLocks noGrp="1" noChangeArrowheads="1"/>
          </p:cNvSpPr>
          <p:nvPr>
            <p:ph type="sldNum" sz="quarter" idx="4"/>
          </p:nvPr>
        </p:nvSpPr>
        <p:spPr bwMode="auto">
          <a:xfrm>
            <a:off x="373063" y="6523038"/>
            <a:ext cx="1905000" cy="12223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defRPr sz="800" b="0" smtClean="0">
                <a:solidFill>
                  <a:srgbClr val="000066"/>
                </a:solidFill>
              </a:defRPr>
            </a:lvl1pPr>
          </a:lstStyle>
          <a:p>
            <a:pPr>
              <a:defRPr/>
            </a:pPr>
            <a:fld id="{157B21D2-CC5E-4003-9F12-C99AAF1B69AE}" type="slidenum">
              <a:rPr lang="en-GB" altLang="en-GB"/>
              <a:pPr>
                <a:defRPr/>
              </a:pPr>
              <a:t>‹#›</a:t>
            </a:fld>
            <a:endParaRPr lang="en-GB" altLang="en-GB"/>
          </a:p>
        </p:txBody>
      </p:sp>
      <p:sp>
        <p:nvSpPr>
          <p:cNvPr id="14343" name="Legal Entity"/>
          <p:cNvSpPr txBox="1">
            <a:spLocks noChangeArrowheads="1"/>
          </p:cNvSpPr>
          <p:nvPr userDrawn="1"/>
        </p:nvSpPr>
        <p:spPr bwMode="auto">
          <a:xfrm>
            <a:off x="3106738" y="6519863"/>
            <a:ext cx="5657850" cy="122237"/>
          </a:xfrm>
          <a:prstGeom prst="rect">
            <a:avLst/>
          </a:prstGeom>
          <a:noFill/>
          <a:ln w="9525">
            <a:noFill/>
            <a:miter lim="800000"/>
            <a:headEnd/>
            <a:tailEnd/>
          </a:ln>
          <a:effectLst/>
        </p:spPr>
        <p:txBody>
          <a:bodyPr lIns="0" tIns="0" rIns="0" bIns="0">
            <a:spAutoFit/>
          </a:bodyPr>
          <a:lstStyle/>
          <a:p>
            <a:pPr algn="r" eaLnBrk="0" hangingPunct="0">
              <a:spcBef>
                <a:spcPct val="50000"/>
              </a:spcBef>
              <a:defRPr/>
            </a:pPr>
            <a:r>
              <a:rPr lang="en-GB" sz="800" b="0" dirty="0">
                <a:solidFill>
                  <a:srgbClr val="000066"/>
                </a:solidFill>
                <a:latin typeface="Arial" charset="0"/>
                <a:cs typeface="+mn-cs"/>
              </a:rPr>
              <a:t> ©</a:t>
            </a:r>
            <a:r>
              <a:rPr lang="en-GB" sz="800" b="0" dirty="0" smtClean="0">
                <a:solidFill>
                  <a:srgbClr val="000066"/>
                </a:solidFill>
                <a:latin typeface="Arial" charset="0"/>
                <a:cs typeface="+mn-cs"/>
              </a:rPr>
              <a:t>2015 </a:t>
            </a:r>
            <a:r>
              <a:rPr lang="en-GB" sz="800" b="0" dirty="0">
                <a:solidFill>
                  <a:srgbClr val="000066"/>
                </a:solidFill>
                <a:latin typeface="Arial" charset="0"/>
                <a:cs typeface="+mn-cs"/>
              </a:rPr>
              <a:t>Deloitte MCS Limited</a:t>
            </a:r>
            <a:r>
              <a:rPr lang="en-GB" sz="800" b="0" dirty="0" smtClean="0">
                <a:solidFill>
                  <a:srgbClr val="000066"/>
                </a:solidFill>
                <a:latin typeface="Arial" charset="0"/>
                <a:cs typeface="+mn-cs"/>
              </a:rPr>
              <a:t>. Private </a:t>
            </a:r>
            <a:r>
              <a:rPr lang="en-GB" sz="800" b="0" dirty="0">
                <a:solidFill>
                  <a:srgbClr val="000066"/>
                </a:solidFill>
                <a:latin typeface="Arial" charset="0"/>
                <a:cs typeface="+mn-cs"/>
              </a:rPr>
              <a:t>and confidential</a:t>
            </a:r>
          </a:p>
        </p:txBody>
      </p:sp>
      <p:sp>
        <p:nvSpPr>
          <p:cNvPr id="7" name="AutoShape 19"/>
          <p:cNvSpPr>
            <a:spLocks noChangeArrowheads="1"/>
          </p:cNvSpPr>
          <p:nvPr userDrawn="1"/>
        </p:nvSpPr>
        <p:spPr bwMode="gray">
          <a:xfrm>
            <a:off x="6652076" y="104553"/>
            <a:ext cx="431800" cy="215900"/>
          </a:xfrm>
          <a:prstGeom prst="chevron">
            <a:avLst>
              <a:gd name="adj" fmla="val 30343"/>
            </a:avLst>
          </a:prstGeom>
          <a:solidFill>
            <a:srgbClr val="002776"/>
          </a:solidFill>
          <a:ln w="28575" cap="rnd" algn="ctr">
            <a:noFill/>
            <a:miter lim="800000"/>
            <a:headEnd/>
            <a:tailEnd/>
          </a:ln>
        </p:spPr>
        <p:txBody>
          <a:bodyPr wrap="none" lIns="72000" tIns="54000" rIns="0" bIns="54000" anchor="ctr"/>
          <a:lstStyle/>
          <a:p>
            <a:pPr defTabSz="1019175">
              <a:lnSpc>
                <a:spcPct val="110000"/>
              </a:lnSpc>
              <a:defRPr/>
            </a:pPr>
            <a:r>
              <a:rPr lang="en-GB" sz="1200">
                <a:solidFill>
                  <a:schemeClr val="bg1"/>
                </a:solidFill>
              </a:rPr>
              <a:t>M</a:t>
            </a:r>
          </a:p>
        </p:txBody>
      </p:sp>
      <p:sp>
        <p:nvSpPr>
          <p:cNvPr id="8" name="AutoShape 19"/>
          <p:cNvSpPr>
            <a:spLocks noChangeArrowheads="1"/>
          </p:cNvSpPr>
          <p:nvPr userDrawn="1"/>
        </p:nvSpPr>
        <p:spPr bwMode="gray">
          <a:xfrm>
            <a:off x="7029901" y="104553"/>
            <a:ext cx="431800" cy="215900"/>
          </a:xfrm>
          <a:prstGeom prst="chevron">
            <a:avLst>
              <a:gd name="adj" fmla="val 30343"/>
            </a:avLst>
          </a:prstGeom>
          <a:solidFill>
            <a:srgbClr val="0079A6"/>
          </a:solidFill>
          <a:ln w="12700" cap="rnd" algn="ctr">
            <a:noFill/>
            <a:miter lim="800000"/>
            <a:headEnd/>
            <a:tailEnd/>
          </a:ln>
        </p:spPr>
        <p:txBody>
          <a:bodyPr wrap="none" lIns="180000" tIns="54000" rIns="144000" bIns="54000" anchor="ctr"/>
          <a:lstStyle/>
          <a:p>
            <a:pPr algn="ctr" defTabSz="1019175">
              <a:lnSpc>
                <a:spcPct val="110000"/>
              </a:lnSpc>
              <a:defRPr/>
            </a:pPr>
            <a:r>
              <a:rPr lang="en-GB" sz="1200">
                <a:solidFill>
                  <a:schemeClr val="bg1"/>
                </a:solidFill>
                <a:cs typeface="+mn-cs"/>
              </a:rPr>
              <a:t>CS1</a:t>
            </a:r>
          </a:p>
        </p:txBody>
      </p:sp>
      <p:sp>
        <p:nvSpPr>
          <p:cNvPr id="9" name="AutoShape 19"/>
          <p:cNvSpPr>
            <a:spLocks noChangeArrowheads="1"/>
          </p:cNvSpPr>
          <p:nvPr userDrawn="1"/>
        </p:nvSpPr>
        <p:spPr bwMode="gray">
          <a:xfrm>
            <a:off x="7406139" y="104553"/>
            <a:ext cx="431800" cy="215900"/>
          </a:xfrm>
          <a:prstGeom prst="chevron">
            <a:avLst>
              <a:gd name="adj" fmla="val 30343"/>
            </a:avLst>
          </a:prstGeom>
          <a:solidFill>
            <a:srgbClr val="1462FF"/>
          </a:solidFill>
          <a:ln w="12700" cap="rnd" algn="ctr">
            <a:noFill/>
            <a:miter lim="800000"/>
            <a:headEnd/>
            <a:tailEnd/>
          </a:ln>
        </p:spPr>
        <p:txBody>
          <a:bodyPr wrap="none" lIns="180000" tIns="54000" rIns="144000" bIns="54000" anchor="ctr"/>
          <a:lstStyle/>
          <a:p>
            <a:pPr algn="ctr" defTabSz="1019175">
              <a:lnSpc>
                <a:spcPct val="110000"/>
              </a:lnSpc>
              <a:defRPr/>
            </a:pPr>
            <a:r>
              <a:rPr lang="en-GB" sz="1200" dirty="0">
                <a:solidFill>
                  <a:schemeClr val="bg1"/>
                </a:solidFill>
                <a:cs typeface="+mn-cs"/>
              </a:rPr>
              <a:t>CS2</a:t>
            </a:r>
          </a:p>
        </p:txBody>
      </p:sp>
      <p:sp>
        <p:nvSpPr>
          <p:cNvPr id="10" name="AutoShape 19"/>
          <p:cNvSpPr>
            <a:spLocks noChangeArrowheads="1"/>
          </p:cNvSpPr>
          <p:nvPr userDrawn="1"/>
        </p:nvSpPr>
        <p:spPr bwMode="gray">
          <a:xfrm>
            <a:off x="7783964" y="104553"/>
            <a:ext cx="431800" cy="215900"/>
          </a:xfrm>
          <a:prstGeom prst="chevron">
            <a:avLst>
              <a:gd name="adj" fmla="val 30343"/>
            </a:avLst>
          </a:prstGeom>
          <a:solidFill>
            <a:srgbClr val="00A1DE"/>
          </a:solidFill>
          <a:ln w="12700" cap="rnd" algn="ctr">
            <a:noFill/>
            <a:miter lim="800000"/>
            <a:headEnd/>
            <a:tailEnd/>
          </a:ln>
        </p:spPr>
        <p:txBody>
          <a:bodyPr wrap="none" lIns="180000" tIns="54000" rIns="144000" bIns="54000" anchor="ctr"/>
          <a:lstStyle/>
          <a:p>
            <a:pPr algn="ctr" defTabSz="1019175">
              <a:lnSpc>
                <a:spcPct val="110000"/>
              </a:lnSpc>
              <a:defRPr/>
            </a:pPr>
            <a:r>
              <a:rPr lang="en-GB" sz="1200">
                <a:solidFill>
                  <a:schemeClr val="bg1"/>
                </a:solidFill>
                <a:cs typeface="+mn-cs"/>
              </a:rPr>
              <a:t>FS1</a:t>
            </a:r>
          </a:p>
        </p:txBody>
      </p:sp>
      <p:sp>
        <p:nvSpPr>
          <p:cNvPr id="11" name="AutoShape 19"/>
          <p:cNvSpPr>
            <a:spLocks noChangeArrowheads="1"/>
          </p:cNvSpPr>
          <p:nvPr userDrawn="1"/>
        </p:nvSpPr>
        <p:spPr bwMode="gray">
          <a:xfrm>
            <a:off x="8160201" y="104553"/>
            <a:ext cx="433388" cy="215900"/>
          </a:xfrm>
          <a:prstGeom prst="chevron">
            <a:avLst>
              <a:gd name="adj" fmla="val 30454"/>
            </a:avLst>
          </a:prstGeom>
          <a:solidFill>
            <a:srgbClr val="72C7E7"/>
          </a:solidFill>
          <a:ln w="28575" cap="rnd" algn="ctr">
            <a:solidFill>
              <a:srgbClr val="92D400"/>
            </a:solidFill>
            <a:miter lim="800000"/>
            <a:headEnd/>
            <a:tailEnd/>
          </a:ln>
        </p:spPr>
        <p:txBody>
          <a:bodyPr wrap="none" lIns="180000" tIns="54000" rIns="144000" bIns="54000" anchor="ctr"/>
          <a:lstStyle/>
          <a:p>
            <a:pPr algn="ctr" defTabSz="1019175">
              <a:lnSpc>
                <a:spcPct val="110000"/>
              </a:lnSpc>
              <a:defRPr/>
            </a:pPr>
            <a:r>
              <a:rPr lang="en-GB" sz="1200" dirty="0">
                <a:solidFill>
                  <a:schemeClr val="bg1"/>
                </a:solidFill>
                <a:cs typeface="+mn-cs"/>
              </a:rPr>
              <a:t>FS2</a:t>
            </a:r>
          </a:p>
        </p:txBody>
      </p:sp>
      <p:sp>
        <p:nvSpPr>
          <p:cNvPr id="12" name="AutoShape 19"/>
          <p:cNvSpPr>
            <a:spLocks noChangeArrowheads="1"/>
          </p:cNvSpPr>
          <p:nvPr userDrawn="1"/>
        </p:nvSpPr>
        <p:spPr bwMode="gray">
          <a:xfrm>
            <a:off x="8538026" y="104553"/>
            <a:ext cx="431800" cy="215900"/>
          </a:xfrm>
          <a:prstGeom prst="chevron">
            <a:avLst>
              <a:gd name="adj" fmla="val 30343"/>
            </a:avLst>
          </a:prstGeom>
          <a:solidFill>
            <a:srgbClr val="52D0FF"/>
          </a:solidFill>
          <a:ln w="28575" cap="rnd" algn="ctr">
            <a:noFill/>
            <a:miter lim="800000"/>
            <a:headEnd/>
            <a:tailEnd/>
          </a:ln>
        </p:spPr>
        <p:txBody>
          <a:bodyPr wrap="none" lIns="180000" tIns="54000" rIns="144000" bIns="54000" anchor="ctr"/>
          <a:lstStyle/>
          <a:p>
            <a:pPr algn="ctr" defTabSz="1019175">
              <a:lnSpc>
                <a:spcPct val="110000"/>
              </a:lnSpc>
              <a:defRPr/>
            </a:pPr>
            <a:r>
              <a:rPr lang="en-GB" sz="1200">
                <a:solidFill>
                  <a:schemeClr val="bg1"/>
                </a:solidFill>
              </a:rPr>
              <a:t>W</a:t>
            </a:r>
          </a:p>
        </p:txBody>
      </p:sp>
      <p:sp>
        <p:nvSpPr>
          <p:cNvPr id="13" name="Rectangle 14"/>
          <p:cNvSpPr>
            <a:spLocks noChangeArrowheads="1"/>
          </p:cNvSpPr>
          <p:nvPr userDrawn="1"/>
        </p:nvSpPr>
        <p:spPr bwMode="auto">
          <a:xfrm>
            <a:off x="6647314" y="331565"/>
            <a:ext cx="371475" cy="71438"/>
          </a:xfrm>
          <a:prstGeom prst="rect">
            <a:avLst/>
          </a:prstGeom>
          <a:solidFill>
            <a:srgbClr val="3C8A2E"/>
          </a:solidFill>
          <a:ln w="28575" algn="ctr">
            <a:noFill/>
            <a:round/>
            <a:headEnd/>
            <a:tailEnd/>
          </a:ln>
        </p:spPr>
        <p:txBody>
          <a:bodyPr lIns="36000" tIns="0" rIns="36000" bIns="0" anchorCtr="1"/>
          <a:lstStyle/>
          <a:p>
            <a:pPr algn="ctr">
              <a:defRPr/>
            </a:pPr>
            <a:r>
              <a:rPr lang="en-GB" sz="500">
                <a:solidFill>
                  <a:schemeClr val="bg1"/>
                </a:solidFill>
                <a:cs typeface="+mn-cs"/>
              </a:rPr>
              <a:t>DAY 1</a:t>
            </a:r>
          </a:p>
        </p:txBody>
      </p:sp>
      <p:sp>
        <p:nvSpPr>
          <p:cNvPr id="14" name="Rectangle 15"/>
          <p:cNvSpPr>
            <a:spLocks noChangeArrowheads="1"/>
          </p:cNvSpPr>
          <p:nvPr userDrawn="1"/>
        </p:nvSpPr>
        <p:spPr bwMode="auto">
          <a:xfrm>
            <a:off x="7023551" y="331565"/>
            <a:ext cx="749300" cy="71438"/>
          </a:xfrm>
          <a:prstGeom prst="rect">
            <a:avLst/>
          </a:prstGeom>
          <a:solidFill>
            <a:srgbClr val="3C8A2E"/>
          </a:solidFill>
          <a:ln w="9525" algn="ctr">
            <a:noFill/>
            <a:round/>
            <a:headEnd/>
            <a:tailEnd/>
          </a:ln>
        </p:spPr>
        <p:txBody>
          <a:bodyPr lIns="36000" tIns="0" rIns="36000" bIns="0" anchorCtr="1"/>
          <a:lstStyle/>
          <a:p>
            <a:pPr algn="ctr">
              <a:defRPr/>
            </a:pPr>
            <a:r>
              <a:rPr lang="en-GB" sz="500" dirty="0">
                <a:solidFill>
                  <a:schemeClr val="bg1"/>
                </a:solidFill>
                <a:cs typeface="+mn-cs"/>
              </a:rPr>
              <a:t>DAY 2</a:t>
            </a:r>
          </a:p>
        </p:txBody>
      </p:sp>
      <p:sp>
        <p:nvSpPr>
          <p:cNvPr id="15" name="Rectangle 16"/>
          <p:cNvSpPr>
            <a:spLocks noChangeArrowheads="1"/>
          </p:cNvSpPr>
          <p:nvPr userDrawn="1"/>
        </p:nvSpPr>
        <p:spPr bwMode="auto">
          <a:xfrm>
            <a:off x="7780789" y="331565"/>
            <a:ext cx="369887" cy="71438"/>
          </a:xfrm>
          <a:prstGeom prst="rect">
            <a:avLst/>
          </a:prstGeom>
          <a:solidFill>
            <a:srgbClr val="3C8A2E"/>
          </a:solidFill>
          <a:ln w="9525" algn="ctr">
            <a:noFill/>
            <a:round/>
            <a:headEnd/>
            <a:tailEnd/>
          </a:ln>
        </p:spPr>
        <p:txBody>
          <a:bodyPr lIns="36000" tIns="0" rIns="36000" bIns="0" anchorCtr="1"/>
          <a:lstStyle/>
          <a:p>
            <a:pPr algn="ctr">
              <a:defRPr/>
            </a:pPr>
            <a:r>
              <a:rPr lang="en-GB" sz="500">
                <a:solidFill>
                  <a:schemeClr val="bg1"/>
                </a:solidFill>
                <a:cs typeface="+mn-cs"/>
              </a:rPr>
              <a:t>DAY 3</a:t>
            </a:r>
          </a:p>
        </p:txBody>
      </p:sp>
      <p:sp>
        <p:nvSpPr>
          <p:cNvPr id="16" name="Rectangle 17"/>
          <p:cNvSpPr>
            <a:spLocks noChangeArrowheads="1"/>
          </p:cNvSpPr>
          <p:nvPr userDrawn="1"/>
        </p:nvSpPr>
        <p:spPr bwMode="auto">
          <a:xfrm>
            <a:off x="8158614" y="329978"/>
            <a:ext cx="746125" cy="73025"/>
          </a:xfrm>
          <a:prstGeom prst="rect">
            <a:avLst/>
          </a:prstGeom>
          <a:solidFill>
            <a:srgbClr val="3C8A2E"/>
          </a:solidFill>
          <a:ln w="28575" algn="ctr">
            <a:solidFill>
              <a:srgbClr val="92D400"/>
            </a:solidFill>
            <a:round/>
            <a:headEnd/>
            <a:tailEnd/>
          </a:ln>
        </p:spPr>
        <p:txBody>
          <a:bodyPr lIns="36000" tIns="0" rIns="36000" bIns="0" anchorCtr="1"/>
          <a:lstStyle/>
          <a:p>
            <a:pPr algn="ctr">
              <a:defRPr/>
            </a:pPr>
            <a:r>
              <a:rPr lang="en-GB" sz="500" dirty="0">
                <a:solidFill>
                  <a:schemeClr val="bg1"/>
                </a:solidFill>
                <a:cs typeface="+mn-cs"/>
              </a:rPr>
              <a:t>DAY 4</a:t>
            </a:r>
          </a:p>
        </p:txBody>
      </p:sp>
    </p:spTree>
  </p:cSld>
  <p:clrMap bg1="lt1" tx1="dk1" bg2="lt2" tx2="dk2" accent1="accent1" accent2="accent2" accent3="accent3" accent4="accent4" accent5="accent5" accent6="accent6" hlink="hlink" folHlink="folHlink"/>
  <p:sldLayoutIdLst>
    <p:sldLayoutId id="2147486211" r:id="rId1"/>
    <p:sldLayoutId id="2147486215" r:id="rId2"/>
    <p:sldLayoutId id="2147486223" r:id="rId3"/>
  </p:sldLayoutIdLst>
  <p:hf hdr="0" dt="0"/>
  <p:txStyles>
    <p:titleStyle>
      <a:lvl1pPr algn="l" rtl="0" eaLnBrk="0" fontAlgn="base" hangingPunct="0">
        <a:lnSpc>
          <a:spcPts val="2400"/>
        </a:lnSpc>
        <a:spcBef>
          <a:spcPct val="0"/>
        </a:spcBef>
        <a:spcAft>
          <a:spcPct val="0"/>
        </a:spcAft>
        <a:defRPr sz="2200">
          <a:solidFill>
            <a:srgbClr val="000066"/>
          </a:solidFill>
          <a:latin typeface="+mj-lt"/>
          <a:ea typeface="+mj-ea"/>
          <a:cs typeface="+mj-cs"/>
        </a:defRPr>
      </a:lvl1pPr>
      <a:lvl2pPr algn="l" rtl="0" eaLnBrk="0" fontAlgn="base" hangingPunct="0">
        <a:lnSpc>
          <a:spcPts val="2400"/>
        </a:lnSpc>
        <a:spcBef>
          <a:spcPct val="0"/>
        </a:spcBef>
        <a:spcAft>
          <a:spcPct val="0"/>
        </a:spcAft>
        <a:defRPr sz="2200">
          <a:solidFill>
            <a:srgbClr val="000066"/>
          </a:solidFill>
          <a:latin typeface="Arial" charset="0"/>
        </a:defRPr>
      </a:lvl2pPr>
      <a:lvl3pPr algn="l" rtl="0" eaLnBrk="0" fontAlgn="base" hangingPunct="0">
        <a:lnSpc>
          <a:spcPts val="2400"/>
        </a:lnSpc>
        <a:spcBef>
          <a:spcPct val="0"/>
        </a:spcBef>
        <a:spcAft>
          <a:spcPct val="0"/>
        </a:spcAft>
        <a:defRPr sz="2200">
          <a:solidFill>
            <a:srgbClr val="000066"/>
          </a:solidFill>
          <a:latin typeface="Arial" charset="0"/>
        </a:defRPr>
      </a:lvl3pPr>
      <a:lvl4pPr algn="l" rtl="0" eaLnBrk="0" fontAlgn="base" hangingPunct="0">
        <a:lnSpc>
          <a:spcPts val="2400"/>
        </a:lnSpc>
        <a:spcBef>
          <a:spcPct val="0"/>
        </a:spcBef>
        <a:spcAft>
          <a:spcPct val="0"/>
        </a:spcAft>
        <a:defRPr sz="2200">
          <a:solidFill>
            <a:srgbClr val="000066"/>
          </a:solidFill>
          <a:latin typeface="Arial" charset="0"/>
        </a:defRPr>
      </a:lvl4pPr>
      <a:lvl5pPr algn="l" rtl="0" eaLnBrk="0" fontAlgn="base" hangingPunct="0">
        <a:lnSpc>
          <a:spcPts val="2400"/>
        </a:lnSpc>
        <a:spcBef>
          <a:spcPct val="0"/>
        </a:spcBef>
        <a:spcAft>
          <a:spcPct val="0"/>
        </a:spcAft>
        <a:defRPr sz="2200">
          <a:solidFill>
            <a:srgbClr val="000066"/>
          </a:solidFill>
          <a:latin typeface="Arial" charset="0"/>
        </a:defRPr>
      </a:lvl5pPr>
      <a:lvl6pPr marL="457200" algn="l" rtl="0" fontAlgn="base">
        <a:lnSpc>
          <a:spcPts val="2400"/>
        </a:lnSpc>
        <a:spcBef>
          <a:spcPct val="0"/>
        </a:spcBef>
        <a:spcAft>
          <a:spcPct val="0"/>
        </a:spcAft>
        <a:defRPr sz="2200">
          <a:solidFill>
            <a:srgbClr val="000066"/>
          </a:solidFill>
          <a:latin typeface="Arial" charset="0"/>
        </a:defRPr>
      </a:lvl6pPr>
      <a:lvl7pPr marL="914400" algn="l" rtl="0" fontAlgn="base">
        <a:lnSpc>
          <a:spcPts val="2400"/>
        </a:lnSpc>
        <a:spcBef>
          <a:spcPct val="0"/>
        </a:spcBef>
        <a:spcAft>
          <a:spcPct val="0"/>
        </a:spcAft>
        <a:defRPr sz="2200">
          <a:solidFill>
            <a:srgbClr val="000066"/>
          </a:solidFill>
          <a:latin typeface="Arial" charset="0"/>
        </a:defRPr>
      </a:lvl7pPr>
      <a:lvl8pPr marL="1371600" algn="l" rtl="0" fontAlgn="base">
        <a:lnSpc>
          <a:spcPts val="2400"/>
        </a:lnSpc>
        <a:spcBef>
          <a:spcPct val="0"/>
        </a:spcBef>
        <a:spcAft>
          <a:spcPct val="0"/>
        </a:spcAft>
        <a:defRPr sz="2200">
          <a:solidFill>
            <a:srgbClr val="000066"/>
          </a:solidFill>
          <a:latin typeface="Arial" charset="0"/>
        </a:defRPr>
      </a:lvl8pPr>
      <a:lvl9pPr marL="1828800" algn="l" rtl="0" fontAlgn="base">
        <a:lnSpc>
          <a:spcPts val="2400"/>
        </a:lnSpc>
        <a:spcBef>
          <a:spcPct val="0"/>
        </a:spcBef>
        <a:spcAft>
          <a:spcPct val="0"/>
        </a:spcAft>
        <a:defRPr sz="2200">
          <a:solidFill>
            <a:srgbClr val="000066"/>
          </a:solidFill>
          <a:latin typeface="Arial" charset="0"/>
        </a:defRPr>
      </a:lvl9pPr>
    </p:titleStyle>
    <p:bodyStyle>
      <a:lvl1pPr marL="190500" indent="-190500" algn="l" rtl="0" eaLnBrk="0" fontAlgn="base" hangingPunct="0">
        <a:lnSpc>
          <a:spcPct val="102000"/>
        </a:lnSpc>
        <a:spcBef>
          <a:spcPct val="0"/>
        </a:spcBef>
        <a:spcAft>
          <a:spcPct val="37000"/>
        </a:spcAft>
        <a:tabLst>
          <a:tab pos="5715000" algn="l"/>
        </a:tabLst>
        <a:defRPr>
          <a:solidFill>
            <a:srgbClr val="000066"/>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00066"/>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00066"/>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00066"/>
          </a:solidFill>
          <a:latin typeface="+mn-lt"/>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Verdana" pitchFamily="34" charset="0"/>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358775" y="358775"/>
            <a:ext cx="8391525" cy="619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n-GB" smtClean="0"/>
              <a:t>Click to edit Master title style</a:t>
            </a:r>
          </a:p>
        </p:txBody>
      </p:sp>
      <p:sp>
        <p:nvSpPr>
          <p:cNvPr id="3075" name="Rectangle 3"/>
          <p:cNvSpPr>
            <a:spLocks noGrp="1" noChangeArrowheads="1"/>
          </p:cNvSpPr>
          <p:nvPr>
            <p:ph type="body" idx="1"/>
          </p:nvPr>
        </p:nvSpPr>
        <p:spPr bwMode="auto">
          <a:xfrm>
            <a:off x="358775" y="1258888"/>
            <a:ext cx="8394700" cy="5008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n-GB" smtClean="0"/>
              <a:t>Click to edit Master text styles</a:t>
            </a:r>
          </a:p>
          <a:p>
            <a:pPr lvl="1"/>
            <a:r>
              <a:rPr lang="en-GB" altLang="en-GB" smtClean="0"/>
              <a:t>Second level</a:t>
            </a:r>
          </a:p>
          <a:p>
            <a:pPr lvl="2"/>
            <a:r>
              <a:rPr lang="en-GB" altLang="en-GB" smtClean="0"/>
              <a:t>Third level</a:t>
            </a:r>
          </a:p>
          <a:p>
            <a:pPr lvl="3"/>
            <a:r>
              <a:rPr lang="en-GB" altLang="en-GB" smtClean="0"/>
              <a:t>Fourth level</a:t>
            </a:r>
          </a:p>
        </p:txBody>
      </p:sp>
      <p:sp>
        <p:nvSpPr>
          <p:cNvPr id="14340" name="Rectangle 4"/>
          <p:cNvSpPr>
            <a:spLocks noGrp="1" noChangeArrowheads="1"/>
          </p:cNvSpPr>
          <p:nvPr>
            <p:ph type="ftr" sz="quarter" idx="3"/>
          </p:nvPr>
        </p:nvSpPr>
        <p:spPr bwMode="auto">
          <a:xfrm>
            <a:off x="723900" y="6519863"/>
            <a:ext cx="5243513" cy="12223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defRPr sz="800" b="0">
                <a:solidFill>
                  <a:srgbClr val="000066"/>
                </a:solidFill>
                <a:latin typeface="Arial" charset="0"/>
                <a:cs typeface="+mn-cs"/>
              </a:defRPr>
            </a:lvl1pPr>
          </a:lstStyle>
          <a:p>
            <a:pPr>
              <a:defRPr/>
            </a:pPr>
            <a:r>
              <a:rPr lang="en-GB" altLang="en-GB"/>
              <a:t>Lean Workshops</a:t>
            </a:r>
          </a:p>
        </p:txBody>
      </p:sp>
      <p:sp>
        <p:nvSpPr>
          <p:cNvPr id="14341" name="Rectangle 5"/>
          <p:cNvSpPr>
            <a:spLocks noGrp="1" noChangeArrowheads="1"/>
          </p:cNvSpPr>
          <p:nvPr>
            <p:ph type="sldNum" sz="quarter" idx="4"/>
          </p:nvPr>
        </p:nvSpPr>
        <p:spPr bwMode="auto">
          <a:xfrm>
            <a:off x="373063" y="6523038"/>
            <a:ext cx="1905000" cy="12223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defRPr sz="800" b="0" smtClean="0">
                <a:solidFill>
                  <a:srgbClr val="000066"/>
                </a:solidFill>
              </a:defRPr>
            </a:lvl1pPr>
          </a:lstStyle>
          <a:p>
            <a:pPr>
              <a:defRPr/>
            </a:pPr>
            <a:fld id="{157B21D2-CC5E-4003-9F12-C99AAF1B69AE}" type="slidenum">
              <a:rPr lang="en-GB" altLang="en-GB"/>
              <a:pPr>
                <a:defRPr/>
              </a:pPr>
              <a:t>‹#›</a:t>
            </a:fld>
            <a:endParaRPr lang="en-GB" altLang="en-GB"/>
          </a:p>
        </p:txBody>
      </p:sp>
      <p:sp>
        <p:nvSpPr>
          <p:cNvPr id="14343" name="Legal Entity"/>
          <p:cNvSpPr txBox="1">
            <a:spLocks noChangeArrowheads="1"/>
          </p:cNvSpPr>
          <p:nvPr userDrawn="1"/>
        </p:nvSpPr>
        <p:spPr bwMode="auto">
          <a:xfrm>
            <a:off x="3106738" y="6519863"/>
            <a:ext cx="5657850" cy="122237"/>
          </a:xfrm>
          <a:prstGeom prst="rect">
            <a:avLst/>
          </a:prstGeom>
          <a:noFill/>
          <a:ln w="9525">
            <a:noFill/>
            <a:miter lim="800000"/>
            <a:headEnd/>
            <a:tailEnd/>
          </a:ln>
          <a:effectLst/>
        </p:spPr>
        <p:txBody>
          <a:bodyPr lIns="0" tIns="0" rIns="0" bIns="0">
            <a:spAutoFit/>
          </a:bodyPr>
          <a:lstStyle/>
          <a:p>
            <a:pPr algn="r" eaLnBrk="0" hangingPunct="0">
              <a:spcBef>
                <a:spcPct val="50000"/>
              </a:spcBef>
              <a:defRPr/>
            </a:pPr>
            <a:r>
              <a:rPr lang="en-GB" sz="800" b="0" dirty="0">
                <a:solidFill>
                  <a:srgbClr val="000066"/>
                </a:solidFill>
                <a:latin typeface="Arial" charset="0"/>
                <a:cs typeface="+mn-cs"/>
              </a:rPr>
              <a:t> ©</a:t>
            </a:r>
            <a:r>
              <a:rPr lang="en-GB" sz="800" b="0" dirty="0" smtClean="0">
                <a:solidFill>
                  <a:srgbClr val="000066"/>
                </a:solidFill>
                <a:latin typeface="Arial" charset="0"/>
                <a:cs typeface="+mn-cs"/>
              </a:rPr>
              <a:t>2015 </a:t>
            </a:r>
            <a:r>
              <a:rPr lang="en-GB" sz="800" b="0" dirty="0">
                <a:solidFill>
                  <a:srgbClr val="000066"/>
                </a:solidFill>
                <a:latin typeface="Arial" charset="0"/>
                <a:cs typeface="+mn-cs"/>
              </a:rPr>
              <a:t>Deloitte MCS Limited</a:t>
            </a:r>
            <a:r>
              <a:rPr lang="en-GB" sz="800" b="0" dirty="0" smtClean="0">
                <a:solidFill>
                  <a:srgbClr val="000066"/>
                </a:solidFill>
                <a:latin typeface="Arial" charset="0"/>
                <a:cs typeface="+mn-cs"/>
              </a:rPr>
              <a:t>. Private </a:t>
            </a:r>
            <a:r>
              <a:rPr lang="en-GB" sz="800" b="0" dirty="0">
                <a:solidFill>
                  <a:srgbClr val="000066"/>
                </a:solidFill>
                <a:latin typeface="Arial" charset="0"/>
                <a:cs typeface="+mn-cs"/>
              </a:rPr>
              <a:t>and confidential</a:t>
            </a:r>
          </a:p>
        </p:txBody>
      </p:sp>
      <p:sp>
        <p:nvSpPr>
          <p:cNvPr id="7" name="AutoShape 19"/>
          <p:cNvSpPr>
            <a:spLocks noChangeArrowheads="1"/>
          </p:cNvSpPr>
          <p:nvPr userDrawn="1"/>
        </p:nvSpPr>
        <p:spPr bwMode="gray">
          <a:xfrm>
            <a:off x="6666590" y="90039"/>
            <a:ext cx="431800" cy="215900"/>
          </a:xfrm>
          <a:prstGeom prst="chevron">
            <a:avLst>
              <a:gd name="adj" fmla="val 30343"/>
            </a:avLst>
          </a:prstGeom>
          <a:solidFill>
            <a:srgbClr val="002776"/>
          </a:solidFill>
          <a:ln w="28575" cap="rnd" algn="ctr">
            <a:noFill/>
            <a:miter lim="800000"/>
            <a:headEnd/>
            <a:tailEnd/>
          </a:ln>
        </p:spPr>
        <p:txBody>
          <a:bodyPr wrap="none" lIns="72000" tIns="54000" rIns="0" bIns="54000" anchor="ctr"/>
          <a:lstStyle/>
          <a:p>
            <a:pPr defTabSz="1019175">
              <a:lnSpc>
                <a:spcPct val="110000"/>
              </a:lnSpc>
              <a:defRPr/>
            </a:pPr>
            <a:r>
              <a:rPr lang="en-GB" sz="1200">
                <a:solidFill>
                  <a:schemeClr val="bg1"/>
                </a:solidFill>
              </a:rPr>
              <a:t>M</a:t>
            </a:r>
          </a:p>
        </p:txBody>
      </p:sp>
      <p:sp>
        <p:nvSpPr>
          <p:cNvPr id="8" name="AutoShape 19"/>
          <p:cNvSpPr>
            <a:spLocks noChangeArrowheads="1"/>
          </p:cNvSpPr>
          <p:nvPr userDrawn="1"/>
        </p:nvSpPr>
        <p:spPr bwMode="gray">
          <a:xfrm>
            <a:off x="7044415" y="90039"/>
            <a:ext cx="431800" cy="215900"/>
          </a:xfrm>
          <a:prstGeom prst="chevron">
            <a:avLst>
              <a:gd name="adj" fmla="val 30343"/>
            </a:avLst>
          </a:prstGeom>
          <a:solidFill>
            <a:srgbClr val="0079A6"/>
          </a:solidFill>
          <a:ln w="12700" cap="rnd" algn="ctr">
            <a:noFill/>
            <a:miter lim="800000"/>
            <a:headEnd/>
            <a:tailEnd/>
          </a:ln>
        </p:spPr>
        <p:txBody>
          <a:bodyPr wrap="none" lIns="180000" tIns="54000" rIns="144000" bIns="54000" anchor="ctr"/>
          <a:lstStyle/>
          <a:p>
            <a:pPr algn="ctr" defTabSz="1019175">
              <a:lnSpc>
                <a:spcPct val="110000"/>
              </a:lnSpc>
              <a:defRPr/>
            </a:pPr>
            <a:r>
              <a:rPr lang="en-GB" sz="1200">
                <a:solidFill>
                  <a:schemeClr val="bg1"/>
                </a:solidFill>
                <a:cs typeface="+mn-cs"/>
              </a:rPr>
              <a:t>CS1</a:t>
            </a:r>
          </a:p>
        </p:txBody>
      </p:sp>
      <p:sp>
        <p:nvSpPr>
          <p:cNvPr id="9" name="AutoShape 19"/>
          <p:cNvSpPr>
            <a:spLocks noChangeArrowheads="1"/>
          </p:cNvSpPr>
          <p:nvPr userDrawn="1"/>
        </p:nvSpPr>
        <p:spPr bwMode="gray">
          <a:xfrm>
            <a:off x="7420653" y="90039"/>
            <a:ext cx="431800" cy="215900"/>
          </a:xfrm>
          <a:prstGeom prst="chevron">
            <a:avLst>
              <a:gd name="adj" fmla="val 30343"/>
            </a:avLst>
          </a:prstGeom>
          <a:solidFill>
            <a:srgbClr val="1462FF"/>
          </a:solidFill>
          <a:ln w="12700" cap="rnd" algn="ctr">
            <a:noFill/>
            <a:miter lim="800000"/>
            <a:headEnd/>
            <a:tailEnd/>
          </a:ln>
        </p:spPr>
        <p:txBody>
          <a:bodyPr wrap="none" lIns="180000" tIns="54000" rIns="144000" bIns="54000" anchor="ctr"/>
          <a:lstStyle/>
          <a:p>
            <a:pPr algn="ctr" defTabSz="1019175">
              <a:lnSpc>
                <a:spcPct val="110000"/>
              </a:lnSpc>
              <a:defRPr/>
            </a:pPr>
            <a:r>
              <a:rPr lang="en-GB" sz="1200" dirty="0">
                <a:solidFill>
                  <a:schemeClr val="bg1"/>
                </a:solidFill>
                <a:cs typeface="+mn-cs"/>
              </a:rPr>
              <a:t>CS2</a:t>
            </a:r>
          </a:p>
        </p:txBody>
      </p:sp>
      <p:sp>
        <p:nvSpPr>
          <p:cNvPr id="10" name="AutoShape 19"/>
          <p:cNvSpPr>
            <a:spLocks noChangeArrowheads="1"/>
          </p:cNvSpPr>
          <p:nvPr userDrawn="1"/>
        </p:nvSpPr>
        <p:spPr bwMode="gray">
          <a:xfrm>
            <a:off x="7798478" y="90039"/>
            <a:ext cx="431800" cy="215900"/>
          </a:xfrm>
          <a:prstGeom prst="chevron">
            <a:avLst>
              <a:gd name="adj" fmla="val 30343"/>
            </a:avLst>
          </a:prstGeom>
          <a:solidFill>
            <a:srgbClr val="00A1DE"/>
          </a:solidFill>
          <a:ln w="12700" cap="rnd" algn="ctr">
            <a:noFill/>
            <a:miter lim="800000"/>
            <a:headEnd/>
            <a:tailEnd/>
          </a:ln>
        </p:spPr>
        <p:txBody>
          <a:bodyPr wrap="none" lIns="180000" tIns="54000" rIns="144000" bIns="54000" anchor="ctr"/>
          <a:lstStyle/>
          <a:p>
            <a:pPr algn="ctr" defTabSz="1019175">
              <a:lnSpc>
                <a:spcPct val="110000"/>
              </a:lnSpc>
              <a:defRPr/>
            </a:pPr>
            <a:r>
              <a:rPr lang="en-GB" sz="1200">
                <a:solidFill>
                  <a:schemeClr val="bg1"/>
                </a:solidFill>
                <a:cs typeface="+mn-cs"/>
              </a:rPr>
              <a:t>FS1</a:t>
            </a:r>
          </a:p>
        </p:txBody>
      </p:sp>
      <p:sp>
        <p:nvSpPr>
          <p:cNvPr id="11" name="AutoShape 19"/>
          <p:cNvSpPr>
            <a:spLocks noChangeArrowheads="1"/>
          </p:cNvSpPr>
          <p:nvPr userDrawn="1"/>
        </p:nvSpPr>
        <p:spPr bwMode="gray">
          <a:xfrm>
            <a:off x="8174715" y="90039"/>
            <a:ext cx="433388" cy="215900"/>
          </a:xfrm>
          <a:prstGeom prst="chevron">
            <a:avLst>
              <a:gd name="adj" fmla="val 30454"/>
            </a:avLst>
          </a:prstGeom>
          <a:solidFill>
            <a:srgbClr val="72C7E7"/>
          </a:solidFill>
          <a:ln w="28575" cap="rnd" algn="ctr">
            <a:noFill/>
            <a:miter lim="800000"/>
            <a:headEnd/>
            <a:tailEnd/>
          </a:ln>
        </p:spPr>
        <p:txBody>
          <a:bodyPr wrap="none" lIns="180000" tIns="54000" rIns="144000" bIns="54000" anchor="ctr"/>
          <a:lstStyle/>
          <a:p>
            <a:pPr algn="ctr" defTabSz="1019175">
              <a:lnSpc>
                <a:spcPct val="110000"/>
              </a:lnSpc>
              <a:defRPr/>
            </a:pPr>
            <a:r>
              <a:rPr lang="en-GB" sz="1200" dirty="0">
                <a:solidFill>
                  <a:schemeClr val="bg1"/>
                </a:solidFill>
                <a:cs typeface="+mn-cs"/>
              </a:rPr>
              <a:t>FS2</a:t>
            </a:r>
          </a:p>
        </p:txBody>
      </p:sp>
      <p:sp>
        <p:nvSpPr>
          <p:cNvPr id="12" name="AutoShape 19"/>
          <p:cNvSpPr>
            <a:spLocks noChangeArrowheads="1"/>
          </p:cNvSpPr>
          <p:nvPr userDrawn="1"/>
        </p:nvSpPr>
        <p:spPr bwMode="gray">
          <a:xfrm>
            <a:off x="8552540" y="90039"/>
            <a:ext cx="431800" cy="215900"/>
          </a:xfrm>
          <a:prstGeom prst="chevron">
            <a:avLst>
              <a:gd name="adj" fmla="val 30343"/>
            </a:avLst>
          </a:prstGeom>
          <a:solidFill>
            <a:srgbClr val="52D0FF"/>
          </a:solidFill>
          <a:ln w="28575" cap="rnd" algn="ctr">
            <a:solidFill>
              <a:srgbClr val="92D400"/>
            </a:solidFill>
            <a:miter lim="800000"/>
            <a:headEnd/>
            <a:tailEnd/>
          </a:ln>
        </p:spPr>
        <p:txBody>
          <a:bodyPr wrap="none" lIns="180000" tIns="54000" rIns="144000" bIns="54000" anchor="ctr"/>
          <a:lstStyle/>
          <a:p>
            <a:pPr algn="ctr" defTabSz="1019175">
              <a:lnSpc>
                <a:spcPct val="110000"/>
              </a:lnSpc>
              <a:defRPr/>
            </a:pPr>
            <a:r>
              <a:rPr lang="en-GB" sz="1200">
                <a:solidFill>
                  <a:schemeClr val="bg1"/>
                </a:solidFill>
              </a:rPr>
              <a:t>W</a:t>
            </a:r>
          </a:p>
        </p:txBody>
      </p:sp>
      <p:sp>
        <p:nvSpPr>
          <p:cNvPr id="13" name="Rectangle 14"/>
          <p:cNvSpPr>
            <a:spLocks noChangeArrowheads="1"/>
          </p:cNvSpPr>
          <p:nvPr userDrawn="1"/>
        </p:nvSpPr>
        <p:spPr bwMode="auto">
          <a:xfrm>
            <a:off x="6661828" y="317051"/>
            <a:ext cx="371475" cy="71438"/>
          </a:xfrm>
          <a:prstGeom prst="rect">
            <a:avLst/>
          </a:prstGeom>
          <a:solidFill>
            <a:srgbClr val="3C8A2E"/>
          </a:solidFill>
          <a:ln w="28575" algn="ctr">
            <a:noFill/>
            <a:round/>
            <a:headEnd/>
            <a:tailEnd/>
          </a:ln>
        </p:spPr>
        <p:txBody>
          <a:bodyPr lIns="36000" tIns="0" rIns="36000" bIns="0" anchorCtr="1"/>
          <a:lstStyle/>
          <a:p>
            <a:pPr algn="ctr">
              <a:defRPr/>
            </a:pPr>
            <a:r>
              <a:rPr lang="en-GB" sz="500">
                <a:solidFill>
                  <a:schemeClr val="bg1"/>
                </a:solidFill>
                <a:cs typeface="+mn-cs"/>
              </a:rPr>
              <a:t>DAY 1</a:t>
            </a:r>
          </a:p>
        </p:txBody>
      </p:sp>
      <p:sp>
        <p:nvSpPr>
          <p:cNvPr id="14" name="Rectangle 15"/>
          <p:cNvSpPr>
            <a:spLocks noChangeArrowheads="1"/>
          </p:cNvSpPr>
          <p:nvPr userDrawn="1"/>
        </p:nvSpPr>
        <p:spPr bwMode="auto">
          <a:xfrm>
            <a:off x="7038065" y="317051"/>
            <a:ext cx="749300" cy="71438"/>
          </a:xfrm>
          <a:prstGeom prst="rect">
            <a:avLst/>
          </a:prstGeom>
          <a:solidFill>
            <a:srgbClr val="3C8A2E"/>
          </a:solidFill>
          <a:ln w="9525" algn="ctr">
            <a:noFill/>
            <a:round/>
            <a:headEnd/>
            <a:tailEnd/>
          </a:ln>
        </p:spPr>
        <p:txBody>
          <a:bodyPr lIns="36000" tIns="0" rIns="36000" bIns="0" anchorCtr="1"/>
          <a:lstStyle/>
          <a:p>
            <a:pPr algn="ctr">
              <a:defRPr/>
            </a:pPr>
            <a:r>
              <a:rPr lang="en-GB" sz="500" dirty="0">
                <a:solidFill>
                  <a:schemeClr val="bg1"/>
                </a:solidFill>
                <a:cs typeface="+mn-cs"/>
              </a:rPr>
              <a:t>DAY 2</a:t>
            </a:r>
          </a:p>
        </p:txBody>
      </p:sp>
      <p:sp>
        <p:nvSpPr>
          <p:cNvPr id="15" name="Rectangle 16"/>
          <p:cNvSpPr>
            <a:spLocks noChangeArrowheads="1"/>
          </p:cNvSpPr>
          <p:nvPr userDrawn="1"/>
        </p:nvSpPr>
        <p:spPr bwMode="auto">
          <a:xfrm>
            <a:off x="7795303" y="317051"/>
            <a:ext cx="369887" cy="71438"/>
          </a:xfrm>
          <a:prstGeom prst="rect">
            <a:avLst/>
          </a:prstGeom>
          <a:solidFill>
            <a:srgbClr val="3C8A2E"/>
          </a:solidFill>
          <a:ln w="9525" algn="ctr">
            <a:noFill/>
            <a:round/>
            <a:headEnd/>
            <a:tailEnd/>
          </a:ln>
        </p:spPr>
        <p:txBody>
          <a:bodyPr lIns="36000" tIns="0" rIns="36000" bIns="0" anchorCtr="1"/>
          <a:lstStyle/>
          <a:p>
            <a:pPr algn="ctr">
              <a:defRPr/>
            </a:pPr>
            <a:r>
              <a:rPr lang="en-GB" sz="500">
                <a:solidFill>
                  <a:schemeClr val="bg1"/>
                </a:solidFill>
                <a:cs typeface="+mn-cs"/>
              </a:rPr>
              <a:t>DAY 3</a:t>
            </a:r>
          </a:p>
        </p:txBody>
      </p:sp>
      <p:sp>
        <p:nvSpPr>
          <p:cNvPr id="16" name="Rectangle 17"/>
          <p:cNvSpPr>
            <a:spLocks noChangeArrowheads="1"/>
          </p:cNvSpPr>
          <p:nvPr userDrawn="1"/>
        </p:nvSpPr>
        <p:spPr bwMode="auto">
          <a:xfrm>
            <a:off x="8173128" y="315464"/>
            <a:ext cx="746125" cy="73025"/>
          </a:xfrm>
          <a:prstGeom prst="rect">
            <a:avLst/>
          </a:prstGeom>
          <a:solidFill>
            <a:srgbClr val="3C8A2E"/>
          </a:solidFill>
          <a:ln w="28575" algn="ctr">
            <a:solidFill>
              <a:srgbClr val="92D400"/>
            </a:solidFill>
            <a:round/>
            <a:headEnd/>
            <a:tailEnd/>
          </a:ln>
        </p:spPr>
        <p:txBody>
          <a:bodyPr lIns="36000" tIns="0" rIns="36000" bIns="0" anchorCtr="1"/>
          <a:lstStyle/>
          <a:p>
            <a:pPr algn="ctr">
              <a:defRPr/>
            </a:pPr>
            <a:r>
              <a:rPr lang="en-GB" sz="500" dirty="0">
                <a:solidFill>
                  <a:schemeClr val="bg1"/>
                </a:solidFill>
                <a:cs typeface="+mn-cs"/>
              </a:rPr>
              <a:t>DAY 4</a:t>
            </a:r>
          </a:p>
        </p:txBody>
      </p:sp>
    </p:spTree>
    <p:extLst>
      <p:ext uri="{BB962C8B-B14F-4D97-AF65-F5344CB8AC3E}">
        <p14:creationId xmlns:p14="http://schemas.microsoft.com/office/powerpoint/2010/main" val="2655529728"/>
      </p:ext>
    </p:extLst>
  </p:cSld>
  <p:clrMap bg1="lt1" tx1="dk1" bg2="lt2" tx2="dk2" accent1="accent1" accent2="accent2" accent3="accent3" accent4="accent4" accent5="accent5" accent6="accent6" hlink="hlink" folHlink="folHlink"/>
  <p:sldLayoutIdLst>
    <p:sldLayoutId id="2147486372" r:id="rId1"/>
    <p:sldLayoutId id="2147486373" r:id="rId2"/>
    <p:sldLayoutId id="2147486374" r:id="rId3"/>
    <p:sldLayoutId id="2147486378" r:id="rId4"/>
    <p:sldLayoutId id="2147486379" r:id="rId5"/>
  </p:sldLayoutIdLst>
  <p:hf hdr="0" dt="0"/>
  <p:txStyles>
    <p:titleStyle>
      <a:lvl1pPr algn="l" rtl="0" eaLnBrk="0" fontAlgn="base" hangingPunct="0">
        <a:lnSpc>
          <a:spcPts val="2400"/>
        </a:lnSpc>
        <a:spcBef>
          <a:spcPct val="0"/>
        </a:spcBef>
        <a:spcAft>
          <a:spcPct val="0"/>
        </a:spcAft>
        <a:defRPr sz="2200">
          <a:solidFill>
            <a:srgbClr val="000066"/>
          </a:solidFill>
          <a:latin typeface="+mj-lt"/>
          <a:ea typeface="+mj-ea"/>
          <a:cs typeface="+mj-cs"/>
        </a:defRPr>
      </a:lvl1pPr>
      <a:lvl2pPr algn="l" rtl="0" eaLnBrk="0" fontAlgn="base" hangingPunct="0">
        <a:lnSpc>
          <a:spcPts val="2400"/>
        </a:lnSpc>
        <a:spcBef>
          <a:spcPct val="0"/>
        </a:spcBef>
        <a:spcAft>
          <a:spcPct val="0"/>
        </a:spcAft>
        <a:defRPr sz="2200">
          <a:solidFill>
            <a:srgbClr val="000066"/>
          </a:solidFill>
          <a:latin typeface="Arial" charset="0"/>
        </a:defRPr>
      </a:lvl2pPr>
      <a:lvl3pPr algn="l" rtl="0" eaLnBrk="0" fontAlgn="base" hangingPunct="0">
        <a:lnSpc>
          <a:spcPts val="2400"/>
        </a:lnSpc>
        <a:spcBef>
          <a:spcPct val="0"/>
        </a:spcBef>
        <a:spcAft>
          <a:spcPct val="0"/>
        </a:spcAft>
        <a:defRPr sz="2200">
          <a:solidFill>
            <a:srgbClr val="000066"/>
          </a:solidFill>
          <a:latin typeface="Arial" charset="0"/>
        </a:defRPr>
      </a:lvl3pPr>
      <a:lvl4pPr algn="l" rtl="0" eaLnBrk="0" fontAlgn="base" hangingPunct="0">
        <a:lnSpc>
          <a:spcPts val="2400"/>
        </a:lnSpc>
        <a:spcBef>
          <a:spcPct val="0"/>
        </a:spcBef>
        <a:spcAft>
          <a:spcPct val="0"/>
        </a:spcAft>
        <a:defRPr sz="2200">
          <a:solidFill>
            <a:srgbClr val="000066"/>
          </a:solidFill>
          <a:latin typeface="Arial" charset="0"/>
        </a:defRPr>
      </a:lvl4pPr>
      <a:lvl5pPr algn="l" rtl="0" eaLnBrk="0" fontAlgn="base" hangingPunct="0">
        <a:lnSpc>
          <a:spcPts val="2400"/>
        </a:lnSpc>
        <a:spcBef>
          <a:spcPct val="0"/>
        </a:spcBef>
        <a:spcAft>
          <a:spcPct val="0"/>
        </a:spcAft>
        <a:defRPr sz="2200">
          <a:solidFill>
            <a:srgbClr val="000066"/>
          </a:solidFill>
          <a:latin typeface="Arial" charset="0"/>
        </a:defRPr>
      </a:lvl5pPr>
      <a:lvl6pPr marL="457200" algn="l" rtl="0" fontAlgn="base">
        <a:lnSpc>
          <a:spcPts val="2400"/>
        </a:lnSpc>
        <a:spcBef>
          <a:spcPct val="0"/>
        </a:spcBef>
        <a:spcAft>
          <a:spcPct val="0"/>
        </a:spcAft>
        <a:defRPr sz="2200">
          <a:solidFill>
            <a:srgbClr val="000066"/>
          </a:solidFill>
          <a:latin typeface="Arial" charset="0"/>
        </a:defRPr>
      </a:lvl6pPr>
      <a:lvl7pPr marL="914400" algn="l" rtl="0" fontAlgn="base">
        <a:lnSpc>
          <a:spcPts val="2400"/>
        </a:lnSpc>
        <a:spcBef>
          <a:spcPct val="0"/>
        </a:spcBef>
        <a:spcAft>
          <a:spcPct val="0"/>
        </a:spcAft>
        <a:defRPr sz="2200">
          <a:solidFill>
            <a:srgbClr val="000066"/>
          </a:solidFill>
          <a:latin typeface="Arial" charset="0"/>
        </a:defRPr>
      </a:lvl7pPr>
      <a:lvl8pPr marL="1371600" algn="l" rtl="0" fontAlgn="base">
        <a:lnSpc>
          <a:spcPts val="2400"/>
        </a:lnSpc>
        <a:spcBef>
          <a:spcPct val="0"/>
        </a:spcBef>
        <a:spcAft>
          <a:spcPct val="0"/>
        </a:spcAft>
        <a:defRPr sz="2200">
          <a:solidFill>
            <a:srgbClr val="000066"/>
          </a:solidFill>
          <a:latin typeface="Arial" charset="0"/>
        </a:defRPr>
      </a:lvl8pPr>
      <a:lvl9pPr marL="1828800" algn="l" rtl="0" fontAlgn="base">
        <a:lnSpc>
          <a:spcPts val="2400"/>
        </a:lnSpc>
        <a:spcBef>
          <a:spcPct val="0"/>
        </a:spcBef>
        <a:spcAft>
          <a:spcPct val="0"/>
        </a:spcAft>
        <a:defRPr sz="2200">
          <a:solidFill>
            <a:srgbClr val="000066"/>
          </a:solidFill>
          <a:latin typeface="Arial" charset="0"/>
        </a:defRPr>
      </a:lvl9pPr>
    </p:titleStyle>
    <p:bodyStyle>
      <a:lvl1pPr marL="190500" indent="-190500" algn="l" rtl="0" eaLnBrk="0" fontAlgn="base" hangingPunct="0">
        <a:lnSpc>
          <a:spcPct val="102000"/>
        </a:lnSpc>
        <a:spcBef>
          <a:spcPct val="0"/>
        </a:spcBef>
        <a:spcAft>
          <a:spcPct val="37000"/>
        </a:spcAft>
        <a:tabLst>
          <a:tab pos="5715000" algn="l"/>
        </a:tabLst>
        <a:defRPr>
          <a:solidFill>
            <a:srgbClr val="000066"/>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00066"/>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00066"/>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00066"/>
          </a:solidFill>
          <a:latin typeface="+mn-lt"/>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Verdana" pitchFamily="34" charset="0"/>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1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 Id="rId4" Type="http://schemas.openxmlformats.org/officeDocument/2006/relationships/image" Target="../media/image20.jp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bin"/></Relationships>
</file>

<file path=ppt/slides/_rels/slide2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 Id="rId4" Type="http://schemas.openxmlformats.org/officeDocument/2006/relationships/image" Target="../media/image20.jpg"/></Relationships>
</file>

<file path=ppt/slides/_rels/slide2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hyperlink" Target="https://www.youtube.com/watch?v=rsUkS2hQ4DA&amp;app=desktop"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26.jpg"/><Relationship Id="rId4" Type="http://schemas.openxmlformats.org/officeDocument/2006/relationships/image" Target="../media/image8.jpg"/></Relationships>
</file>

<file path=ppt/slides/_rels/slide3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34.jpeg"/><Relationship Id="rId5" Type="http://schemas.openxmlformats.org/officeDocument/2006/relationships/image" Target="../media/image33.jpeg"/><Relationship Id="rId10" Type="http://schemas.openxmlformats.org/officeDocument/2006/relationships/image" Target="../media/image38.jpeg"/><Relationship Id="rId4" Type="http://schemas.openxmlformats.org/officeDocument/2006/relationships/image" Target="../media/image32.jpeg"/><Relationship Id="rId9" Type="http://schemas.openxmlformats.org/officeDocument/2006/relationships/image" Target="../media/image37.jpeg"/></Relationships>
</file>

<file path=ppt/slides/_rels/slide37.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9.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png"/></Relationships>
</file>

<file path=ppt/slides/_rels/slide38.xml.rels><?xml version="1.0" encoding="UTF-8" standalone="yes"?>
<Relationships xmlns="http://schemas.openxmlformats.org/package/2006/relationships"><Relationship Id="rId3" Type="http://schemas.openxmlformats.org/officeDocument/2006/relationships/image" Target="../media/image45.jpeg"/><Relationship Id="rId7"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48.png"/><Relationship Id="rId5" Type="http://schemas.openxmlformats.org/officeDocument/2006/relationships/image" Target="../media/image47.jpeg"/><Relationship Id="rId4" Type="http://schemas.openxmlformats.org/officeDocument/2006/relationships/image" Target="../media/image46.jpeg"/></Relationships>
</file>

<file path=ppt/slides/_rels/slide39.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50.jpeg"/><Relationship Id="rId7" Type="http://schemas.openxmlformats.org/officeDocument/2006/relationships/image" Target="../media/image54.jpe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 Id="rId9" Type="http://schemas.openxmlformats.org/officeDocument/2006/relationships/image" Target="../media/image56.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image" Target="../media/image62.jpeg"/><Relationship Id="rId5" Type="http://schemas.openxmlformats.org/officeDocument/2006/relationships/image" Target="../media/image61.png"/><Relationship Id="rId4" Type="http://schemas.openxmlformats.org/officeDocument/2006/relationships/image" Target="../media/image60.jpeg"/><Relationship Id="rId9" Type="http://schemas.openxmlformats.org/officeDocument/2006/relationships/image" Target="../media/image65.jpeg"/></Relationships>
</file>

<file path=ppt/slides/_rels/slide44.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10.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4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2.xml"/><Relationship Id="rId1" Type="http://schemas.openxmlformats.org/officeDocument/2006/relationships/slideLayout" Target="../slideLayouts/slideLayout9.xml"/><Relationship Id="rId5" Type="http://schemas.openxmlformats.org/officeDocument/2006/relationships/image" Target="../media/image74.png"/><Relationship Id="rId4" Type="http://schemas.openxmlformats.org/officeDocument/2006/relationships/image" Target="../media/image73.emf"/></Relationships>
</file>

<file path=ppt/slides/_rels/slide4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9.xml"/><Relationship Id="rId4" Type="http://schemas.openxmlformats.org/officeDocument/2006/relationships/image" Target="../media/image80.jpeg"/></Relationships>
</file>

<file path=ppt/slides/_rels/slide5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Layout" Target="../slideLayouts/slideLayout10.xml"/><Relationship Id="rId5" Type="http://schemas.openxmlformats.org/officeDocument/2006/relationships/image" Target="../media/image84.jpeg"/><Relationship Id="rId4" Type="http://schemas.openxmlformats.org/officeDocument/2006/relationships/image" Target="../media/image83.png"/></Relationships>
</file>

<file path=ppt/slides/_rels/slide5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6.xml"/><Relationship Id="rId1" Type="http://schemas.openxmlformats.org/officeDocument/2006/relationships/slideLayout" Target="../slideLayouts/slideLayout10.xml"/><Relationship Id="rId6" Type="http://schemas.openxmlformats.org/officeDocument/2006/relationships/image" Target="../media/image90.jpeg"/><Relationship Id="rId5" Type="http://schemas.openxmlformats.org/officeDocument/2006/relationships/image" Target="../media/image89.jpeg"/><Relationship Id="rId4" Type="http://schemas.openxmlformats.org/officeDocument/2006/relationships/image" Target="../media/image88.jpeg"/></Relationships>
</file>

<file path=ppt/slides/_rels/slide55.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image" Target="../media/image93.png"/></Relationships>
</file>

<file path=ppt/slides/_rels/slide59.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94.emf"/><Relationship Id="rId1" Type="http://schemas.openxmlformats.org/officeDocument/2006/relationships/slideLayout" Target="../slideLayouts/slideLayout11.xml"/><Relationship Id="rId4" Type="http://schemas.openxmlformats.org/officeDocument/2006/relationships/image" Target="../media/image96.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41.xml"/><Relationship Id="rId1" Type="http://schemas.openxmlformats.org/officeDocument/2006/relationships/slideLayout" Target="../slideLayouts/slideLayout10.xml"/><Relationship Id="rId4" Type="http://schemas.openxmlformats.org/officeDocument/2006/relationships/image" Target="../media/image99.jpeg"/></Relationships>
</file>

<file path=ppt/slides/_rels/slide6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8.bin"/></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Layout" Target="../slideLayouts/slideLayout13.xml"/><Relationship Id="rId4" Type="http://schemas.openxmlformats.org/officeDocument/2006/relationships/tags" Target="../tags/tag1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jpeg"/><Relationship Id="rId7" Type="http://schemas.openxmlformats.org/officeDocument/2006/relationships/image" Target="../media/image106.jpeg"/><Relationship Id="rId2" Type="http://schemas.openxmlformats.org/officeDocument/2006/relationships/image" Target="../media/image101.png"/><Relationship Id="rId1" Type="http://schemas.openxmlformats.org/officeDocument/2006/relationships/slideLayout" Target="../slideLayouts/slideLayout13.xml"/><Relationship Id="rId6" Type="http://schemas.openxmlformats.org/officeDocument/2006/relationships/image" Target="../media/image105.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s>
</file>

<file path=ppt/slides/_rels/slide6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0.jpeg"/></Relationships>
</file>

<file path=ppt/slides/_rels/slide7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22883" name="PSTitle"/>
          <p:cNvSpPr>
            <a:spLocks noChangeArrowheads="1"/>
          </p:cNvSpPr>
          <p:nvPr/>
        </p:nvSpPr>
        <p:spPr bwMode="auto">
          <a:xfrm>
            <a:off x="415925" y="3419475"/>
            <a:ext cx="4859338" cy="746125"/>
          </a:xfrm>
          <a:prstGeom prst="rect">
            <a:avLst/>
          </a:prstGeom>
          <a:noFill/>
          <a:ln w="9525">
            <a:noFill/>
            <a:miter lim="800000"/>
            <a:headEnd/>
            <a:tailEnd/>
          </a:ln>
        </p:spPr>
        <p:txBody>
          <a:bodyPr lIns="0" tIns="0" rIns="0" bIns="0">
            <a:spAutoFit/>
          </a:bodyPr>
          <a:lstStyle/>
          <a:p>
            <a:pPr>
              <a:lnSpc>
                <a:spcPts val="1600"/>
              </a:lnSpc>
              <a:spcAft>
                <a:spcPct val="25000"/>
              </a:spcAft>
            </a:pPr>
            <a:r>
              <a:rPr lang="en-GB" altLang="en-GB" dirty="0">
                <a:solidFill>
                  <a:srgbClr val="000066"/>
                </a:solidFill>
              </a:rPr>
              <a:t>Lean Six Sigma </a:t>
            </a:r>
            <a:r>
              <a:rPr lang="en-GB" altLang="en-GB" dirty="0" smtClean="0">
                <a:solidFill>
                  <a:srgbClr val="000066"/>
                </a:solidFill>
              </a:rPr>
              <a:t>Training</a:t>
            </a:r>
            <a:endParaRPr lang="en-GB" altLang="en-GB" dirty="0">
              <a:solidFill>
                <a:srgbClr val="000066"/>
              </a:solidFill>
            </a:endParaRPr>
          </a:p>
          <a:p>
            <a:pPr>
              <a:lnSpc>
                <a:spcPts val="1600"/>
              </a:lnSpc>
              <a:spcAft>
                <a:spcPct val="25000"/>
              </a:spcAft>
            </a:pPr>
            <a:endParaRPr lang="en-GB" altLang="en-GB" sz="1400" dirty="0">
              <a:solidFill>
                <a:srgbClr val="000066"/>
              </a:solidFill>
            </a:endParaRPr>
          </a:p>
          <a:p>
            <a:pPr>
              <a:lnSpc>
                <a:spcPts val="1600"/>
              </a:lnSpc>
              <a:spcAft>
                <a:spcPct val="25000"/>
              </a:spcAft>
            </a:pPr>
            <a:r>
              <a:rPr lang="en-GB" altLang="en-GB" sz="1400" dirty="0">
                <a:solidFill>
                  <a:srgbClr val="000066"/>
                </a:solidFill>
              </a:rPr>
              <a:t>Day 4 – Future State 2, Work Pilot</a:t>
            </a:r>
          </a:p>
        </p:txBody>
      </p:sp>
      <p:sp>
        <p:nvSpPr>
          <p:cNvPr id="4" name="ThoughtTitle"/>
          <p:cNvSpPr>
            <a:spLocks noChangeArrowheads="1"/>
          </p:cNvSpPr>
          <p:nvPr/>
        </p:nvSpPr>
        <p:spPr bwMode="auto">
          <a:xfrm>
            <a:off x="357188" y="1976438"/>
            <a:ext cx="8383587" cy="1346200"/>
          </a:xfrm>
          <a:prstGeom prst="rect">
            <a:avLst/>
          </a:prstGeom>
          <a:noFill/>
          <a:ln w="9525">
            <a:noFill/>
            <a:miter lim="800000"/>
            <a:headEnd/>
            <a:tailEnd/>
          </a:ln>
        </p:spPr>
        <p:txBody>
          <a:bodyPr lIns="0" tIns="0" rIns="0" bIns="0"/>
          <a:lstStyle/>
          <a:p>
            <a:pPr>
              <a:lnSpc>
                <a:spcPts val="5500"/>
              </a:lnSpc>
            </a:pPr>
            <a:r>
              <a:rPr lang="en-GB" altLang="en-GB" sz="4400" b="0" dirty="0">
                <a:solidFill>
                  <a:srgbClr val="000066"/>
                </a:solidFill>
                <a:latin typeface="Times New Roman" pitchFamily="18" charset="0"/>
              </a:rPr>
              <a:t>Deloitte Lean Six Sigma Method</a:t>
            </a:r>
            <a:r>
              <a:rPr lang="en-GB" altLang="en-GB" sz="6600" b="0" dirty="0">
                <a:solidFill>
                  <a:srgbClr val="9CD100"/>
                </a:solidFill>
                <a:latin typeface="Times New Roman" pitchFamily="18" charset="0"/>
              </a:rPr>
              <a:t>.</a:t>
            </a:r>
            <a:endParaRPr lang="en-GB" altLang="en-GB" sz="4400" b="0" dirty="0">
              <a:solidFill>
                <a:srgbClr val="9CD100"/>
              </a:solidFill>
              <a:latin typeface="Times New Roman" pitchFamily="18"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3" name="Rectangle 2"/>
          <p:cNvSpPr>
            <a:spLocks noGrp="1" noChangeArrowheads="1"/>
          </p:cNvSpPr>
          <p:nvPr>
            <p:ph type="title"/>
          </p:nvPr>
        </p:nvSpPr>
        <p:spPr/>
        <p:txBody>
          <a:bodyPr/>
          <a:lstStyle/>
          <a:p>
            <a:pPr eaLnBrk="1" hangingPunct="1"/>
            <a:r>
              <a:rPr lang="en-GB" sz="2400" dirty="0" smtClean="0"/>
              <a:t>Work Packages - Charter Developmen</a:t>
            </a:r>
            <a:r>
              <a:rPr lang="en-GB" dirty="0" smtClean="0"/>
              <a:t>t</a:t>
            </a:r>
            <a:br>
              <a:rPr lang="en-GB" dirty="0" smtClean="0"/>
            </a:br>
            <a:r>
              <a:rPr lang="en-GB" sz="1800" b="1" dirty="0" smtClean="0">
                <a:solidFill>
                  <a:srgbClr val="99CC33"/>
                </a:solidFill>
                <a:cs typeface="Arial" pitchFamily="34" charset="0"/>
              </a:rPr>
              <a:t>Each work package will become a mini-project on his own</a:t>
            </a:r>
          </a:p>
        </p:txBody>
      </p:sp>
      <p:sp>
        <p:nvSpPr>
          <p:cNvPr id="133124" name="Slide Number Placeholder 5"/>
          <p:cNvSpPr>
            <a:spLocks noGrp="1"/>
          </p:cNvSpPr>
          <p:nvPr>
            <p:ph type="sldNum" sz="quarter" idx="11"/>
          </p:nvPr>
        </p:nvSpPr>
        <p:spPr>
          <a:noFill/>
        </p:spPr>
        <p:txBody>
          <a:bodyPr/>
          <a:lstStyle/>
          <a:p>
            <a:fld id="{43B38869-94E9-4DDA-9BFA-BF881DA48E67}" type="slidenum">
              <a:rPr lang="en-GB" altLang="en-GB"/>
              <a:pPr/>
              <a:t>10</a:t>
            </a:fld>
            <a:endParaRPr lang="en-GB" altLang="en-GB"/>
          </a:p>
        </p:txBody>
      </p:sp>
      <p:sp>
        <p:nvSpPr>
          <p:cNvPr id="133125" name="Rectangle 5"/>
          <p:cNvSpPr>
            <a:spLocks noGrp="1" noChangeArrowheads="1"/>
          </p:cNvSpPr>
          <p:nvPr>
            <p:ph type="body" sz="half" idx="4294967295"/>
          </p:nvPr>
        </p:nvSpPr>
        <p:spPr>
          <a:xfrm>
            <a:off x="361950" y="1143000"/>
            <a:ext cx="6270625" cy="458788"/>
          </a:xfrm>
          <a:solidFill>
            <a:schemeClr val="bg1"/>
          </a:solidFill>
          <a:ln w="3175">
            <a:noFill/>
          </a:ln>
        </p:spPr>
        <p:txBody>
          <a:bodyPr lIns="72000" tIns="72000" rIns="72000" bIns="72000"/>
          <a:lstStyle/>
          <a:p>
            <a:pPr marL="0" indent="0" eaLnBrk="1" hangingPunct="1"/>
            <a:r>
              <a:rPr lang="en-GB" b="1" dirty="0" smtClean="0">
                <a:solidFill>
                  <a:schemeClr val="accent3"/>
                </a:solidFill>
              </a:rPr>
              <a:t>Objective:</a:t>
            </a:r>
            <a:r>
              <a:rPr lang="en-GB" dirty="0" smtClean="0"/>
              <a:t> Frame each work package with a charter</a:t>
            </a:r>
            <a:endParaRPr lang="en-GB" sz="1600" dirty="0" smtClean="0"/>
          </a:p>
        </p:txBody>
      </p:sp>
      <p:sp>
        <p:nvSpPr>
          <p:cNvPr id="133128" name="Text Box 46"/>
          <p:cNvSpPr txBox="1">
            <a:spLocks noChangeArrowheads="1"/>
          </p:cNvSpPr>
          <p:nvPr/>
        </p:nvSpPr>
        <p:spPr bwMode="auto">
          <a:xfrm>
            <a:off x="5971082" y="1563349"/>
            <a:ext cx="2622550" cy="366712"/>
          </a:xfrm>
          <a:prstGeom prst="rect">
            <a:avLst/>
          </a:prstGeom>
          <a:noFill/>
          <a:ln w="9525">
            <a:noFill/>
            <a:miter lim="800000"/>
            <a:headEnd/>
            <a:tailEnd/>
          </a:ln>
        </p:spPr>
        <p:txBody>
          <a:bodyPr wrap="none">
            <a:spAutoFit/>
          </a:bodyPr>
          <a:lstStyle/>
          <a:p>
            <a:r>
              <a:rPr lang="en-GB">
                <a:solidFill>
                  <a:srgbClr val="000066"/>
                </a:solidFill>
              </a:rPr>
              <a:t>Work Package Charter</a:t>
            </a:r>
          </a:p>
        </p:txBody>
      </p:sp>
      <p:pic>
        <p:nvPicPr>
          <p:cNvPr id="21" name="Picture 4" descr="Char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8711" y="1955233"/>
            <a:ext cx="3098264" cy="3747634"/>
          </a:xfrm>
          <a:prstGeom prst="rect">
            <a:avLst/>
          </a:prstGeom>
          <a:noFill/>
          <a:ln w="9525">
            <a:noFill/>
            <a:miter lim="800000"/>
            <a:headEnd/>
            <a:tailEnd/>
          </a:ln>
        </p:spPr>
      </p:pic>
      <p:sp>
        <p:nvSpPr>
          <p:cNvPr id="22" name="Rectangle 5"/>
          <p:cNvSpPr txBox="1">
            <a:spLocks noChangeArrowheads="1"/>
          </p:cNvSpPr>
          <p:nvPr/>
        </p:nvSpPr>
        <p:spPr bwMode="auto">
          <a:xfrm>
            <a:off x="361949" y="1659621"/>
            <a:ext cx="5066394" cy="4571545"/>
          </a:xfrm>
          <a:prstGeom prst="rect">
            <a:avLst/>
          </a:prstGeom>
          <a:solidFill>
            <a:schemeClr val="bg1"/>
          </a:solidFill>
          <a:ln w="3175">
            <a:noFill/>
            <a:miter lim="800000"/>
            <a:headEnd/>
            <a:tailEnd/>
          </a:ln>
        </p:spPr>
        <p:txBody>
          <a:bodyPr vert="horz" wrap="square" lIns="72000" tIns="72000" rIns="72000" bIns="72000" numCol="1" anchor="t" anchorCtr="0" compatLnSpc="1">
            <a:prstTxWarp prst="textNoShape">
              <a:avLst/>
            </a:prstTxWarp>
          </a:bodyPr>
          <a:lstStyle>
            <a:lvl1pPr marL="190500" indent="-190500" algn="l" rtl="0" eaLnBrk="0" fontAlgn="base" hangingPunct="0">
              <a:lnSpc>
                <a:spcPct val="102000"/>
              </a:lnSpc>
              <a:spcBef>
                <a:spcPct val="0"/>
              </a:spcBef>
              <a:spcAft>
                <a:spcPct val="37000"/>
              </a:spcAft>
              <a:tabLst>
                <a:tab pos="5715000" algn="l"/>
              </a:tabLst>
              <a:defRPr>
                <a:solidFill>
                  <a:srgbClr val="000066"/>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00066"/>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00066"/>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00066"/>
                </a:solidFill>
                <a:latin typeface="+mn-lt"/>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Verdana" pitchFamily="34" charset="0"/>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9pPr>
          </a:lstStyle>
          <a:p>
            <a:pPr marL="0" indent="0" eaLnBrk="1" hangingPunct="1">
              <a:lnSpc>
                <a:spcPct val="100000"/>
              </a:lnSpc>
            </a:pPr>
            <a:r>
              <a:rPr lang="en-GB" kern="0" dirty="0" smtClean="0"/>
              <a:t>Key questions:</a:t>
            </a:r>
          </a:p>
          <a:p>
            <a:pPr marL="285750" indent="-285750" eaLnBrk="1" hangingPunct="1">
              <a:lnSpc>
                <a:spcPct val="100000"/>
              </a:lnSpc>
              <a:spcAft>
                <a:spcPts val="600"/>
              </a:spcAft>
              <a:buFont typeface="Wingdings" panose="05000000000000000000" pitchFamily="2" charset="2"/>
              <a:buChar char="§"/>
            </a:pPr>
            <a:r>
              <a:rPr lang="en-GB" sz="1600" b="0" kern="0" dirty="0" smtClean="0"/>
              <a:t>What is the scope of this package?</a:t>
            </a:r>
          </a:p>
          <a:p>
            <a:pPr marL="285750" indent="-285750" eaLnBrk="1" hangingPunct="1">
              <a:lnSpc>
                <a:spcPct val="100000"/>
              </a:lnSpc>
              <a:spcAft>
                <a:spcPts val="600"/>
              </a:spcAft>
              <a:buFont typeface="Wingdings" panose="05000000000000000000" pitchFamily="2" charset="2"/>
              <a:buChar char="§"/>
            </a:pPr>
            <a:r>
              <a:rPr lang="en-GB" sz="1600" b="0" kern="0" dirty="0" smtClean="0"/>
              <a:t>What are the key deliverables?</a:t>
            </a:r>
          </a:p>
          <a:p>
            <a:pPr marL="285750" indent="-285750" eaLnBrk="1" hangingPunct="1">
              <a:lnSpc>
                <a:spcPct val="100000"/>
              </a:lnSpc>
              <a:spcAft>
                <a:spcPts val="600"/>
              </a:spcAft>
              <a:buFont typeface="Wingdings" panose="05000000000000000000" pitchFamily="2" charset="2"/>
              <a:buChar char="§"/>
            </a:pPr>
            <a:r>
              <a:rPr lang="en-GB" sz="1600" b="0" kern="0" dirty="0" smtClean="0"/>
              <a:t>What are the expected delivery dates?</a:t>
            </a:r>
          </a:p>
          <a:p>
            <a:pPr marL="285750" indent="-285750" eaLnBrk="1" hangingPunct="1">
              <a:lnSpc>
                <a:spcPct val="100000"/>
              </a:lnSpc>
              <a:spcAft>
                <a:spcPts val="600"/>
              </a:spcAft>
              <a:buFont typeface="Wingdings" panose="05000000000000000000" pitchFamily="2" charset="2"/>
              <a:buChar char="§"/>
            </a:pPr>
            <a:r>
              <a:rPr lang="en-GB" sz="1600" b="0" kern="0" dirty="0" smtClean="0"/>
              <a:t>Who will take the ownership?</a:t>
            </a:r>
          </a:p>
          <a:p>
            <a:pPr marL="0" indent="0" eaLnBrk="1" hangingPunct="1">
              <a:lnSpc>
                <a:spcPct val="100000"/>
              </a:lnSpc>
              <a:spcAft>
                <a:spcPts val="600"/>
              </a:spcAft>
            </a:pPr>
            <a:endParaRPr lang="en-GB" sz="1600" b="0" kern="0" dirty="0" smtClean="0"/>
          </a:p>
          <a:p>
            <a:pPr marL="0" indent="0" eaLnBrk="1" hangingPunct="1">
              <a:lnSpc>
                <a:spcPct val="100000"/>
              </a:lnSpc>
              <a:spcBef>
                <a:spcPts val="600"/>
              </a:spcBef>
              <a:spcAft>
                <a:spcPts val="600"/>
              </a:spcAft>
            </a:pPr>
            <a:r>
              <a:rPr lang="en-GB" kern="0" dirty="0" smtClean="0"/>
              <a:t>Team work:</a:t>
            </a:r>
          </a:p>
          <a:p>
            <a:pPr marL="285750" indent="-285750" eaLnBrk="1" hangingPunct="1">
              <a:lnSpc>
                <a:spcPct val="100000"/>
              </a:lnSpc>
              <a:spcAft>
                <a:spcPts val="600"/>
              </a:spcAft>
              <a:buFont typeface="Wingdings" panose="05000000000000000000" pitchFamily="2" charset="2"/>
              <a:buChar char="§"/>
            </a:pPr>
            <a:r>
              <a:rPr lang="en-GB" sz="1600" b="0" kern="0" dirty="0" smtClean="0"/>
              <a:t>Take the list of actions with each work package and align them into a charter</a:t>
            </a:r>
          </a:p>
          <a:p>
            <a:pPr marL="285750" indent="-285750" eaLnBrk="1" hangingPunct="1">
              <a:lnSpc>
                <a:spcPct val="100000"/>
              </a:lnSpc>
              <a:spcAft>
                <a:spcPts val="600"/>
              </a:spcAft>
              <a:buFont typeface="Wingdings" panose="05000000000000000000" pitchFamily="2" charset="2"/>
              <a:buChar char="§"/>
            </a:pPr>
            <a:r>
              <a:rPr lang="en-GB" sz="1600" b="0" kern="0" dirty="0" smtClean="0"/>
              <a:t>Identify the teams, stakeholder and the milestones</a:t>
            </a:r>
          </a:p>
          <a:p>
            <a:pPr marL="285750" indent="-285750" eaLnBrk="1" hangingPunct="1">
              <a:lnSpc>
                <a:spcPct val="100000"/>
              </a:lnSpc>
              <a:spcAft>
                <a:spcPts val="600"/>
              </a:spcAft>
              <a:buFont typeface="Wingdings" panose="05000000000000000000" pitchFamily="2" charset="2"/>
              <a:buChar char="§"/>
            </a:pPr>
            <a:r>
              <a:rPr lang="en-GB" sz="1600" b="0" kern="0" dirty="0" smtClean="0"/>
              <a:t>Ensure the scope is clear to avoid duplication of actions or efforts between work packages</a:t>
            </a:r>
          </a:p>
          <a:p>
            <a:pPr marL="285750" indent="-285750" eaLnBrk="1" hangingPunct="1">
              <a:lnSpc>
                <a:spcPct val="100000"/>
              </a:lnSpc>
              <a:spcAft>
                <a:spcPts val="600"/>
              </a:spcAft>
              <a:buFont typeface="Wingdings" panose="05000000000000000000" pitchFamily="2" charset="2"/>
              <a:buChar char="§"/>
            </a:pPr>
            <a:r>
              <a:rPr lang="en-GB" sz="1600" b="0" kern="0" dirty="0" smtClean="0"/>
              <a:t>A work package should be defined and developed for KPI implementation (</a:t>
            </a:r>
            <a:r>
              <a:rPr lang="en-GB" sz="1600" b="0" kern="0" dirty="0" err="1" smtClean="0"/>
              <a:t>incl.VoC</a:t>
            </a:r>
            <a:r>
              <a:rPr lang="en-GB" sz="1600" b="0" kern="0" dirty="0" smtClean="0"/>
              <a:t>) and the set up of the work pilot (incl. setting the logistics)</a:t>
            </a:r>
          </a:p>
        </p:txBody>
      </p:sp>
      <p:sp>
        <p:nvSpPr>
          <p:cNvPr id="23" name="5-Point Star 22"/>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146" name="Picture 11" descr="MPj04304740000[1]"/>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600575" y="5370178"/>
            <a:ext cx="1081088" cy="1081088"/>
          </a:xfrm>
          <a:prstGeom prst="rect">
            <a:avLst/>
          </a:prstGeom>
          <a:noFill/>
          <a:ln w="9525">
            <a:noFill/>
            <a:miter lim="800000"/>
            <a:headEnd/>
            <a:tailEnd/>
          </a:ln>
        </p:spPr>
      </p:pic>
      <p:sp>
        <p:nvSpPr>
          <p:cNvPr id="134147" name="Rectangle 12"/>
          <p:cNvSpPr>
            <a:spLocks noChangeArrowheads="1"/>
          </p:cNvSpPr>
          <p:nvPr/>
        </p:nvSpPr>
        <p:spPr bwMode="auto">
          <a:xfrm>
            <a:off x="4557713" y="5189561"/>
            <a:ext cx="4259262" cy="1185863"/>
          </a:xfrm>
          <a:prstGeom prst="rect">
            <a:avLst/>
          </a:prstGeom>
          <a:noFill/>
          <a:ln w="9525">
            <a:solidFill>
              <a:schemeClr val="accent3"/>
            </a:solidFill>
            <a:miter lim="800000"/>
            <a:headEnd/>
            <a:tailEnd/>
          </a:ln>
        </p:spPr>
        <p:txBody>
          <a:bodyPr lIns="1080000" anchor="ctr"/>
          <a:lstStyle/>
          <a:p>
            <a:r>
              <a:rPr lang="en-GB" sz="1400" b="0" i="1" dirty="0">
                <a:solidFill>
                  <a:srgbClr val="000066"/>
                </a:solidFill>
              </a:rPr>
              <a:t>Milestones (pink Post-Its) are linked with tangible deliverables resulting from the execution of the work packages</a:t>
            </a:r>
          </a:p>
        </p:txBody>
      </p:sp>
      <p:sp>
        <p:nvSpPr>
          <p:cNvPr id="134148" name="Rectangle 9"/>
          <p:cNvSpPr>
            <a:spLocks noChangeArrowheads="1"/>
          </p:cNvSpPr>
          <p:nvPr/>
        </p:nvSpPr>
        <p:spPr bwMode="auto">
          <a:xfrm>
            <a:off x="4519613" y="5209841"/>
            <a:ext cx="1095375" cy="338137"/>
          </a:xfrm>
          <a:prstGeom prst="rect">
            <a:avLst/>
          </a:prstGeom>
          <a:noFill/>
          <a:ln w="9525">
            <a:noFill/>
            <a:miter lim="800000"/>
            <a:headEnd/>
            <a:tailEnd/>
          </a:ln>
        </p:spPr>
        <p:txBody>
          <a:bodyPr wrap="none">
            <a:spAutoFit/>
          </a:bodyPr>
          <a:lstStyle/>
          <a:p>
            <a:pPr marL="268288" indent="-174625">
              <a:tabLst>
                <a:tab pos="1166813" algn="l"/>
              </a:tabLst>
            </a:pPr>
            <a:r>
              <a:rPr lang="en-US" sz="1600" i="1" dirty="0">
                <a:solidFill>
                  <a:srgbClr val="000066"/>
                </a:solidFill>
              </a:rPr>
              <a:t>Hot Tips</a:t>
            </a:r>
          </a:p>
        </p:txBody>
      </p:sp>
      <p:sp>
        <p:nvSpPr>
          <p:cNvPr id="134150" name="Rectangle 2"/>
          <p:cNvSpPr>
            <a:spLocks noGrp="1" noChangeArrowheads="1"/>
          </p:cNvSpPr>
          <p:nvPr>
            <p:ph type="title"/>
          </p:nvPr>
        </p:nvSpPr>
        <p:spPr/>
        <p:txBody>
          <a:bodyPr/>
          <a:lstStyle/>
          <a:p>
            <a:pPr eaLnBrk="1" hangingPunct="1"/>
            <a:r>
              <a:rPr lang="en-GB" sz="2400" smtClean="0"/>
              <a:t>Work Packages - High Level Plan</a:t>
            </a:r>
            <a:r>
              <a:rPr lang="en-GB" smtClean="0"/>
              <a:t/>
            </a:r>
            <a:br>
              <a:rPr lang="en-GB" smtClean="0"/>
            </a:br>
            <a:r>
              <a:rPr lang="en-GB" sz="1800" b="1" smtClean="0">
                <a:solidFill>
                  <a:srgbClr val="99CC33"/>
                </a:solidFill>
                <a:cs typeface="Arial" pitchFamily="34" charset="0"/>
              </a:rPr>
              <a:t>A view of all work packages</a:t>
            </a:r>
          </a:p>
        </p:txBody>
      </p:sp>
      <p:sp>
        <p:nvSpPr>
          <p:cNvPr id="134151" name="Slide Number Placeholder 5"/>
          <p:cNvSpPr>
            <a:spLocks noGrp="1"/>
          </p:cNvSpPr>
          <p:nvPr>
            <p:ph type="sldNum" sz="quarter" idx="11"/>
          </p:nvPr>
        </p:nvSpPr>
        <p:spPr>
          <a:noFill/>
        </p:spPr>
        <p:txBody>
          <a:bodyPr/>
          <a:lstStyle/>
          <a:p>
            <a:fld id="{613616EA-A528-4F0D-BD3B-F5CFB909C7DB}" type="slidenum">
              <a:rPr lang="en-GB" altLang="en-GB"/>
              <a:pPr/>
              <a:t>11</a:t>
            </a:fld>
            <a:endParaRPr lang="en-GB" altLang="en-GB"/>
          </a:p>
        </p:txBody>
      </p:sp>
      <p:sp>
        <p:nvSpPr>
          <p:cNvPr id="134152" name="Rectangle 5"/>
          <p:cNvSpPr>
            <a:spLocks noGrp="1" noChangeArrowheads="1"/>
          </p:cNvSpPr>
          <p:nvPr>
            <p:ph type="body" sz="half" idx="4294967295"/>
          </p:nvPr>
        </p:nvSpPr>
        <p:spPr>
          <a:xfrm>
            <a:off x="361950" y="1601788"/>
            <a:ext cx="4238625" cy="4597400"/>
          </a:xfrm>
          <a:solidFill>
            <a:schemeClr val="bg1"/>
          </a:solidFill>
          <a:ln>
            <a:noFill/>
          </a:ln>
        </p:spPr>
        <p:txBody>
          <a:bodyPr lIns="72000" tIns="72000" rIns="108000" bIns="72000"/>
          <a:lstStyle/>
          <a:p>
            <a:pPr marL="0" indent="0" eaLnBrk="1" hangingPunct="1"/>
            <a:r>
              <a:rPr lang="en-GB" b="1" dirty="0" smtClean="0"/>
              <a:t>Team work:</a:t>
            </a:r>
          </a:p>
          <a:p>
            <a:pPr marL="285750" indent="-285750" eaLnBrk="1" hangingPunct="1">
              <a:buFont typeface="Wingdings" panose="05000000000000000000" pitchFamily="2" charset="2"/>
              <a:buChar char="§"/>
            </a:pPr>
            <a:r>
              <a:rPr lang="en-GB" sz="1600" dirty="0" smtClean="0"/>
              <a:t>Each work package will form a line item in the work plan and have a lead assigned</a:t>
            </a:r>
          </a:p>
          <a:p>
            <a:pPr marL="285750" indent="-285750" eaLnBrk="1" hangingPunct="1">
              <a:buFont typeface="Wingdings" panose="05000000000000000000" pitchFamily="2" charset="2"/>
              <a:buChar char="§"/>
            </a:pPr>
            <a:r>
              <a:rPr lang="en-GB" sz="1600" dirty="0" smtClean="0"/>
              <a:t>The list of actions that have been sorted into completion order will make it easier to identify timing on the Gantt chart</a:t>
            </a:r>
          </a:p>
          <a:p>
            <a:pPr marL="285750" indent="-285750" eaLnBrk="1" hangingPunct="1">
              <a:buFont typeface="Wingdings" panose="05000000000000000000" pitchFamily="2" charset="2"/>
              <a:buChar char="§"/>
            </a:pPr>
            <a:r>
              <a:rPr lang="en-GB" sz="1600" dirty="0" smtClean="0"/>
              <a:t>Look to track significant and visible achievements, actions that have dependencies, or critical actions that can cause delay to implementation</a:t>
            </a:r>
          </a:p>
          <a:p>
            <a:pPr marL="285750" indent="-285750" eaLnBrk="1" hangingPunct="1">
              <a:buFont typeface="Wingdings" panose="05000000000000000000" pitchFamily="2" charset="2"/>
              <a:buChar char="§"/>
            </a:pPr>
            <a:r>
              <a:rPr lang="en-GB" sz="1600" dirty="0" smtClean="0"/>
              <a:t>Use a dot and line to indicate start dates of the work packages</a:t>
            </a:r>
          </a:p>
          <a:p>
            <a:pPr marL="285750" indent="-285750" eaLnBrk="1" hangingPunct="1">
              <a:buFont typeface="Wingdings" panose="05000000000000000000" pitchFamily="2" charset="2"/>
              <a:buChar char="§"/>
            </a:pPr>
            <a:r>
              <a:rPr lang="en-GB" sz="1600" dirty="0" smtClean="0"/>
              <a:t>Look for bunching of actions as this may indicate overload on resources</a:t>
            </a:r>
          </a:p>
          <a:p>
            <a:pPr marL="285750" indent="-285750" eaLnBrk="1" hangingPunct="1">
              <a:buFont typeface="Wingdings" panose="05000000000000000000" pitchFamily="2" charset="2"/>
              <a:buChar char="§"/>
            </a:pPr>
            <a:r>
              <a:rPr lang="en-GB" sz="1600" dirty="0" smtClean="0"/>
              <a:t>Check the logic of actions to be completed before others and dependent work packages</a:t>
            </a:r>
          </a:p>
          <a:p>
            <a:pPr marL="285750" indent="-285750" eaLnBrk="1" hangingPunct="1">
              <a:buFont typeface="Wingdings" panose="05000000000000000000" pitchFamily="2" charset="2"/>
              <a:buChar char="§"/>
            </a:pPr>
            <a:endParaRPr lang="en-GB" sz="1600" dirty="0" smtClean="0"/>
          </a:p>
        </p:txBody>
      </p:sp>
      <p:pic>
        <p:nvPicPr>
          <p:cNvPr id="134155" name="Picture 8"/>
          <p:cNvPicPr>
            <a:picLocks noGrp="1" noChangeAspect="1" noChangeArrowheads="1"/>
          </p:cNvPicPr>
          <p:nvPr>
            <p:ph sz="half" idx="4294967295"/>
          </p:nvPr>
        </p:nvPicPr>
        <p:blipFill>
          <a:blip r:embed="rId4" cstate="email">
            <a:extLst>
              <a:ext uri="{28A0092B-C50C-407E-A947-70E740481C1C}">
                <a14:useLocalDpi xmlns:a14="http://schemas.microsoft.com/office/drawing/2010/main" val="0"/>
              </a:ext>
            </a:extLst>
          </a:blip>
          <a:srcRect/>
          <a:stretch>
            <a:fillRect/>
          </a:stretch>
        </p:blipFill>
        <p:spPr>
          <a:xfrm>
            <a:off x="4902464" y="1855788"/>
            <a:ext cx="3897312" cy="3092450"/>
          </a:xfrm>
        </p:spPr>
      </p:pic>
      <p:sp>
        <p:nvSpPr>
          <p:cNvPr id="14" name="5-Point Star 13"/>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5"/>
          <p:cNvSpPr txBox="1">
            <a:spLocks noChangeArrowheads="1"/>
          </p:cNvSpPr>
          <p:nvPr/>
        </p:nvSpPr>
        <p:spPr bwMode="auto">
          <a:xfrm>
            <a:off x="361949" y="1142324"/>
            <a:ext cx="8455026" cy="459242"/>
          </a:xfrm>
          <a:prstGeom prst="rect">
            <a:avLst/>
          </a:prstGeom>
          <a:solidFill>
            <a:schemeClr val="bg1"/>
          </a:solidFill>
          <a:ln w="3175">
            <a:noFill/>
            <a:miter lim="800000"/>
            <a:headEnd/>
            <a:tailEnd/>
          </a:ln>
        </p:spPr>
        <p:txBody>
          <a:bodyPr vert="horz" wrap="square" lIns="72000" tIns="72000" rIns="72000" bIns="72000" numCol="1" anchor="t" anchorCtr="0" compatLnSpc="1">
            <a:prstTxWarp prst="textNoShape">
              <a:avLst/>
            </a:prstTxWarp>
          </a:bodyPr>
          <a:lstStyle>
            <a:lvl1pPr marL="190500" indent="-190500" algn="l" rtl="0" eaLnBrk="0" fontAlgn="base" hangingPunct="0">
              <a:lnSpc>
                <a:spcPct val="102000"/>
              </a:lnSpc>
              <a:spcBef>
                <a:spcPct val="0"/>
              </a:spcBef>
              <a:spcAft>
                <a:spcPct val="37000"/>
              </a:spcAft>
              <a:tabLst>
                <a:tab pos="5715000" algn="l"/>
              </a:tabLst>
              <a:defRPr>
                <a:solidFill>
                  <a:srgbClr val="000066"/>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00066"/>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00066"/>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00066"/>
                </a:solidFill>
                <a:latin typeface="+mn-lt"/>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Verdana" pitchFamily="34" charset="0"/>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9pPr>
          </a:lstStyle>
          <a:p>
            <a:r>
              <a:rPr lang="en-GB" b="1" kern="0" dirty="0" smtClean="0">
                <a:solidFill>
                  <a:schemeClr val="accent3"/>
                </a:solidFill>
              </a:rPr>
              <a:t>Objective:</a:t>
            </a:r>
            <a:r>
              <a:rPr lang="en-GB" b="0" kern="0" dirty="0" smtClean="0"/>
              <a:t> Establish the i</a:t>
            </a:r>
            <a:r>
              <a:rPr lang="en-GB" b="0" dirty="0" smtClean="0"/>
              <a:t>mplementation plan, focusing on key milestones</a:t>
            </a:r>
            <a:endParaRPr lang="en-GB" b="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1" name="Rectangle 2"/>
          <p:cNvSpPr>
            <a:spLocks noGrp="1" noChangeArrowheads="1"/>
          </p:cNvSpPr>
          <p:nvPr>
            <p:ph type="title"/>
          </p:nvPr>
        </p:nvSpPr>
        <p:spPr/>
        <p:txBody>
          <a:bodyPr/>
          <a:lstStyle/>
          <a:p>
            <a:pPr eaLnBrk="1" hangingPunct="1"/>
            <a:r>
              <a:rPr lang="en-GB" sz="2400" smtClean="0"/>
              <a:t>Work Packages - Governance</a:t>
            </a:r>
            <a:r>
              <a:rPr lang="en-GB" smtClean="0"/>
              <a:t/>
            </a:r>
            <a:br>
              <a:rPr lang="en-GB" smtClean="0"/>
            </a:br>
            <a:r>
              <a:rPr lang="en-GB" sz="1800" b="1" smtClean="0">
                <a:solidFill>
                  <a:srgbClr val="99CC33"/>
                </a:solidFill>
                <a:cs typeface="Arial" pitchFamily="34" charset="0"/>
              </a:rPr>
              <a:t>Vital implementation information</a:t>
            </a:r>
          </a:p>
        </p:txBody>
      </p:sp>
      <p:sp>
        <p:nvSpPr>
          <p:cNvPr id="135172" name="Slide Number Placeholder 5"/>
          <p:cNvSpPr>
            <a:spLocks noGrp="1"/>
          </p:cNvSpPr>
          <p:nvPr>
            <p:ph type="sldNum" sz="quarter" idx="11"/>
          </p:nvPr>
        </p:nvSpPr>
        <p:spPr>
          <a:noFill/>
        </p:spPr>
        <p:txBody>
          <a:bodyPr/>
          <a:lstStyle/>
          <a:p>
            <a:fld id="{8AF06760-1057-4739-8821-A42A09112978}" type="slidenum">
              <a:rPr lang="en-GB" altLang="en-GB"/>
              <a:pPr/>
              <a:t>12</a:t>
            </a:fld>
            <a:endParaRPr lang="en-GB" altLang="en-GB"/>
          </a:p>
        </p:txBody>
      </p:sp>
      <p:sp>
        <p:nvSpPr>
          <p:cNvPr id="69637" name="Rectangle 4"/>
          <p:cNvSpPr>
            <a:spLocks noGrp="1" noChangeArrowheads="1"/>
          </p:cNvSpPr>
          <p:nvPr>
            <p:ph type="body" sz="half" idx="4294967295"/>
          </p:nvPr>
        </p:nvSpPr>
        <p:spPr>
          <a:xfrm>
            <a:off x="361949" y="1601788"/>
            <a:ext cx="4892675" cy="3646487"/>
          </a:xfrm>
          <a:solidFill>
            <a:schemeClr val="bg1"/>
          </a:solidFill>
          <a:ln>
            <a:noFill/>
          </a:ln>
        </p:spPr>
        <p:txBody>
          <a:bodyPr lIns="72000" tIns="72000" rIns="72000" bIns="72000"/>
          <a:lstStyle/>
          <a:p>
            <a:pPr marL="0" indent="0" eaLnBrk="1" hangingPunct="1">
              <a:defRPr/>
            </a:pPr>
            <a:r>
              <a:rPr lang="en-GB" sz="1600" dirty="0" smtClean="0"/>
              <a:t>The Governance arrangements will allow the team to decide how they will interact during the implementation and report progress to the Sponsor</a:t>
            </a:r>
          </a:p>
          <a:p>
            <a:pPr marL="176213" indent="-176213" eaLnBrk="1" hangingPunct="1">
              <a:defRPr/>
            </a:pPr>
            <a:r>
              <a:rPr lang="en-GB" b="1" dirty="0" smtClean="0"/>
              <a:t>Team work:</a:t>
            </a:r>
          </a:p>
          <a:p>
            <a:pPr marL="285750" lvl="1" indent="-285750" eaLnBrk="1" hangingPunct="1">
              <a:lnSpc>
                <a:spcPct val="102000"/>
              </a:lnSpc>
              <a:spcAft>
                <a:spcPct val="37000"/>
              </a:spcAft>
              <a:buFont typeface="Wingdings" panose="05000000000000000000" pitchFamily="2" charset="2"/>
              <a:buChar char="§"/>
              <a:defRPr/>
            </a:pPr>
            <a:r>
              <a:rPr lang="en-GB" dirty="0" smtClean="0"/>
              <a:t>The team will need to review actions weekly to keep a focus on progress</a:t>
            </a:r>
          </a:p>
          <a:p>
            <a:pPr marL="285750" lvl="1" indent="-285750" eaLnBrk="1" hangingPunct="1">
              <a:lnSpc>
                <a:spcPct val="102000"/>
              </a:lnSpc>
              <a:spcAft>
                <a:spcPct val="37000"/>
              </a:spcAft>
              <a:buFont typeface="Wingdings" panose="05000000000000000000" pitchFamily="2" charset="2"/>
              <a:buChar char="§"/>
              <a:defRPr/>
            </a:pPr>
            <a:r>
              <a:rPr lang="en-GB" dirty="0" smtClean="0"/>
              <a:t>The work pilot team will need to report back performance results based on defined KPI</a:t>
            </a:r>
          </a:p>
          <a:p>
            <a:pPr marL="285750" lvl="1" indent="-285750" eaLnBrk="1" hangingPunct="1">
              <a:lnSpc>
                <a:spcPct val="102000"/>
              </a:lnSpc>
              <a:spcAft>
                <a:spcPct val="37000"/>
              </a:spcAft>
              <a:buFont typeface="Wingdings" panose="05000000000000000000" pitchFamily="2" charset="2"/>
              <a:buChar char="§"/>
              <a:defRPr/>
            </a:pPr>
            <a:r>
              <a:rPr lang="en-GB" dirty="0" smtClean="0"/>
              <a:t>A risk/progress update will need to be made to the Sponsor</a:t>
            </a:r>
          </a:p>
          <a:p>
            <a:pPr marL="285750" lvl="1" indent="-285750" eaLnBrk="1" hangingPunct="1">
              <a:lnSpc>
                <a:spcPct val="102000"/>
              </a:lnSpc>
              <a:spcAft>
                <a:spcPct val="37000"/>
              </a:spcAft>
              <a:buFont typeface="Wingdings" panose="05000000000000000000" pitchFamily="2" charset="2"/>
              <a:buChar char="§"/>
              <a:defRPr/>
            </a:pPr>
            <a:r>
              <a:rPr lang="en-GB" dirty="0" smtClean="0"/>
              <a:t>Agree to meet regularly in the pilot area with the Sponsor to review progress</a:t>
            </a:r>
          </a:p>
        </p:txBody>
      </p:sp>
      <p:pic>
        <p:nvPicPr>
          <p:cNvPr id="135175" name="Picture 10" descr="P1010131"/>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472333" y="1489073"/>
            <a:ext cx="3324225" cy="4800600"/>
          </a:xfrm>
          <a:prstGeom prst="rect">
            <a:avLst/>
          </a:prstGeom>
          <a:noFill/>
          <a:ln w="9525">
            <a:noFill/>
            <a:miter lim="800000"/>
            <a:headEnd/>
            <a:tailEnd/>
          </a:ln>
        </p:spPr>
      </p:pic>
      <p:pic>
        <p:nvPicPr>
          <p:cNvPr id="135176" name="Picture 11" descr="MPj04304740000[1]"/>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84032" y="5588000"/>
            <a:ext cx="960438" cy="960438"/>
          </a:xfrm>
          <a:prstGeom prst="rect">
            <a:avLst/>
          </a:prstGeom>
          <a:noFill/>
          <a:ln w="9525">
            <a:noFill/>
            <a:miter lim="800000"/>
            <a:headEnd/>
            <a:tailEnd/>
          </a:ln>
        </p:spPr>
      </p:pic>
      <p:sp>
        <p:nvSpPr>
          <p:cNvPr id="135177" name="Rectangle 13"/>
          <p:cNvSpPr>
            <a:spLocks noChangeArrowheads="1"/>
          </p:cNvSpPr>
          <p:nvPr/>
        </p:nvSpPr>
        <p:spPr bwMode="auto">
          <a:xfrm>
            <a:off x="361950" y="5440900"/>
            <a:ext cx="4747079" cy="1012436"/>
          </a:xfrm>
          <a:prstGeom prst="rect">
            <a:avLst/>
          </a:prstGeom>
          <a:noFill/>
          <a:ln w="9525">
            <a:solidFill>
              <a:schemeClr val="accent3"/>
            </a:solidFill>
            <a:miter lim="800000"/>
            <a:headEnd/>
            <a:tailEnd/>
          </a:ln>
        </p:spPr>
        <p:txBody>
          <a:bodyPr lIns="1080000" anchor="ctr"/>
          <a:lstStyle/>
          <a:p>
            <a:r>
              <a:rPr lang="en-GB" sz="1400" b="0" i="1" dirty="0">
                <a:solidFill>
                  <a:srgbClr val="000066"/>
                </a:solidFill>
              </a:rPr>
              <a:t>Agreeing to meet a day every </a:t>
            </a:r>
            <a:r>
              <a:rPr lang="en-GB" sz="1400" b="0" i="1" dirty="0" smtClean="0">
                <a:solidFill>
                  <a:srgbClr val="000066"/>
                </a:solidFill>
              </a:rPr>
              <a:t>week </a:t>
            </a:r>
            <a:r>
              <a:rPr lang="en-GB" sz="1400" b="0" i="1" dirty="0">
                <a:solidFill>
                  <a:srgbClr val="000066"/>
                </a:solidFill>
              </a:rPr>
              <a:t>will ensure that time is assigned to implement </a:t>
            </a:r>
            <a:r>
              <a:rPr lang="en-GB" sz="1400" b="0" i="1" dirty="0" smtClean="0">
                <a:solidFill>
                  <a:srgbClr val="000066"/>
                </a:solidFill>
              </a:rPr>
              <a:t>the improvements</a:t>
            </a:r>
            <a:endParaRPr lang="en-GB" sz="1400" b="0" i="1" dirty="0">
              <a:solidFill>
                <a:srgbClr val="000066"/>
              </a:solidFill>
            </a:endParaRPr>
          </a:p>
        </p:txBody>
      </p:sp>
      <p:sp>
        <p:nvSpPr>
          <p:cNvPr id="135178" name="Rectangle 8"/>
          <p:cNvSpPr>
            <a:spLocks noChangeArrowheads="1"/>
          </p:cNvSpPr>
          <p:nvPr/>
        </p:nvSpPr>
        <p:spPr bwMode="auto">
          <a:xfrm>
            <a:off x="411365" y="5440900"/>
            <a:ext cx="1095375" cy="338137"/>
          </a:xfrm>
          <a:prstGeom prst="rect">
            <a:avLst/>
          </a:prstGeom>
          <a:noFill/>
          <a:ln w="9525">
            <a:noFill/>
            <a:miter lim="800000"/>
            <a:headEnd/>
            <a:tailEnd/>
          </a:ln>
        </p:spPr>
        <p:txBody>
          <a:bodyPr wrap="none">
            <a:spAutoFit/>
          </a:bodyPr>
          <a:lstStyle/>
          <a:p>
            <a:pPr marL="268288" indent="-174625">
              <a:tabLst>
                <a:tab pos="1166813" algn="l"/>
              </a:tabLst>
            </a:pPr>
            <a:r>
              <a:rPr lang="en-US" sz="1600" i="1" dirty="0">
                <a:solidFill>
                  <a:srgbClr val="000066"/>
                </a:solidFill>
              </a:rPr>
              <a:t>Hot Tips</a:t>
            </a:r>
          </a:p>
        </p:txBody>
      </p:sp>
      <p:sp>
        <p:nvSpPr>
          <p:cNvPr id="13" name="5-Point Star 12"/>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5"/>
          <p:cNvSpPr txBox="1">
            <a:spLocks noChangeArrowheads="1"/>
          </p:cNvSpPr>
          <p:nvPr/>
        </p:nvSpPr>
        <p:spPr bwMode="auto">
          <a:xfrm>
            <a:off x="361949" y="1142324"/>
            <a:ext cx="8455026" cy="459242"/>
          </a:xfrm>
          <a:prstGeom prst="rect">
            <a:avLst/>
          </a:prstGeom>
          <a:solidFill>
            <a:schemeClr val="bg1"/>
          </a:solidFill>
          <a:ln w="3175">
            <a:noFill/>
            <a:miter lim="800000"/>
            <a:headEnd/>
            <a:tailEnd/>
          </a:ln>
        </p:spPr>
        <p:txBody>
          <a:bodyPr vert="horz" wrap="square" lIns="72000" tIns="72000" rIns="72000" bIns="72000" numCol="1" anchor="t" anchorCtr="0" compatLnSpc="1">
            <a:prstTxWarp prst="textNoShape">
              <a:avLst/>
            </a:prstTxWarp>
          </a:bodyPr>
          <a:lstStyle>
            <a:lvl1pPr marL="190500" indent="-190500" algn="l" rtl="0" eaLnBrk="0" fontAlgn="base" hangingPunct="0">
              <a:lnSpc>
                <a:spcPct val="102000"/>
              </a:lnSpc>
              <a:spcBef>
                <a:spcPct val="0"/>
              </a:spcBef>
              <a:spcAft>
                <a:spcPct val="37000"/>
              </a:spcAft>
              <a:tabLst>
                <a:tab pos="5715000" algn="l"/>
              </a:tabLst>
              <a:defRPr>
                <a:solidFill>
                  <a:srgbClr val="000066"/>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00066"/>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00066"/>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00066"/>
                </a:solidFill>
                <a:latin typeface="+mn-lt"/>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Verdana" pitchFamily="34" charset="0"/>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9pPr>
          </a:lstStyle>
          <a:p>
            <a:r>
              <a:rPr lang="en-GB" b="1" kern="0" dirty="0" smtClean="0">
                <a:solidFill>
                  <a:schemeClr val="accent3"/>
                </a:solidFill>
              </a:rPr>
              <a:t>Objective:</a:t>
            </a:r>
            <a:r>
              <a:rPr lang="en-GB" b="0" kern="0" dirty="0" smtClean="0"/>
              <a:t> Establish the governance arrangements for the implementation phase</a:t>
            </a:r>
            <a:endParaRPr lang="en-GB" b="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5" name="Rectangle 4"/>
          <p:cNvSpPr>
            <a:spLocks noGrp="1" noChangeArrowheads="1"/>
          </p:cNvSpPr>
          <p:nvPr>
            <p:ph type="title"/>
          </p:nvPr>
        </p:nvSpPr>
        <p:spPr/>
        <p:txBody>
          <a:bodyPr/>
          <a:lstStyle/>
          <a:p>
            <a:pPr eaLnBrk="1" hangingPunct="1"/>
            <a:r>
              <a:rPr lang="en-GB" sz="2400" smtClean="0"/>
              <a:t>Work Packages - Decision points</a:t>
            </a:r>
            <a:r>
              <a:rPr lang="en-GB" smtClean="0"/>
              <a:t/>
            </a:r>
            <a:br>
              <a:rPr lang="en-GB" smtClean="0"/>
            </a:br>
            <a:r>
              <a:rPr lang="en-GB" sz="1800" b="1" smtClean="0">
                <a:solidFill>
                  <a:srgbClr val="99CC33"/>
                </a:solidFill>
                <a:cs typeface="Arial" pitchFamily="34" charset="0"/>
              </a:rPr>
              <a:t>Key stopping points</a:t>
            </a:r>
          </a:p>
        </p:txBody>
      </p:sp>
      <p:sp>
        <p:nvSpPr>
          <p:cNvPr id="136196" name="Slide Number Placeholder 5"/>
          <p:cNvSpPr>
            <a:spLocks noGrp="1"/>
          </p:cNvSpPr>
          <p:nvPr>
            <p:ph type="sldNum" sz="quarter" idx="11"/>
          </p:nvPr>
        </p:nvSpPr>
        <p:spPr>
          <a:noFill/>
        </p:spPr>
        <p:txBody>
          <a:bodyPr/>
          <a:lstStyle/>
          <a:p>
            <a:fld id="{4B4B2762-2697-4DFF-A3C8-4DA044ABB1F0}" type="slidenum">
              <a:rPr lang="en-GB" altLang="en-GB"/>
              <a:pPr/>
              <a:t>13</a:t>
            </a:fld>
            <a:endParaRPr lang="en-GB" altLang="en-GB"/>
          </a:p>
        </p:txBody>
      </p:sp>
      <p:sp>
        <p:nvSpPr>
          <p:cNvPr id="136197" name="Rectangle 5"/>
          <p:cNvSpPr>
            <a:spLocks noGrp="1" noChangeArrowheads="1"/>
          </p:cNvSpPr>
          <p:nvPr>
            <p:ph type="body" sz="half" idx="4294967295"/>
          </p:nvPr>
        </p:nvSpPr>
        <p:spPr>
          <a:xfrm>
            <a:off x="361949" y="1770063"/>
            <a:ext cx="4602163" cy="3303587"/>
          </a:xfrm>
          <a:solidFill>
            <a:schemeClr val="bg1"/>
          </a:solidFill>
          <a:ln>
            <a:noFill/>
          </a:ln>
        </p:spPr>
        <p:txBody>
          <a:bodyPr lIns="72000" tIns="72000" rIns="72000" bIns="72000"/>
          <a:lstStyle/>
          <a:p>
            <a:pPr marL="0" indent="0" eaLnBrk="1" hangingPunct="1"/>
            <a:r>
              <a:rPr lang="en-GB" b="1" dirty="0" smtClean="0"/>
              <a:t>Team work:</a:t>
            </a:r>
          </a:p>
          <a:p>
            <a:pPr marL="285750" indent="-285750" eaLnBrk="1" hangingPunct="1">
              <a:buFont typeface="Wingdings" panose="05000000000000000000" pitchFamily="2" charset="2"/>
              <a:buChar char="§"/>
            </a:pPr>
            <a:r>
              <a:rPr lang="en-GB" sz="1600" dirty="0" smtClean="0"/>
              <a:t>Prior to the final Report Back to the sponsor and stakeholders key decisions should be listed to get approval</a:t>
            </a:r>
          </a:p>
          <a:p>
            <a:pPr marL="0" indent="0" eaLnBrk="1" hangingPunct="1"/>
            <a:r>
              <a:rPr lang="en-GB" sz="1600" dirty="0" smtClean="0"/>
              <a:t>Seek to gain approval for:</a:t>
            </a:r>
          </a:p>
          <a:p>
            <a:pPr marL="285750" lvl="1" indent="-285750" eaLnBrk="1" hangingPunct="1">
              <a:lnSpc>
                <a:spcPct val="102000"/>
              </a:lnSpc>
              <a:spcAft>
                <a:spcPct val="37000"/>
              </a:spcAft>
              <a:buFont typeface="Wingdings" panose="05000000000000000000" pitchFamily="2" charset="2"/>
              <a:buChar char="§"/>
            </a:pPr>
            <a:r>
              <a:rPr lang="en-GB" dirty="0" smtClean="0"/>
              <a:t>Resources, including people for the pilots</a:t>
            </a:r>
          </a:p>
          <a:p>
            <a:pPr marL="285750" lvl="1" indent="-285750" eaLnBrk="1" hangingPunct="1">
              <a:lnSpc>
                <a:spcPct val="102000"/>
              </a:lnSpc>
              <a:spcAft>
                <a:spcPct val="37000"/>
              </a:spcAft>
              <a:buFont typeface="Wingdings" panose="05000000000000000000" pitchFamily="2" charset="2"/>
              <a:buChar char="§"/>
            </a:pPr>
            <a:r>
              <a:rPr lang="en-GB" dirty="0" smtClean="0"/>
              <a:t>Frequency of governance reporting and work pilot reviews</a:t>
            </a:r>
          </a:p>
          <a:p>
            <a:pPr marL="285750" lvl="1" indent="-285750" eaLnBrk="1" hangingPunct="1">
              <a:lnSpc>
                <a:spcPct val="102000"/>
              </a:lnSpc>
              <a:spcAft>
                <a:spcPct val="37000"/>
              </a:spcAft>
              <a:buFont typeface="Wingdings" panose="05000000000000000000" pitchFamily="2" charset="2"/>
              <a:buChar char="§"/>
            </a:pPr>
            <a:r>
              <a:rPr lang="en-GB" dirty="0" smtClean="0"/>
              <a:t>Any budget amounts that are required e.g. relocation of offices, purchases of material, white boards for visual management…</a:t>
            </a:r>
          </a:p>
          <a:p>
            <a:pPr marL="285750" lvl="1" indent="-285750" eaLnBrk="1" hangingPunct="1">
              <a:lnSpc>
                <a:spcPct val="102000"/>
              </a:lnSpc>
              <a:spcAft>
                <a:spcPct val="37000"/>
              </a:spcAft>
              <a:buFont typeface="Wingdings" panose="05000000000000000000" pitchFamily="2" charset="2"/>
              <a:buChar char="§"/>
            </a:pPr>
            <a:endParaRPr lang="en-GB" sz="1400" dirty="0" smtClean="0"/>
          </a:p>
        </p:txBody>
      </p:sp>
      <p:pic>
        <p:nvPicPr>
          <p:cNvPr id="136204" name="Picture 9" descr="W4_ Decisions"/>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305425" y="1560024"/>
            <a:ext cx="3511550" cy="4726168"/>
          </a:xfrm>
          <a:prstGeom prst="rect">
            <a:avLst/>
          </a:prstGeom>
          <a:noFill/>
          <a:ln w="9525">
            <a:noFill/>
            <a:miter lim="800000"/>
            <a:headEnd/>
            <a:tailEnd/>
          </a:ln>
        </p:spPr>
      </p:pic>
      <p:pic>
        <p:nvPicPr>
          <p:cNvPr id="136199" name="Picture 10" descr="MPj04304740000[1]"/>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19315" y="5638117"/>
            <a:ext cx="892175" cy="892175"/>
          </a:xfrm>
          <a:prstGeom prst="rect">
            <a:avLst/>
          </a:prstGeom>
          <a:noFill/>
          <a:ln w="9525">
            <a:noFill/>
            <a:miter lim="800000"/>
            <a:headEnd/>
            <a:tailEnd/>
          </a:ln>
        </p:spPr>
      </p:pic>
      <p:sp>
        <p:nvSpPr>
          <p:cNvPr id="136200" name="Rectangle 11"/>
          <p:cNvSpPr>
            <a:spLocks noChangeArrowheads="1"/>
          </p:cNvSpPr>
          <p:nvPr/>
        </p:nvSpPr>
        <p:spPr bwMode="auto">
          <a:xfrm>
            <a:off x="361949" y="5478463"/>
            <a:ext cx="4760913" cy="1000125"/>
          </a:xfrm>
          <a:prstGeom prst="rect">
            <a:avLst/>
          </a:prstGeom>
          <a:noFill/>
          <a:ln w="9525">
            <a:solidFill>
              <a:schemeClr val="accent3"/>
            </a:solidFill>
            <a:miter lim="800000"/>
            <a:headEnd/>
            <a:tailEnd/>
          </a:ln>
        </p:spPr>
        <p:txBody>
          <a:bodyPr lIns="1080000" anchor="ctr"/>
          <a:lstStyle/>
          <a:p>
            <a:r>
              <a:rPr lang="en-GB" sz="1400" b="0" i="1" dirty="0">
                <a:solidFill>
                  <a:srgbClr val="000066"/>
                </a:solidFill>
              </a:rPr>
              <a:t>Before the Report Back it is advisable to give a heads up to the Sponsor of what type of decisions will be </a:t>
            </a:r>
            <a:r>
              <a:rPr lang="en-GB" sz="1400" b="0" i="1" dirty="0" smtClean="0">
                <a:solidFill>
                  <a:srgbClr val="000066"/>
                </a:solidFill>
              </a:rPr>
              <a:t>expected !</a:t>
            </a:r>
            <a:endParaRPr lang="en-GB" sz="1400" b="0" i="1" dirty="0">
              <a:solidFill>
                <a:srgbClr val="000066"/>
              </a:solidFill>
            </a:endParaRPr>
          </a:p>
        </p:txBody>
      </p:sp>
      <p:sp>
        <p:nvSpPr>
          <p:cNvPr id="136201" name="Rectangle 8"/>
          <p:cNvSpPr>
            <a:spLocks noChangeArrowheads="1"/>
          </p:cNvSpPr>
          <p:nvPr/>
        </p:nvSpPr>
        <p:spPr bwMode="auto">
          <a:xfrm>
            <a:off x="408190" y="5477779"/>
            <a:ext cx="1095375" cy="338138"/>
          </a:xfrm>
          <a:prstGeom prst="rect">
            <a:avLst/>
          </a:prstGeom>
          <a:noFill/>
          <a:ln w="9525">
            <a:noFill/>
            <a:miter lim="800000"/>
            <a:headEnd/>
            <a:tailEnd/>
          </a:ln>
        </p:spPr>
        <p:txBody>
          <a:bodyPr wrap="none">
            <a:spAutoFit/>
          </a:bodyPr>
          <a:lstStyle/>
          <a:p>
            <a:pPr marL="268288" indent="-174625">
              <a:tabLst>
                <a:tab pos="1166813" algn="l"/>
              </a:tabLst>
            </a:pPr>
            <a:r>
              <a:rPr lang="en-US" sz="1600" i="1">
                <a:solidFill>
                  <a:srgbClr val="000066"/>
                </a:solidFill>
              </a:rPr>
              <a:t>Hot Tips</a:t>
            </a:r>
          </a:p>
        </p:txBody>
      </p:sp>
      <p:sp>
        <p:nvSpPr>
          <p:cNvPr id="13" name="5-Point Star 12"/>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5"/>
          <p:cNvSpPr txBox="1">
            <a:spLocks noChangeArrowheads="1"/>
          </p:cNvSpPr>
          <p:nvPr/>
        </p:nvSpPr>
        <p:spPr bwMode="auto">
          <a:xfrm>
            <a:off x="361949" y="1142324"/>
            <a:ext cx="8455026" cy="459242"/>
          </a:xfrm>
          <a:prstGeom prst="rect">
            <a:avLst/>
          </a:prstGeom>
          <a:solidFill>
            <a:schemeClr val="bg1"/>
          </a:solidFill>
          <a:ln w="3175">
            <a:noFill/>
            <a:miter lim="800000"/>
            <a:headEnd/>
            <a:tailEnd/>
          </a:ln>
        </p:spPr>
        <p:txBody>
          <a:bodyPr vert="horz" wrap="square" lIns="72000" tIns="72000" rIns="72000" bIns="72000" numCol="1" anchor="t" anchorCtr="0" compatLnSpc="1">
            <a:prstTxWarp prst="textNoShape">
              <a:avLst/>
            </a:prstTxWarp>
          </a:bodyPr>
          <a:lstStyle>
            <a:lvl1pPr marL="190500" indent="-190500" algn="l" rtl="0" eaLnBrk="0" fontAlgn="base" hangingPunct="0">
              <a:lnSpc>
                <a:spcPct val="102000"/>
              </a:lnSpc>
              <a:spcBef>
                <a:spcPct val="0"/>
              </a:spcBef>
              <a:spcAft>
                <a:spcPct val="37000"/>
              </a:spcAft>
              <a:tabLst>
                <a:tab pos="5715000" algn="l"/>
              </a:tabLst>
              <a:defRPr>
                <a:solidFill>
                  <a:srgbClr val="000066"/>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00066"/>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00066"/>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00066"/>
                </a:solidFill>
                <a:latin typeface="+mn-lt"/>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Verdana" pitchFamily="34" charset="0"/>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9pPr>
          </a:lstStyle>
          <a:p>
            <a:r>
              <a:rPr lang="en-GB" b="1" kern="0" dirty="0" smtClean="0">
                <a:solidFill>
                  <a:schemeClr val="accent3"/>
                </a:solidFill>
              </a:rPr>
              <a:t>Objective:</a:t>
            </a:r>
            <a:r>
              <a:rPr lang="en-GB" b="0" kern="0" dirty="0" smtClean="0"/>
              <a:t> Establish the governance arrangements for the implementation phase</a:t>
            </a:r>
            <a:endParaRPr lang="en-GB" b="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Title 1"/>
          <p:cNvSpPr>
            <a:spLocks noGrp="1"/>
          </p:cNvSpPr>
          <p:nvPr>
            <p:ph type="title"/>
          </p:nvPr>
        </p:nvSpPr>
        <p:spPr/>
        <p:txBody>
          <a:bodyPr/>
          <a:lstStyle/>
          <a:p>
            <a:r>
              <a:rPr lang="en-GB" dirty="0" smtClean="0"/>
              <a:t>Exercise</a:t>
            </a:r>
            <a:br>
              <a:rPr lang="en-GB" dirty="0" smtClean="0"/>
            </a:br>
            <a:r>
              <a:rPr lang="en-GB" sz="1800" b="1" dirty="0" smtClean="0">
                <a:solidFill>
                  <a:srgbClr val="92D050"/>
                </a:solidFill>
              </a:rPr>
              <a:t>Implementing the Future State Design </a:t>
            </a:r>
            <a:r>
              <a:rPr lang="en-GB" dirty="0" smtClean="0"/>
              <a:t/>
            </a:r>
            <a:br>
              <a:rPr lang="en-GB" dirty="0" smtClean="0"/>
            </a:br>
            <a:endParaRPr lang="en-GB" dirty="0" smtClean="0"/>
          </a:p>
        </p:txBody>
      </p:sp>
      <p:sp>
        <p:nvSpPr>
          <p:cNvPr id="145411" name="Slide Number Placeholder 4"/>
          <p:cNvSpPr>
            <a:spLocks noGrp="1"/>
          </p:cNvSpPr>
          <p:nvPr>
            <p:ph type="sldNum" sz="quarter" idx="11"/>
          </p:nvPr>
        </p:nvSpPr>
        <p:spPr>
          <a:noFill/>
        </p:spPr>
        <p:txBody>
          <a:bodyPr/>
          <a:lstStyle/>
          <a:p>
            <a:fld id="{E7816D55-1A1C-4DB4-BEA1-ADE880643299}" type="slidenum">
              <a:rPr lang="en-GB" altLang="en-GB"/>
              <a:pPr/>
              <a:t>14</a:t>
            </a:fld>
            <a:endParaRPr lang="en-GB" altLang="en-GB"/>
          </a:p>
        </p:txBody>
      </p:sp>
      <p:sp>
        <p:nvSpPr>
          <p:cNvPr id="145413" name="Rectangle 2"/>
          <p:cNvSpPr>
            <a:spLocks noChangeArrowheads="1"/>
          </p:cNvSpPr>
          <p:nvPr/>
        </p:nvSpPr>
        <p:spPr bwMode="auto">
          <a:xfrm>
            <a:off x="361949" y="1522413"/>
            <a:ext cx="8128907" cy="2978150"/>
          </a:xfrm>
          <a:prstGeom prst="rect">
            <a:avLst/>
          </a:prstGeom>
          <a:solidFill>
            <a:srgbClr val="FFFFFF"/>
          </a:solidFill>
          <a:ln w="3175" algn="ctr">
            <a:noFill/>
            <a:miter lim="800000"/>
            <a:headEnd/>
            <a:tailEnd/>
          </a:ln>
        </p:spPr>
        <p:txBody>
          <a:bodyPr lIns="0" tIns="0" rIns="0" bIns="0" anchor="ctr"/>
          <a:lstStyle/>
          <a:p>
            <a:pPr marL="87313" indent="-3175"/>
            <a:r>
              <a:rPr lang="en-GB" altLang="zh-CN" dirty="0">
                <a:solidFill>
                  <a:srgbClr val="000066"/>
                </a:solidFill>
                <a:ea typeface="SimSun" pitchFamily="2" charset="-122"/>
              </a:rPr>
              <a:t>Back in your simulation groups, take all that you have worked on over the past day...</a:t>
            </a:r>
          </a:p>
          <a:p>
            <a:pPr marL="87313" indent="-3175"/>
            <a:endParaRPr lang="en-GB" dirty="0">
              <a:solidFill>
                <a:srgbClr val="000066"/>
              </a:solidFill>
              <a:ea typeface="SimSun" pitchFamily="2" charset="-122"/>
            </a:endParaRPr>
          </a:p>
          <a:p>
            <a:pPr marL="369887" indent="-285750">
              <a:spcBef>
                <a:spcPts val="600"/>
              </a:spcBef>
              <a:buFont typeface="Wingdings" panose="05000000000000000000" pitchFamily="2" charset="2"/>
              <a:buChar char="§"/>
            </a:pPr>
            <a:r>
              <a:rPr lang="en-GB" b="0" dirty="0">
                <a:solidFill>
                  <a:srgbClr val="000066"/>
                </a:solidFill>
                <a:ea typeface="SimSun" pitchFamily="2" charset="-122"/>
              </a:rPr>
              <a:t>Identify your implementation work packages</a:t>
            </a:r>
          </a:p>
          <a:p>
            <a:pPr marL="369887" indent="-285750">
              <a:spcBef>
                <a:spcPts val="600"/>
              </a:spcBef>
              <a:buFont typeface="Wingdings" panose="05000000000000000000" pitchFamily="2" charset="2"/>
              <a:buChar char="§"/>
            </a:pPr>
            <a:r>
              <a:rPr lang="en-GB" b="0" dirty="0">
                <a:solidFill>
                  <a:srgbClr val="000066"/>
                </a:solidFill>
                <a:ea typeface="SimSun" pitchFamily="2" charset="-122"/>
              </a:rPr>
              <a:t>Prioritise your work packages in terms of Ease to Implement </a:t>
            </a:r>
            <a:r>
              <a:rPr lang="en-GB" b="0" dirty="0" err="1">
                <a:solidFill>
                  <a:srgbClr val="000066"/>
                </a:solidFill>
                <a:ea typeface="SimSun" pitchFamily="2" charset="-122"/>
              </a:rPr>
              <a:t>vs</a:t>
            </a:r>
            <a:r>
              <a:rPr lang="en-GB" b="0" dirty="0">
                <a:solidFill>
                  <a:srgbClr val="000066"/>
                </a:solidFill>
                <a:ea typeface="SimSun" pitchFamily="2" charset="-122"/>
              </a:rPr>
              <a:t> Impact</a:t>
            </a:r>
          </a:p>
          <a:p>
            <a:pPr marL="369887" indent="-285750">
              <a:spcBef>
                <a:spcPts val="600"/>
              </a:spcBef>
              <a:buFont typeface="Wingdings" panose="05000000000000000000" pitchFamily="2" charset="2"/>
              <a:buChar char="§"/>
            </a:pPr>
            <a:r>
              <a:rPr lang="en-GB" b="0" dirty="0">
                <a:solidFill>
                  <a:srgbClr val="000066"/>
                </a:solidFill>
                <a:ea typeface="SimSun" pitchFamily="2" charset="-122"/>
              </a:rPr>
              <a:t>Draft a charter for one of your work packages</a:t>
            </a:r>
          </a:p>
          <a:p>
            <a:pPr marL="369887" indent="-285750">
              <a:spcBef>
                <a:spcPts val="600"/>
              </a:spcBef>
              <a:buFont typeface="Wingdings" panose="05000000000000000000" pitchFamily="2" charset="2"/>
              <a:buChar char="§"/>
            </a:pPr>
            <a:r>
              <a:rPr lang="en-GB" b="0" dirty="0">
                <a:solidFill>
                  <a:srgbClr val="000066"/>
                </a:solidFill>
                <a:ea typeface="SimSun" pitchFamily="2" charset="-122"/>
              </a:rPr>
              <a:t>Define a high-level implementation plan, agree governance and get stakeholder buy-in from your facilitator</a:t>
            </a:r>
          </a:p>
          <a:p>
            <a:pPr marL="87313" indent="-3175">
              <a:buFontTx/>
              <a:buAutoNum type="arabicPeriod"/>
            </a:pPr>
            <a:endParaRPr lang="en-GB" b="0" dirty="0">
              <a:solidFill>
                <a:srgbClr val="000066"/>
              </a:solidFill>
              <a:ea typeface="SimSun" pitchFamily="2" charset="-122"/>
            </a:endParaRPr>
          </a:p>
          <a:p>
            <a:pPr marL="87313" indent="-3175"/>
            <a:r>
              <a:rPr lang="en-GB" b="0" dirty="0">
                <a:solidFill>
                  <a:srgbClr val="000066"/>
                </a:solidFill>
                <a:ea typeface="SimSun" pitchFamily="2" charset="-122"/>
              </a:rPr>
              <a:t>And then go and implement your Future State Design</a:t>
            </a:r>
          </a:p>
        </p:txBody>
      </p:sp>
      <p:sp>
        <p:nvSpPr>
          <p:cNvPr id="145414" name="TextBox 14"/>
          <p:cNvSpPr txBox="1">
            <a:spLocks noChangeArrowheads="1"/>
          </p:cNvSpPr>
          <p:nvPr/>
        </p:nvSpPr>
        <p:spPr bwMode="auto">
          <a:xfrm>
            <a:off x="7224713" y="5229225"/>
            <a:ext cx="1390650" cy="369888"/>
          </a:xfrm>
          <a:prstGeom prst="rect">
            <a:avLst/>
          </a:prstGeom>
          <a:noFill/>
          <a:ln w="9525">
            <a:noFill/>
            <a:miter lim="800000"/>
            <a:headEnd/>
            <a:tailEnd/>
          </a:ln>
        </p:spPr>
        <p:txBody>
          <a:bodyPr wrap="none">
            <a:spAutoFit/>
          </a:bodyPr>
          <a:lstStyle/>
          <a:p>
            <a:r>
              <a:rPr lang="en-GB" dirty="0" smtClean="0">
                <a:solidFill>
                  <a:srgbClr val="92D050"/>
                </a:solidFill>
              </a:rPr>
              <a:t>30 </a:t>
            </a:r>
            <a:r>
              <a:rPr lang="en-GB" dirty="0">
                <a:solidFill>
                  <a:srgbClr val="92D050"/>
                </a:solidFill>
              </a:rPr>
              <a:t>minutes</a:t>
            </a:r>
          </a:p>
        </p:txBody>
      </p:sp>
      <p:pic>
        <p:nvPicPr>
          <p:cNvPr id="145415" name="Picture 15" descr="chronomete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518957" y="5013325"/>
            <a:ext cx="719137" cy="755650"/>
          </a:xfrm>
          <a:prstGeom prst="rect">
            <a:avLst/>
          </a:prstGeom>
          <a:noFill/>
          <a:ln w="9525">
            <a:noFill/>
            <a:miter lim="800000"/>
            <a:headEnd/>
            <a:tailEnd/>
          </a:ln>
        </p:spPr>
      </p:pic>
      <p:sp>
        <p:nvSpPr>
          <p:cNvPr id="9" name="Rectangle 8"/>
          <p:cNvSpPr/>
          <p:nvPr/>
        </p:nvSpPr>
        <p:spPr>
          <a:xfrm>
            <a:off x="21772" y="36286"/>
            <a:ext cx="9072000" cy="6768000"/>
          </a:xfrm>
          <a:prstGeom prst="rect">
            <a:avLst/>
          </a:prstGeom>
          <a:noFill/>
          <a:ln w="1079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extLst>
      <p:ext uri="{BB962C8B-B14F-4D97-AF65-F5344CB8AC3E}">
        <p14:creationId xmlns:p14="http://schemas.microsoft.com/office/powerpoint/2010/main" val="143049841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33771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6434" name="Title 1"/>
          <p:cNvSpPr>
            <a:spLocks noGrp="1"/>
          </p:cNvSpPr>
          <p:nvPr>
            <p:ph type="title"/>
          </p:nvPr>
        </p:nvSpPr>
        <p:spPr/>
        <p:txBody>
          <a:bodyPr/>
          <a:lstStyle/>
          <a:p>
            <a:pPr eaLnBrk="1" hangingPunct="1"/>
            <a:r>
              <a:rPr lang="en-GB" sz="2400" dirty="0" smtClean="0"/>
              <a:t>Agenda</a:t>
            </a:r>
            <a:r>
              <a:rPr lang="en-GB" dirty="0" smtClean="0"/>
              <a:t/>
            </a:r>
            <a:br>
              <a:rPr lang="en-GB" dirty="0" smtClean="0"/>
            </a:br>
            <a:r>
              <a:rPr lang="en-GB" sz="1800" b="1" dirty="0" smtClean="0">
                <a:solidFill>
                  <a:schemeClr val="bg1"/>
                </a:solidFill>
                <a:cs typeface="Arial" pitchFamily="34" charset="0"/>
              </a:rPr>
              <a:t>Day 4 – Future State 2 &amp; Work Pilot</a:t>
            </a:r>
            <a:endParaRPr lang="en-GB" sz="1800" dirty="0" smtClean="0">
              <a:solidFill>
                <a:schemeClr val="bg1"/>
              </a:solidFill>
            </a:endParaRPr>
          </a:p>
        </p:txBody>
      </p:sp>
      <p:sp>
        <p:nvSpPr>
          <p:cNvPr id="146435" name="Slide Number Placeholder 4"/>
          <p:cNvSpPr>
            <a:spLocks noGrp="1"/>
          </p:cNvSpPr>
          <p:nvPr>
            <p:ph type="sldNum" sz="quarter" idx="11"/>
          </p:nvPr>
        </p:nvSpPr>
        <p:spPr>
          <a:noFill/>
        </p:spPr>
        <p:txBody>
          <a:bodyPr/>
          <a:lstStyle/>
          <a:p>
            <a:fld id="{82D34DDB-D9C1-4DB6-926B-ECFA1F44E4A6}" type="slidenum">
              <a:rPr lang="en-GB" altLang="en-GB"/>
              <a:pPr/>
              <a:t>15</a:t>
            </a:fld>
            <a:endParaRPr lang="en-GB" altLang="en-GB"/>
          </a:p>
        </p:txBody>
      </p:sp>
      <p:graphicFrame>
        <p:nvGraphicFramePr>
          <p:cNvPr id="8" name="Group 33"/>
          <p:cNvGraphicFramePr>
            <a:graphicFrameLocks noGrp="1"/>
          </p:cNvGraphicFramePr>
          <p:nvPr>
            <p:extLst>
              <p:ext uri="{D42A27DB-BD31-4B8C-83A1-F6EECF244321}">
                <p14:modId xmlns:p14="http://schemas.microsoft.com/office/powerpoint/2010/main" val="24193210"/>
              </p:ext>
            </p:extLst>
          </p:nvPr>
        </p:nvGraphicFramePr>
        <p:xfrm>
          <a:off x="466725" y="1268413"/>
          <a:ext cx="8353425" cy="5001118"/>
        </p:xfrm>
        <a:graphic>
          <a:graphicData uri="http://schemas.openxmlformats.org/drawingml/2006/table">
            <a:tbl>
              <a:tblPr/>
              <a:tblGrid>
                <a:gridCol w="1296987"/>
                <a:gridCol w="7056438"/>
              </a:tblGrid>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6"/>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dirty="0" smtClean="0">
                          <a:solidFill>
                            <a:srgbClr val="000066"/>
                          </a:solidFill>
                          <a:cs typeface="Arial" pitchFamily="34" charset="0"/>
                        </a:rPr>
                        <a:t>Teach</a:t>
                      </a:r>
                      <a:r>
                        <a:rPr lang="en-GB" sz="1400" baseline="0" dirty="0" smtClean="0">
                          <a:solidFill>
                            <a:srgbClr val="000066"/>
                          </a:solidFill>
                          <a:cs typeface="Arial" pitchFamily="34" charset="0"/>
                        </a:rPr>
                        <a:t> Back – Days 1, 2, and 3</a:t>
                      </a:r>
                      <a:endParaRPr kumimoji="0" lang="en-GB" sz="1400" b="0" i="0" u="none" strike="noStrike" cap="none" normalizeH="0" baseline="0" dirty="0" smtClean="0">
                        <a:ln>
                          <a:noFill/>
                        </a:ln>
                        <a:solidFill>
                          <a:srgbClr val="000066"/>
                        </a:solidFill>
                        <a:effectLst/>
                        <a:latin typeface="Arial" pitchFamily="34" charset="0"/>
                      </a:endParaRP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 to Future State 2</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Action</a:t>
                      </a:r>
                      <a:r>
                        <a:rPr lang="en-GB" sz="1400" baseline="0" dirty="0" smtClean="0">
                          <a:solidFill>
                            <a:srgbClr val="000066"/>
                          </a:solidFill>
                          <a:cs typeface="Arial" pitchFamily="34" charset="0"/>
                        </a:rPr>
                        <a:t> Brainstorm</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Breakdown Structure</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Packages</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Exercise - Implementing the Future State Design</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800" b="1" dirty="0" smtClean="0">
                          <a:solidFill>
                            <a:schemeClr val="tx1"/>
                          </a:solidFill>
                          <a:cs typeface="Arial" pitchFamily="34" charset="0"/>
                        </a:rPr>
                        <a:t>Introduction</a:t>
                      </a:r>
                      <a:r>
                        <a:rPr lang="en-GB" sz="1800" b="1" baseline="0" dirty="0" smtClean="0">
                          <a:solidFill>
                            <a:schemeClr val="tx1"/>
                          </a:solidFill>
                          <a:cs typeface="Arial" pitchFamily="34" charset="0"/>
                        </a:rPr>
                        <a:t> to </a:t>
                      </a:r>
                      <a:r>
                        <a:rPr lang="en-GB" sz="1800" b="1" dirty="0" smtClean="0">
                          <a:solidFill>
                            <a:schemeClr val="tx1"/>
                          </a:solidFill>
                          <a:cs typeface="Arial" pitchFamily="34" charset="0"/>
                        </a:rPr>
                        <a:t>Work Pilot</a:t>
                      </a:r>
                    </a:p>
                    <a:p>
                      <a:pPr marL="228600" indent="-228600" fontAlgn="base">
                        <a:spcBef>
                          <a:spcPct val="0"/>
                        </a:spcBef>
                        <a:buSzPct val="120000"/>
                        <a:buFont typeface="Wingdings" pitchFamily="2" charset="2"/>
                        <a:buChar char="§"/>
                        <a:tabLst>
                          <a:tab pos="5715000" algn="l"/>
                        </a:tabLst>
                      </a:pPr>
                      <a:r>
                        <a:rPr lang="en-GB" sz="1800" b="1" dirty="0" smtClean="0">
                          <a:solidFill>
                            <a:schemeClr val="tx1"/>
                          </a:solidFill>
                          <a:cs typeface="Arial" pitchFamily="34" charset="0"/>
                        </a:rPr>
                        <a:t>Set Up</a:t>
                      </a:r>
                      <a:r>
                        <a:rPr lang="en-GB" sz="1800" b="1" baseline="0" dirty="0" smtClean="0">
                          <a:solidFill>
                            <a:schemeClr val="tx1"/>
                          </a:solidFill>
                          <a:cs typeface="Arial" pitchFamily="34" charset="0"/>
                        </a:rPr>
                        <a:t> &amp; Run a Work Pilo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un Final Simulation</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ecord and review simulation performance</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Lean</a:t>
                      </a:r>
                      <a:r>
                        <a:rPr lang="en-GB" sz="1400" kern="1200" baseline="0" dirty="0" smtClean="0">
                          <a:solidFill>
                            <a:srgbClr val="000066"/>
                          </a:solidFill>
                          <a:latin typeface="+mn-lt"/>
                          <a:ea typeface="+mn-ea"/>
                          <a:cs typeface="Arial" pitchFamily="34" charset="0"/>
                        </a:rPr>
                        <a:t> management</a:t>
                      </a:r>
                      <a:r>
                        <a:rPr lang="en-GB" sz="1400" kern="1200" dirty="0" smtClean="0">
                          <a:solidFill>
                            <a:srgbClr val="000066"/>
                          </a:solidFill>
                          <a:latin typeface="+mn-lt"/>
                          <a:ea typeface="+mn-ea"/>
                          <a:cs typeface="Arial" pitchFamily="34" charset="0"/>
                        </a:rPr>
                        <a:t> tools and techniqu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dirty="0" smtClean="0">
                          <a:solidFill>
                            <a:srgbClr val="000066"/>
                          </a:solidFill>
                          <a:cs typeface="Arial" pitchFamily="34" charset="0"/>
                        </a:rPr>
                        <a:t>Planning the</a:t>
                      </a:r>
                      <a:r>
                        <a:rPr lang="en-GB" sz="1400" baseline="0" dirty="0" smtClean="0">
                          <a:solidFill>
                            <a:srgbClr val="000066"/>
                          </a:solidFill>
                          <a:cs typeface="Arial" pitchFamily="34" charset="0"/>
                        </a:rPr>
                        <a:t> Transfer to BAU</a:t>
                      </a:r>
                      <a:endParaRPr lang="en-GB" sz="1400" kern="1200" dirty="0" smtClean="0">
                        <a:solidFill>
                          <a:srgbClr val="000066"/>
                        </a:solidFill>
                        <a:latin typeface="+mn-lt"/>
                        <a:ea typeface="+mn-ea"/>
                        <a:cs typeface="Arial" pitchFamily="34" charset="0"/>
                      </a:endParaRP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ourse Review &amp; Wrap up</a:t>
                      </a:r>
                    </a:p>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Overall WWW and WBBI</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Title"/>
          <p:cNvSpPr>
            <a:spLocks noGrp="1" noChangeArrowheads="1"/>
          </p:cNvSpPr>
          <p:nvPr>
            <p:ph type="title"/>
          </p:nvPr>
        </p:nvSpPr>
        <p:spPr/>
        <p:txBody>
          <a:bodyPr/>
          <a:lstStyle/>
          <a:p>
            <a:pPr eaLnBrk="1" hangingPunct="1"/>
            <a:r>
              <a:rPr lang="en-GB" altLang="en-GB" sz="2400" dirty="0" smtClean="0"/>
              <a:t>Work Pilot</a:t>
            </a:r>
            <a:r>
              <a:rPr lang="en-GB" altLang="en-GB" dirty="0" smtClean="0"/>
              <a:t/>
            </a:r>
            <a:br>
              <a:rPr lang="en-GB" altLang="en-GB" dirty="0" smtClean="0"/>
            </a:br>
            <a:r>
              <a:rPr lang="en-GB" altLang="en-GB" sz="1800" b="1" dirty="0" smtClean="0">
                <a:solidFill>
                  <a:srgbClr val="99CC33"/>
                </a:solidFill>
                <a:cs typeface="Arial" pitchFamily="34" charset="0"/>
              </a:rPr>
              <a:t>The final stages</a:t>
            </a:r>
          </a:p>
        </p:txBody>
      </p:sp>
      <p:sp>
        <p:nvSpPr>
          <p:cNvPr id="150531" name="Slide Number Placeholder 4"/>
          <p:cNvSpPr>
            <a:spLocks noGrp="1"/>
          </p:cNvSpPr>
          <p:nvPr>
            <p:ph type="sldNum" sz="quarter" idx="11"/>
          </p:nvPr>
        </p:nvSpPr>
        <p:spPr>
          <a:noFill/>
        </p:spPr>
        <p:txBody>
          <a:bodyPr/>
          <a:lstStyle/>
          <a:p>
            <a:fld id="{65C83400-6445-488A-97CB-F6D1FC620067}" type="slidenum">
              <a:rPr lang="en-GB" altLang="en-GB"/>
              <a:pPr/>
              <a:t>16</a:t>
            </a:fld>
            <a:endParaRPr lang="en-GB" altLang="en-GB"/>
          </a:p>
        </p:txBody>
      </p:sp>
      <p:sp>
        <p:nvSpPr>
          <p:cNvPr id="150532" name="AutoShape 2"/>
          <p:cNvSpPr>
            <a:spLocks noChangeArrowheads="1"/>
          </p:cNvSpPr>
          <p:nvPr/>
        </p:nvSpPr>
        <p:spPr bwMode="gray">
          <a:xfrm>
            <a:off x="468313" y="962025"/>
            <a:ext cx="8280400" cy="1079500"/>
          </a:xfrm>
          <a:prstGeom prst="homePlate">
            <a:avLst>
              <a:gd name="adj" fmla="val 30150"/>
            </a:avLst>
          </a:prstGeom>
          <a:solidFill>
            <a:srgbClr val="B2B2FF"/>
          </a:solidFill>
          <a:ln w="9525" algn="ctr">
            <a:noFill/>
            <a:miter lim="800000"/>
            <a:headEnd/>
            <a:tailEnd/>
          </a:ln>
        </p:spPr>
        <p:txBody>
          <a:bodyPr wrap="none" lIns="0" tIns="0" rIns="0" bIns="0" anchor="ctr"/>
          <a:lstStyle/>
          <a:p>
            <a:endParaRPr lang="en-US" b="0">
              <a:solidFill>
                <a:srgbClr val="000066"/>
              </a:solidFill>
            </a:endParaRPr>
          </a:p>
        </p:txBody>
      </p:sp>
      <p:sp>
        <p:nvSpPr>
          <p:cNvPr id="150533" name="Rectangle 3"/>
          <p:cNvSpPr>
            <a:spLocks noChangeArrowheads="1"/>
          </p:cNvSpPr>
          <p:nvPr/>
        </p:nvSpPr>
        <p:spPr bwMode="auto">
          <a:xfrm>
            <a:off x="514350" y="2070100"/>
            <a:ext cx="6732588" cy="115888"/>
          </a:xfrm>
          <a:prstGeom prst="rect">
            <a:avLst/>
          </a:prstGeom>
          <a:solidFill>
            <a:schemeClr val="tx1"/>
          </a:solidFill>
          <a:ln w="9525">
            <a:noFill/>
            <a:miter lim="800000"/>
            <a:headEnd/>
            <a:tailEnd/>
          </a:ln>
        </p:spPr>
        <p:txBody>
          <a:bodyPr wrap="none" anchor="ctr"/>
          <a:lstStyle/>
          <a:p>
            <a:endParaRPr lang="en-US" b="0">
              <a:solidFill>
                <a:srgbClr val="000066"/>
              </a:solidFill>
            </a:endParaRPr>
          </a:p>
        </p:txBody>
      </p:sp>
      <p:graphicFrame>
        <p:nvGraphicFramePr>
          <p:cNvPr id="90117" name="Group 5"/>
          <p:cNvGraphicFramePr>
            <a:graphicFrameLocks noGrp="1"/>
          </p:cNvGraphicFramePr>
          <p:nvPr/>
        </p:nvGraphicFramePr>
        <p:xfrm>
          <a:off x="611188" y="1320800"/>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smtClean="0">
                          <a:ln>
                            <a:noFill/>
                          </a:ln>
                          <a:solidFill>
                            <a:schemeClr val="tx1"/>
                          </a:solidFill>
                          <a:effectLst/>
                          <a:latin typeface="Arial" pitchFamily="34" charset="0"/>
                          <a:cs typeface="Arial" pitchFamily="34" charset="0"/>
                        </a:rPr>
                        <a:t>Week -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152" name="Group 40"/>
          <p:cNvGraphicFramePr>
            <a:graphicFrameLocks noGrp="1"/>
          </p:cNvGraphicFramePr>
          <p:nvPr/>
        </p:nvGraphicFramePr>
        <p:xfrm>
          <a:off x="1906588" y="1320800"/>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smtClean="0">
                          <a:ln>
                            <a:noFill/>
                          </a:ln>
                          <a:solidFill>
                            <a:schemeClr val="tx1"/>
                          </a:solidFill>
                          <a:effectLst/>
                          <a:latin typeface="Arial" pitchFamily="34" charset="0"/>
                          <a:cs typeface="Arial" pitchFamily="34" charset="0"/>
                        </a:rPr>
                        <a:t>Week 1</a:t>
                      </a:r>
                    </a:p>
                  </a:txBody>
                  <a:tcPr marL="0" marR="0" marT="0" marB="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187" name="Group 75"/>
          <p:cNvGraphicFramePr>
            <a:graphicFrameLocks noGrp="1"/>
          </p:cNvGraphicFramePr>
          <p:nvPr/>
        </p:nvGraphicFramePr>
        <p:xfrm>
          <a:off x="3201988" y="1320800"/>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smtClean="0">
                          <a:ln>
                            <a:noFill/>
                          </a:ln>
                          <a:solidFill>
                            <a:schemeClr val="tx1"/>
                          </a:solidFill>
                          <a:effectLst/>
                          <a:latin typeface="Arial" pitchFamily="34" charset="0"/>
                          <a:cs typeface="Arial" pitchFamily="34" charset="0"/>
                        </a:rPr>
                        <a:t>Week 2</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222" name="Group 110"/>
          <p:cNvGraphicFramePr>
            <a:graphicFrameLocks noGrp="1"/>
          </p:cNvGraphicFramePr>
          <p:nvPr/>
        </p:nvGraphicFramePr>
        <p:xfrm>
          <a:off x="4498975" y="1320800"/>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smtClean="0">
                          <a:ln>
                            <a:noFill/>
                          </a:ln>
                          <a:solidFill>
                            <a:schemeClr val="tx1"/>
                          </a:solidFill>
                          <a:effectLst/>
                          <a:latin typeface="Arial" pitchFamily="34" charset="0"/>
                          <a:cs typeface="Arial" pitchFamily="34" charset="0"/>
                        </a:rPr>
                        <a:t>Week 3</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257" name="Group 145"/>
          <p:cNvGraphicFramePr>
            <a:graphicFrameLocks noGrp="1"/>
          </p:cNvGraphicFramePr>
          <p:nvPr/>
        </p:nvGraphicFramePr>
        <p:xfrm>
          <a:off x="5794375" y="1320800"/>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smtClean="0">
                          <a:ln>
                            <a:noFill/>
                          </a:ln>
                          <a:solidFill>
                            <a:schemeClr val="tx1"/>
                          </a:solidFill>
                          <a:effectLst/>
                          <a:latin typeface="Arial" pitchFamily="34" charset="0"/>
                          <a:cs typeface="Arial" pitchFamily="34" charset="0"/>
                        </a:rPr>
                        <a:t>Week 4</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90292" name="Group 180"/>
          <p:cNvGraphicFramePr>
            <a:graphicFrameLocks noGrp="1"/>
          </p:cNvGraphicFramePr>
          <p:nvPr/>
        </p:nvGraphicFramePr>
        <p:xfrm>
          <a:off x="7091363" y="1320800"/>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1"/>
                          </a:solidFill>
                          <a:effectLst/>
                          <a:latin typeface="Arial" pitchFamily="34" charset="0"/>
                          <a:cs typeface="Arial" pitchFamily="34" charset="0"/>
                        </a:rPr>
                        <a:t>Week 5 1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sp>
        <p:nvSpPr>
          <p:cNvPr id="150732" name="Rectangle 215"/>
          <p:cNvSpPr>
            <a:spLocks noChangeArrowheads="1"/>
          </p:cNvSpPr>
          <p:nvPr/>
        </p:nvSpPr>
        <p:spPr bwMode="gray">
          <a:xfrm>
            <a:off x="1042988" y="1741488"/>
            <a:ext cx="1152525" cy="150812"/>
          </a:xfrm>
          <a:prstGeom prst="rect">
            <a:avLst/>
          </a:prstGeom>
          <a:solidFill>
            <a:srgbClr val="596E6E">
              <a:alpha val="20000"/>
            </a:srgbClr>
          </a:solidFill>
          <a:ln w="9525" algn="ctr">
            <a:noFill/>
            <a:miter lim="800000"/>
            <a:headEnd/>
            <a:tailEnd/>
          </a:ln>
        </p:spPr>
        <p:txBody>
          <a:bodyPr wrap="none" lIns="0" tIns="0" rIns="0" bIns="0" anchor="ctr"/>
          <a:lstStyle/>
          <a:p>
            <a:pPr algn="ctr"/>
            <a:endParaRPr lang="en-US" b="0">
              <a:solidFill>
                <a:srgbClr val="000066"/>
              </a:solidFill>
            </a:endParaRPr>
          </a:p>
        </p:txBody>
      </p:sp>
      <p:sp>
        <p:nvSpPr>
          <p:cNvPr id="150733" name="AutoShape 217"/>
          <p:cNvSpPr>
            <a:spLocks noChangeArrowheads="1"/>
          </p:cNvSpPr>
          <p:nvPr/>
        </p:nvSpPr>
        <p:spPr bwMode="gray">
          <a:xfrm>
            <a:off x="1025525" y="1741488"/>
            <a:ext cx="131763" cy="152400"/>
          </a:xfrm>
          <a:prstGeom prst="diamond">
            <a:avLst/>
          </a:prstGeom>
          <a:solidFill>
            <a:schemeClr val="tx2"/>
          </a:solidFill>
          <a:ln w="9525" algn="ctr">
            <a:noFill/>
            <a:miter lim="800000"/>
            <a:headEnd/>
            <a:tailEnd/>
          </a:ln>
        </p:spPr>
        <p:txBody>
          <a:bodyPr wrap="none" lIns="0" tIns="0" rIns="0" bIns="0" anchor="ctr"/>
          <a:lstStyle/>
          <a:p>
            <a:endParaRPr lang="en-US" b="0">
              <a:solidFill>
                <a:srgbClr val="000066"/>
              </a:solidFill>
            </a:endParaRPr>
          </a:p>
        </p:txBody>
      </p:sp>
      <p:sp>
        <p:nvSpPr>
          <p:cNvPr id="150734" name="Rectangle 218"/>
          <p:cNvSpPr>
            <a:spLocks noChangeArrowheads="1"/>
          </p:cNvSpPr>
          <p:nvPr/>
        </p:nvSpPr>
        <p:spPr bwMode="gray">
          <a:xfrm>
            <a:off x="877888" y="1741488"/>
            <a:ext cx="215900"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US" sz="800" b="0">
                <a:solidFill>
                  <a:srgbClr val="FFFFFF"/>
                </a:solidFill>
              </a:rPr>
              <a:t>M</a:t>
            </a:r>
          </a:p>
        </p:txBody>
      </p:sp>
      <p:sp>
        <p:nvSpPr>
          <p:cNvPr id="150735" name="AutoShape 220"/>
          <p:cNvSpPr>
            <a:spLocks noChangeArrowheads="1"/>
          </p:cNvSpPr>
          <p:nvPr/>
        </p:nvSpPr>
        <p:spPr bwMode="gray">
          <a:xfrm>
            <a:off x="5129213" y="1741488"/>
            <a:ext cx="131762" cy="152400"/>
          </a:xfrm>
          <a:prstGeom prst="diamond">
            <a:avLst/>
          </a:prstGeom>
          <a:solidFill>
            <a:schemeClr val="tx2"/>
          </a:solidFill>
          <a:ln w="9525" algn="ctr">
            <a:noFill/>
            <a:miter lim="800000"/>
            <a:headEnd/>
            <a:tailEnd/>
          </a:ln>
        </p:spPr>
        <p:txBody>
          <a:bodyPr wrap="none" lIns="0" tIns="0" rIns="0" bIns="0" anchor="ctr"/>
          <a:lstStyle/>
          <a:p>
            <a:endParaRPr lang="en-US" b="0">
              <a:solidFill>
                <a:srgbClr val="000066"/>
              </a:solidFill>
            </a:endParaRPr>
          </a:p>
        </p:txBody>
      </p:sp>
      <p:sp>
        <p:nvSpPr>
          <p:cNvPr id="150736" name="Rectangle 221"/>
          <p:cNvSpPr>
            <a:spLocks noChangeArrowheads="1"/>
          </p:cNvSpPr>
          <p:nvPr/>
        </p:nvSpPr>
        <p:spPr bwMode="gray">
          <a:xfrm>
            <a:off x="4752975" y="1741488"/>
            <a:ext cx="444500"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US" sz="800" b="0">
                <a:solidFill>
                  <a:srgbClr val="FFFFFF"/>
                </a:solidFill>
              </a:rPr>
              <a:t>FS1</a:t>
            </a:r>
          </a:p>
        </p:txBody>
      </p:sp>
      <p:sp>
        <p:nvSpPr>
          <p:cNvPr id="150737" name="Rectangle 222"/>
          <p:cNvSpPr>
            <a:spLocks noChangeArrowheads="1"/>
          </p:cNvSpPr>
          <p:nvPr/>
        </p:nvSpPr>
        <p:spPr bwMode="auto">
          <a:xfrm>
            <a:off x="468313" y="2071688"/>
            <a:ext cx="109537" cy="4405312"/>
          </a:xfrm>
          <a:prstGeom prst="rect">
            <a:avLst/>
          </a:prstGeom>
          <a:solidFill>
            <a:schemeClr val="tx1"/>
          </a:solidFill>
          <a:ln w="9525">
            <a:noFill/>
            <a:miter lim="800000"/>
            <a:headEnd/>
            <a:tailEnd/>
          </a:ln>
        </p:spPr>
        <p:txBody>
          <a:bodyPr wrap="none" anchor="ctr"/>
          <a:lstStyle/>
          <a:p>
            <a:endParaRPr lang="en-US" b="0">
              <a:solidFill>
                <a:srgbClr val="000066"/>
              </a:solidFill>
            </a:endParaRPr>
          </a:p>
        </p:txBody>
      </p:sp>
      <p:grpSp>
        <p:nvGrpSpPr>
          <p:cNvPr id="150738" name="Group 81"/>
          <p:cNvGrpSpPr>
            <a:grpSpLocks/>
          </p:cNvGrpSpPr>
          <p:nvPr/>
        </p:nvGrpSpPr>
        <p:grpSpPr bwMode="auto">
          <a:xfrm>
            <a:off x="7099300" y="1981200"/>
            <a:ext cx="144463" cy="144463"/>
            <a:chOff x="6024563" y="1808163"/>
            <a:chExt cx="144462" cy="217487"/>
          </a:xfrm>
          <a:solidFill>
            <a:schemeClr val="tx1"/>
          </a:solidFill>
        </p:grpSpPr>
        <p:sp>
          <p:nvSpPr>
            <p:cNvPr id="150782" name="Rectangle 224"/>
            <p:cNvSpPr>
              <a:spLocks noChangeArrowheads="1"/>
            </p:cNvSpPr>
            <p:nvPr/>
          </p:nvSpPr>
          <p:spPr bwMode="auto">
            <a:xfrm>
              <a:off x="6024563" y="1882775"/>
              <a:ext cx="144462" cy="142875"/>
            </a:xfrm>
            <a:prstGeom prst="rect">
              <a:avLst/>
            </a:prstGeom>
            <a:grpFill/>
            <a:ln w="9525">
              <a:noFill/>
              <a:miter lim="800000"/>
              <a:headEnd/>
              <a:tailEnd/>
            </a:ln>
          </p:spPr>
          <p:txBody>
            <a:bodyPr wrap="none" anchor="ctr"/>
            <a:lstStyle/>
            <a:p>
              <a:endParaRPr lang="en-US" b="0">
                <a:solidFill>
                  <a:srgbClr val="000066"/>
                </a:solidFill>
              </a:endParaRPr>
            </a:p>
          </p:txBody>
        </p:sp>
        <p:sp>
          <p:nvSpPr>
            <p:cNvPr id="150783" name="AutoShape 225"/>
            <p:cNvSpPr>
              <a:spLocks noChangeArrowheads="1"/>
            </p:cNvSpPr>
            <p:nvPr/>
          </p:nvSpPr>
          <p:spPr bwMode="gray">
            <a:xfrm>
              <a:off x="6024563" y="1808163"/>
              <a:ext cx="144462" cy="144462"/>
            </a:xfrm>
            <a:prstGeom prst="diamond">
              <a:avLst/>
            </a:prstGeom>
            <a:grpFill/>
            <a:ln w="9525" algn="ctr">
              <a:noFill/>
              <a:miter lim="800000"/>
              <a:headEnd/>
              <a:tailEnd/>
            </a:ln>
          </p:spPr>
          <p:txBody>
            <a:bodyPr wrap="none" lIns="0" tIns="0" rIns="0" bIns="0" anchor="ctr"/>
            <a:lstStyle/>
            <a:p>
              <a:endParaRPr lang="en-US" b="0">
                <a:solidFill>
                  <a:srgbClr val="000066"/>
                </a:solidFill>
              </a:endParaRPr>
            </a:p>
          </p:txBody>
        </p:sp>
      </p:grpSp>
      <p:sp>
        <p:nvSpPr>
          <p:cNvPr id="150739" name="Rectangle 227"/>
          <p:cNvSpPr>
            <a:spLocks noChangeArrowheads="1"/>
          </p:cNvSpPr>
          <p:nvPr/>
        </p:nvSpPr>
        <p:spPr bwMode="auto">
          <a:xfrm>
            <a:off x="611188" y="2935288"/>
            <a:ext cx="7848600" cy="665162"/>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Current State 1: 	Lean Simulation, VoC, value stream flow, </a:t>
            </a:r>
          </a:p>
          <a:p>
            <a:pPr>
              <a:tabLst>
                <a:tab pos="1430338" algn="l"/>
              </a:tabLst>
            </a:pPr>
            <a:r>
              <a:rPr lang="en-GB" sz="1400" b="0">
                <a:solidFill>
                  <a:srgbClr val="000066"/>
                </a:solidFill>
              </a:rPr>
              <a:t>	plan for ‘seeing is believing’</a:t>
            </a:r>
          </a:p>
        </p:txBody>
      </p:sp>
      <p:sp>
        <p:nvSpPr>
          <p:cNvPr id="150740" name="AutoShape 228"/>
          <p:cNvSpPr>
            <a:spLocks noChangeArrowheads="1"/>
          </p:cNvSpPr>
          <p:nvPr/>
        </p:nvSpPr>
        <p:spPr bwMode="auto">
          <a:xfrm>
            <a:off x="611188" y="2924175"/>
            <a:ext cx="431800" cy="684213"/>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CS1</a:t>
            </a:r>
          </a:p>
        </p:txBody>
      </p:sp>
      <p:sp>
        <p:nvSpPr>
          <p:cNvPr id="150741" name="Freeform 229"/>
          <p:cNvSpPr>
            <a:spLocks/>
          </p:cNvSpPr>
          <p:nvPr/>
        </p:nvSpPr>
        <p:spPr bwMode="auto">
          <a:xfrm>
            <a:off x="1258888" y="1301750"/>
            <a:ext cx="217487" cy="703263"/>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w="9525">
            <a:noFill/>
            <a:round/>
            <a:headEnd/>
            <a:tailEnd/>
          </a:ln>
        </p:spPr>
        <p:txBody>
          <a:bodyPr/>
          <a:lstStyle/>
          <a:p>
            <a:endParaRPr lang="en-GB"/>
          </a:p>
        </p:txBody>
      </p:sp>
      <p:sp>
        <p:nvSpPr>
          <p:cNvPr id="150742" name="Rectangle 230"/>
          <p:cNvSpPr>
            <a:spLocks noChangeArrowheads="1"/>
          </p:cNvSpPr>
          <p:nvPr/>
        </p:nvSpPr>
        <p:spPr bwMode="gray">
          <a:xfrm>
            <a:off x="2351088" y="1739900"/>
            <a:ext cx="1152525" cy="150813"/>
          </a:xfrm>
          <a:prstGeom prst="rect">
            <a:avLst/>
          </a:prstGeom>
          <a:solidFill>
            <a:srgbClr val="596E6E">
              <a:alpha val="20000"/>
            </a:srgbClr>
          </a:solidFill>
          <a:ln w="9525" algn="ctr">
            <a:noFill/>
            <a:miter lim="800000"/>
            <a:headEnd/>
            <a:tailEnd/>
          </a:ln>
        </p:spPr>
        <p:txBody>
          <a:bodyPr wrap="none" lIns="0" tIns="0" rIns="0" bIns="0" anchor="ctr"/>
          <a:lstStyle/>
          <a:p>
            <a:pPr algn="ctr"/>
            <a:endParaRPr lang="en-US" b="0">
              <a:solidFill>
                <a:srgbClr val="000066"/>
              </a:solidFill>
            </a:endParaRPr>
          </a:p>
        </p:txBody>
      </p:sp>
      <p:sp>
        <p:nvSpPr>
          <p:cNvPr id="150743" name="AutoShape 232"/>
          <p:cNvSpPr>
            <a:spLocks noChangeArrowheads="1"/>
          </p:cNvSpPr>
          <p:nvPr/>
        </p:nvSpPr>
        <p:spPr bwMode="gray">
          <a:xfrm>
            <a:off x="4073525" y="1741488"/>
            <a:ext cx="131763" cy="152400"/>
          </a:xfrm>
          <a:prstGeom prst="diamond">
            <a:avLst/>
          </a:prstGeom>
          <a:solidFill>
            <a:schemeClr val="tx2"/>
          </a:solidFill>
          <a:ln w="9525" algn="ctr">
            <a:noFill/>
            <a:miter lim="800000"/>
            <a:headEnd/>
            <a:tailEnd/>
          </a:ln>
        </p:spPr>
        <p:txBody>
          <a:bodyPr wrap="none" lIns="0" tIns="0" rIns="0" bIns="0" anchor="ctr"/>
          <a:lstStyle/>
          <a:p>
            <a:endParaRPr lang="en-US" b="0">
              <a:solidFill>
                <a:srgbClr val="000066"/>
              </a:solidFill>
            </a:endParaRPr>
          </a:p>
        </p:txBody>
      </p:sp>
      <p:sp>
        <p:nvSpPr>
          <p:cNvPr id="150744" name="Rectangle 233"/>
          <p:cNvSpPr>
            <a:spLocks noChangeArrowheads="1"/>
          </p:cNvSpPr>
          <p:nvPr/>
        </p:nvSpPr>
        <p:spPr bwMode="gray">
          <a:xfrm>
            <a:off x="3449638" y="1741488"/>
            <a:ext cx="690562"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US" sz="800" b="0">
                <a:solidFill>
                  <a:srgbClr val="FFFFFF"/>
                </a:solidFill>
              </a:rPr>
              <a:t>CS2 – Map</a:t>
            </a:r>
          </a:p>
        </p:txBody>
      </p:sp>
      <p:sp>
        <p:nvSpPr>
          <p:cNvPr id="150745" name="AutoShape 235"/>
          <p:cNvSpPr>
            <a:spLocks noChangeArrowheads="1"/>
          </p:cNvSpPr>
          <p:nvPr/>
        </p:nvSpPr>
        <p:spPr bwMode="gray">
          <a:xfrm>
            <a:off x="2306638" y="1739900"/>
            <a:ext cx="131762" cy="152400"/>
          </a:xfrm>
          <a:prstGeom prst="diamond">
            <a:avLst/>
          </a:prstGeom>
          <a:solidFill>
            <a:schemeClr val="tx2"/>
          </a:solidFill>
          <a:ln w="9525" algn="ctr">
            <a:noFill/>
            <a:miter lim="800000"/>
            <a:headEnd/>
            <a:tailEnd/>
          </a:ln>
        </p:spPr>
        <p:txBody>
          <a:bodyPr wrap="none" lIns="0" tIns="0" rIns="0" bIns="0" anchor="ctr"/>
          <a:lstStyle/>
          <a:p>
            <a:endParaRPr lang="en-US" b="0">
              <a:solidFill>
                <a:srgbClr val="000066"/>
              </a:solidFill>
            </a:endParaRPr>
          </a:p>
        </p:txBody>
      </p:sp>
      <p:sp>
        <p:nvSpPr>
          <p:cNvPr id="150746" name="Rectangle 236"/>
          <p:cNvSpPr>
            <a:spLocks noChangeArrowheads="1"/>
          </p:cNvSpPr>
          <p:nvPr/>
        </p:nvSpPr>
        <p:spPr bwMode="gray">
          <a:xfrm>
            <a:off x="2159000" y="1739900"/>
            <a:ext cx="215900"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US" sz="800" b="0">
                <a:solidFill>
                  <a:srgbClr val="FFFFFF"/>
                </a:solidFill>
              </a:rPr>
              <a:t>CS1</a:t>
            </a:r>
          </a:p>
        </p:txBody>
      </p:sp>
      <p:sp>
        <p:nvSpPr>
          <p:cNvPr id="150747" name="Freeform 237"/>
          <p:cNvSpPr>
            <a:spLocks/>
          </p:cNvSpPr>
          <p:nvPr/>
        </p:nvSpPr>
        <p:spPr bwMode="auto">
          <a:xfrm>
            <a:off x="7739063" y="1285875"/>
            <a:ext cx="217487" cy="703263"/>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w="9525">
            <a:noFill/>
            <a:round/>
            <a:headEnd/>
            <a:tailEnd/>
          </a:ln>
        </p:spPr>
        <p:txBody>
          <a:bodyPr/>
          <a:lstStyle/>
          <a:p>
            <a:endParaRPr lang="en-GB"/>
          </a:p>
        </p:txBody>
      </p:sp>
      <p:sp>
        <p:nvSpPr>
          <p:cNvPr id="150748" name="AutoShape 239"/>
          <p:cNvSpPr>
            <a:spLocks noChangeArrowheads="1"/>
          </p:cNvSpPr>
          <p:nvPr/>
        </p:nvSpPr>
        <p:spPr bwMode="gray">
          <a:xfrm>
            <a:off x="8175625" y="1739900"/>
            <a:ext cx="131763" cy="152400"/>
          </a:xfrm>
          <a:prstGeom prst="diamond">
            <a:avLst/>
          </a:prstGeom>
          <a:solidFill>
            <a:schemeClr val="tx2"/>
          </a:solidFill>
          <a:ln w="9525" algn="ctr">
            <a:noFill/>
            <a:miter lim="800000"/>
            <a:headEnd/>
            <a:tailEnd/>
          </a:ln>
        </p:spPr>
        <p:txBody>
          <a:bodyPr wrap="none" lIns="0" tIns="0" rIns="0" bIns="0" anchor="ctr"/>
          <a:lstStyle/>
          <a:p>
            <a:endParaRPr lang="en-US" b="0">
              <a:solidFill>
                <a:srgbClr val="000066"/>
              </a:solidFill>
            </a:endParaRPr>
          </a:p>
        </p:txBody>
      </p:sp>
      <p:sp>
        <p:nvSpPr>
          <p:cNvPr id="150749" name="Rectangle 240"/>
          <p:cNvSpPr>
            <a:spLocks noChangeArrowheads="1"/>
          </p:cNvSpPr>
          <p:nvPr/>
        </p:nvSpPr>
        <p:spPr bwMode="gray">
          <a:xfrm>
            <a:off x="7092950" y="1739900"/>
            <a:ext cx="1150938"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US" sz="800" b="0">
                <a:solidFill>
                  <a:srgbClr val="FFFFFF"/>
                </a:solidFill>
              </a:rPr>
              <a:t>Work pilot</a:t>
            </a:r>
          </a:p>
        </p:txBody>
      </p:sp>
      <p:sp>
        <p:nvSpPr>
          <p:cNvPr id="150750" name="AutoShape 241"/>
          <p:cNvSpPr>
            <a:spLocks noChangeArrowheads="1"/>
          </p:cNvSpPr>
          <p:nvPr/>
        </p:nvSpPr>
        <p:spPr bwMode="gray">
          <a:xfrm>
            <a:off x="4117975" y="1933575"/>
            <a:ext cx="131763" cy="107950"/>
          </a:xfrm>
          <a:prstGeom prst="triangle">
            <a:avLst>
              <a:gd name="adj" fmla="val 50000"/>
            </a:avLst>
          </a:prstGeom>
          <a:solidFill>
            <a:srgbClr val="FF0000"/>
          </a:solidFill>
          <a:ln w="9525" algn="ctr">
            <a:noFill/>
            <a:miter lim="800000"/>
            <a:headEnd/>
            <a:tailEnd/>
          </a:ln>
        </p:spPr>
        <p:txBody>
          <a:bodyPr wrap="none" lIns="0" tIns="0" rIns="0" bIns="0" anchor="ctr"/>
          <a:lstStyle/>
          <a:p>
            <a:endParaRPr lang="en-US" b="0">
              <a:solidFill>
                <a:srgbClr val="000066"/>
              </a:solidFill>
            </a:endParaRPr>
          </a:p>
        </p:txBody>
      </p:sp>
      <p:sp>
        <p:nvSpPr>
          <p:cNvPr id="150751" name="AutoShape 242"/>
          <p:cNvSpPr>
            <a:spLocks noChangeArrowheads="1"/>
          </p:cNvSpPr>
          <p:nvPr/>
        </p:nvSpPr>
        <p:spPr bwMode="gray">
          <a:xfrm>
            <a:off x="5160963" y="1933575"/>
            <a:ext cx="131762" cy="107950"/>
          </a:xfrm>
          <a:prstGeom prst="triangle">
            <a:avLst>
              <a:gd name="adj" fmla="val 50000"/>
            </a:avLst>
          </a:prstGeom>
          <a:solidFill>
            <a:srgbClr val="FF0000"/>
          </a:solidFill>
          <a:ln w="9525" algn="ctr">
            <a:noFill/>
            <a:miter lim="800000"/>
            <a:headEnd/>
            <a:tailEnd/>
          </a:ln>
        </p:spPr>
        <p:txBody>
          <a:bodyPr wrap="none" lIns="0" tIns="0" rIns="0" bIns="0" anchor="ctr"/>
          <a:lstStyle/>
          <a:p>
            <a:endParaRPr lang="en-US" b="0">
              <a:solidFill>
                <a:srgbClr val="000066"/>
              </a:solidFill>
            </a:endParaRPr>
          </a:p>
        </p:txBody>
      </p:sp>
      <p:sp>
        <p:nvSpPr>
          <p:cNvPr id="150752" name="AutoShape 244"/>
          <p:cNvSpPr>
            <a:spLocks noChangeArrowheads="1"/>
          </p:cNvSpPr>
          <p:nvPr/>
        </p:nvSpPr>
        <p:spPr bwMode="gray">
          <a:xfrm>
            <a:off x="6424613" y="1739900"/>
            <a:ext cx="131762" cy="152400"/>
          </a:xfrm>
          <a:prstGeom prst="diamond">
            <a:avLst/>
          </a:prstGeom>
          <a:solidFill>
            <a:schemeClr val="tx2"/>
          </a:solidFill>
          <a:ln w="9525" algn="ctr">
            <a:noFill/>
            <a:miter lim="800000"/>
            <a:headEnd/>
            <a:tailEnd/>
          </a:ln>
        </p:spPr>
        <p:txBody>
          <a:bodyPr wrap="none" lIns="0" tIns="0" rIns="0" bIns="0" anchor="ctr"/>
          <a:lstStyle/>
          <a:p>
            <a:endParaRPr lang="en-US" b="0">
              <a:solidFill>
                <a:srgbClr val="000066"/>
              </a:solidFill>
            </a:endParaRPr>
          </a:p>
        </p:txBody>
      </p:sp>
      <p:sp>
        <p:nvSpPr>
          <p:cNvPr id="150753" name="Rectangle 245"/>
          <p:cNvSpPr>
            <a:spLocks noChangeArrowheads="1"/>
          </p:cNvSpPr>
          <p:nvPr/>
        </p:nvSpPr>
        <p:spPr bwMode="gray">
          <a:xfrm>
            <a:off x="6048375" y="1739900"/>
            <a:ext cx="444500"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US" sz="800" b="0">
                <a:solidFill>
                  <a:srgbClr val="FFFFFF"/>
                </a:solidFill>
              </a:rPr>
              <a:t>FS2</a:t>
            </a:r>
          </a:p>
        </p:txBody>
      </p:sp>
      <p:sp>
        <p:nvSpPr>
          <p:cNvPr id="150754" name="AutoShape 246"/>
          <p:cNvSpPr>
            <a:spLocks noChangeArrowheads="1"/>
          </p:cNvSpPr>
          <p:nvPr/>
        </p:nvSpPr>
        <p:spPr bwMode="gray">
          <a:xfrm>
            <a:off x="6456363" y="1933575"/>
            <a:ext cx="131762" cy="107950"/>
          </a:xfrm>
          <a:prstGeom prst="triangle">
            <a:avLst>
              <a:gd name="adj" fmla="val 50000"/>
            </a:avLst>
          </a:prstGeom>
          <a:solidFill>
            <a:srgbClr val="FF0000"/>
          </a:solidFill>
          <a:ln w="9525" algn="ctr">
            <a:noFill/>
            <a:miter lim="800000"/>
            <a:headEnd/>
            <a:tailEnd/>
          </a:ln>
        </p:spPr>
        <p:txBody>
          <a:bodyPr wrap="none" lIns="0" tIns="0" rIns="0" bIns="0" anchor="ctr"/>
          <a:lstStyle/>
          <a:p>
            <a:endParaRPr lang="en-US" b="0">
              <a:solidFill>
                <a:srgbClr val="000066"/>
              </a:solidFill>
            </a:endParaRPr>
          </a:p>
        </p:txBody>
      </p:sp>
      <p:sp>
        <p:nvSpPr>
          <p:cNvPr id="150755" name="AutoShape 247"/>
          <p:cNvSpPr>
            <a:spLocks noChangeArrowheads="1"/>
          </p:cNvSpPr>
          <p:nvPr/>
        </p:nvSpPr>
        <p:spPr bwMode="gray">
          <a:xfrm>
            <a:off x="8185150" y="1933575"/>
            <a:ext cx="131763" cy="107950"/>
          </a:xfrm>
          <a:prstGeom prst="triangle">
            <a:avLst>
              <a:gd name="adj" fmla="val 50000"/>
            </a:avLst>
          </a:prstGeom>
          <a:solidFill>
            <a:srgbClr val="FF0000"/>
          </a:solidFill>
          <a:ln w="9525" algn="ctr">
            <a:noFill/>
            <a:miter lim="800000"/>
            <a:headEnd/>
            <a:tailEnd/>
          </a:ln>
        </p:spPr>
        <p:txBody>
          <a:bodyPr wrap="none" lIns="0" tIns="0" rIns="0" bIns="0" anchor="ctr"/>
          <a:lstStyle/>
          <a:p>
            <a:endParaRPr lang="en-US" b="0">
              <a:solidFill>
                <a:srgbClr val="000066"/>
              </a:solidFill>
            </a:endParaRPr>
          </a:p>
        </p:txBody>
      </p:sp>
      <p:sp>
        <p:nvSpPr>
          <p:cNvPr id="150756" name="AutoShape 249"/>
          <p:cNvSpPr>
            <a:spLocks noChangeArrowheads="1"/>
          </p:cNvSpPr>
          <p:nvPr/>
        </p:nvSpPr>
        <p:spPr bwMode="auto">
          <a:xfrm>
            <a:off x="611188" y="1068388"/>
            <a:ext cx="7632700" cy="180975"/>
          </a:xfrm>
          <a:prstGeom prst="homePlate">
            <a:avLst>
              <a:gd name="adj" fmla="val 0"/>
            </a:avLst>
          </a:prstGeom>
          <a:solidFill>
            <a:srgbClr val="6666FF"/>
          </a:solidFill>
          <a:ln w="19050">
            <a:solidFill>
              <a:schemeClr val="tx1"/>
            </a:solidFill>
            <a:miter lim="800000"/>
            <a:headEnd/>
            <a:tailEnd/>
          </a:ln>
        </p:spPr>
        <p:txBody>
          <a:bodyPr wrap="none" anchor="ctr"/>
          <a:lstStyle/>
          <a:p>
            <a:pPr algn="ctr"/>
            <a:endParaRPr lang="en-US" sz="1000" b="0">
              <a:solidFill>
                <a:srgbClr val="FFFFFF"/>
              </a:solidFill>
            </a:endParaRPr>
          </a:p>
        </p:txBody>
      </p:sp>
      <p:sp>
        <p:nvSpPr>
          <p:cNvPr id="150757" name="AutoShape 250"/>
          <p:cNvSpPr>
            <a:spLocks noChangeArrowheads="1"/>
          </p:cNvSpPr>
          <p:nvPr/>
        </p:nvSpPr>
        <p:spPr bwMode="auto">
          <a:xfrm>
            <a:off x="6443663" y="1069975"/>
            <a:ext cx="1800225" cy="176213"/>
          </a:xfrm>
          <a:prstGeom prst="homePlate">
            <a:avLst>
              <a:gd name="adj" fmla="val 0"/>
            </a:avLst>
          </a:prstGeom>
          <a:solidFill>
            <a:schemeClr val="tx1"/>
          </a:solidFill>
          <a:ln w="9525">
            <a:noFill/>
            <a:miter lim="800000"/>
            <a:headEnd/>
            <a:tailEnd/>
          </a:ln>
        </p:spPr>
        <p:txBody>
          <a:bodyPr wrap="none" anchor="ctr"/>
          <a:lstStyle/>
          <a:p>
            <a:pPr algn="ctr"/>
            <a:r>
              <a:rPr lang="en-GB" sz="1200" dirty="0" smtClean="0">
                <a:solidFill>
                  <a:srgbClr val="FFFFFF"/>
                </a:solidFill>
              </a:rPr>
              <a:t>Implementation</a:t>
            </a:r>
            <a:endParaRPr lang="en-GB" sz="1200" dirty="0">
              <a:solidFill>
                <a:srgbClr val="FFFFFF"/>
              </a:solidFill>
            </a:endParaRPr>
          </a:p>
        </p:txBody>
      </p:sp>
      <p:sp>
        <p:nvSpPr>
          <p:cNvPr id="150758" name="AutoShape 251"/>
          <p:cNvSpPr>
            <a:spLocks noChangeArrowheads="1"/>
          </p:cNvSpPr>
          <p:nvPr/>
        </p:nvSpPr>
        <p:spPr bwMode="gray">
          <a:xfrm>
            <a:off x="6376988" y="1068388"/>
            <a:ext cx="179387" cy="179387"/>
          </a:xfrm>
          <a:prstGeom prst="diamond">
            <a:avLst/>
          </a:prstGeom>
          <a:solidFill>
            <a:srgbClr val="6666FF"/>
          </a:solidFill>
          <a:ln w="12700" algn="ctr">
            <a:solidFill>
              <a:schemeClr val="tx1"/>
            </a:solidFill>
            <a:miter lim="800000"/>
            <a:headEnd/>
            <a:tailEnd/>
          </a:ln>
        </p:spPr>
        <p:txBody>
          <a:bodyPr wrap="none" lIns="0" tIns="0" rIns="0" bIns="0" anchor="ctr"/>
          <a:lstStyle/>
          <a:p>
            <a:endParaRPr lang="en-US" b="0">
              <a:solidFill>
                <a:srgbClr val="000066"/>
              </a:solidFill>
            </a:endParaRPr>
          </a:p>
        </p:txBody>
      </p:sp>
      <p:sp>
        <p:nvSpPr>
          <p:cNvPr id="150759" name="AutoShape 252"/>
          <p:cNvSpPr>
            <a:spLocks noChangeArrowheads="1"/>
          </p:cNvSpPr>
          <p:nvPr/>
        </p:nvSpPr>
        <p:spPr bwMode="auto">
          <a:xfrm>
            <a:off x="4140200" y="1069975"/>
            <a:ext cx="2327275" cy="176213"/>
          </a:xfrm>
          <a:prstGeom prst="homePlate">
            <a:avLst>
              <a:gd name="adj" fmla="val 0"/>
            </a:avLst>
          </a:prstGeom>
          <a:solidFill>
            <a:srgbClr val="6666FF"/>
          </a:solidFill>
          <a:ln w="9525">
            <a:noFill/>
            <a:miter lim="800000"/>
            <a:headEnd/>
            <a:tailEnd/>
          </a:ln>
        </p:spPr>
        <p:txBody>
          <a:bodyPr wrap="none" anchor="ctr"/>
          <a:lstStyle/>
          <a:p>
            <a:pPr algn="ctr"/>
            <a:r>
              <a:rPr lang="en-GB" sz="1000" b="0">
                <a:solidFill>
                  <a:srgbClr val="FFFFFF"/>
                </a:solidFill>
              </a:rPr>
              <a:t>Future State</a:t>
            </a:r>
          </a:p>
        </p:txBody>
      </p:sp>
      <p:sp>
        <p:nvSpPr>
          <p:cNvPr id="150764" name="AutoShape 257"/>
          <p:cNvSpPr>
            <a:spLocks noChangeArrowheads="1"/>
          </p:cNvSpPr>
          <p:nvPr/>
        </p:nvSpPr>
        <p:spPr bwMode="gray">
          <a:xfrm>
            <a:off x="8158163" y="1068388"/>
            <a:ext cx="179387" cy="179387"/>
          </a:xfrm>
          <a:prstGeom prst="diamond">
            <a:avLst/>
          </a:prstGeom>
          <a:solidFill>
            <a:schemeClr val="tx1"/>
          </a:solidFill>
          <a:ln w="12700" algn="ctr">
            <a:solidFill>
              <a:schemeClr val="tx1"/>
            </a:solidFill>
            <a:miter lim="800000"/>
            <a:headEnd/>
            <a:tailEnd/>
          </a:ln>
        </p:spPr>
        <p:txBody>
          <a:bodyPr wrap="none" lIns="0" tIns="0" rIns="0" bIns="0" anchor="ctr"/>
          <a:lstStyle/>
          <a:p>
            <a:endParaRPr lang="en-US" b="0">
              <a:solidFill>
                <a:srgbClr val="000066"/>
              </a:solidFill>
            </a:endParaRPr>
          </a:p>
        </p:txBody>
      </p:sp>
      <p:sp>
        <p:nvSpPr>
          <p:cNvPr id="150765" name="Rectangle 258"/>
          <p:cNvSpPr>
            <a:spLocks noChangeArrowheads="1"/>
          </p:cNvSpPr>
          <p:nvPr/>
        </p:nvSpPr>
        <p:spPr bwMode="auto">
          <a:xfrm>
            <a:off x="8139113" y="1071563"/>
            <a:ext cx="104775" cy="173037"/>
          </a:xfrm>
          <a:prstGeom prst="rect">
            <a:avLst/>
          </a:prstGeom>
          <a:solidFill>
            <a:schemeClr val="tx1"/>
          </a:solidFill>
          <a:ln w="9525">
            <a:noFill/>
            <a:miter lim="800000"/>
            <a:headEnd/>
            <a:tailEnd/>
          </a:ln>
        </p:spPr>
        <p:txBody>
          <a:bodyPr wrap="none" anchor="ctr"/>
          <a:lstStyle/>
          <a:p>
            <a:endParaRPr lang="en-US" b="0">
              <a:solidFill>
                <a:srgbClr val="000066"/>
              </a:solidFill>
            </a:endParaRPr>
          </a:p>
        </p:txBody>
      </p:sp>
      <p:sp>
        <p:nvSpPr>
          <p:cNvPr id="150766" name="Rectangle 261"/>
          <p:cNvSpPr>
            <a:spLocks noChangeArrowheads="1"/>
          </p:cNvSpPr>
          <p:nvPr/>
        </p:nvSpPr>
        <p:spPr bwMode="auto">
          <a:xfrm>
            <a:off x="611188" y="2216150"/>
            <a:ext cx="7848600" cy="665163"/>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Mobilisation: 	</a:t>
            </a:r>
            <a:r>
              <a:rPr lang="en-GB" sz="1200" b="0">
                <a:solidFill>
                  <a:srgbClr val="000066"/>
                </a:solidFill>
              </a:rPr>
              <a:t>Kick-off, confirm scope, SIPOC, team – complete project charter</a:t>
            </a:r>
          </a:p>
        </p:txBody>
      </p:sp>
      <p:sp>
        <p:nvSpPr>
          <p:cNvPr id="150767" name="AutoShape 262"/>
          <p:cNvSpPr>
            <a:spLocks noChangeArrowheads="1"/>
          </p:cNvSpPr>
          <p:nvPr/>
        </p:nvSpPr>
        <p:spPr bwMode="auto">
          <a:xfrm>
            <a:off x="611188" y="2205038"/>
            <a:ext cx="431800" cy="684212"/>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M</a:t>
            </a:r>
          </a:p>
        </p:txBody>
      </p:sp>
      <p:sp>
        <p:nvSpPr>
          <p:cNvPr id="150768" name="Rectangle 263"/>
          <p:cNvSpPr>
            <a:spLocks noChangeArrowheads="1"/>
          </p:cNvSpPr>
          <p:nvPr/>
        </p:nvSpPr>
        <p:spPr bwMode="auto">
          <a:xfrm>
            <a:off x="7812088" y="2276475"/>
            <a:ext cx="603250" cy="528638"/>
          </a:xfrm>
          <a:prstGeom prst="rect">
            <a:avLst/>
          </a:prstGeom>
          <a:solidFill>
            <a:srgbClr val="6666FF"/>
          </a:solidFill>
          <a:ln w="9525">
            <a:noFill/>
            <a:miter lim="800000"/>
            <a:headEnd/>
            <a:tailEnd/>
          </a:ln>
        </p:spPr>
        <p:txBody>
          <a:bodyPr wrap="none" anchor="ctr"/>
          <a:lstStyle/>
          <a:p>
            <a:pPr algn="ctr"/>
            <a:r>
              <a:rPr lang="en-GB" sz="1200" b="0">
                <a:solidFill>
                  <a:srgbClr val="000066"/>
                </a:solidFill>
              </a:rPr>
              <a:t>½ day</a:t>
            </a:r>
          </a:p>
        </p:txBody>
      </p:sp>
      <p:sp>
        <p:nvSpPr>
          <p:cNvPr id="150769" name="Rectangle 264"/>
          <p:cNvSpPr>
            <a:spLocks noChangeArrowheads="1"/>
          </p:cNvSpPr>
          <p:nvPr/>
        </p:nvSpPr>
        <p:spPr bwMode="auto">
          <a:xfrm>
            <a:off x="7812088" y="2997200"/>
            <a:ext cx="603250" cy="528638"/>
          </a:xfrm>
          <a:prstGeom prst="rect">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1 day</a:t>
            </a:r>
          </a:p>
        </p:txBody>
      </p:sp>
      <p:sp>
        <p:nvSpPr>
          <p:cNvPr id="150770" name="Rectangle 267"/>
          <p:cNvSpPr>
            <a:spLocks noChangeArrowheads="1"/>
          </p:cNvSpPr>
          <p:nvPr/>
        </p:nvSpPr>
        <p:spPr bwMode="auto">
          <a:xfrm>
            <a:off x="611188" y="3656013"/>
            <a:ext cx="7848600" cy="665162"/>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Current State 2:	</a:t>
            </a:r>
            <a:r>
              <a:rPr lang="en-GB" sz="1200" b="0">
                <a:solidFill>
                  <a:srgbClr val="000066"/>
                </a:solidFill>
              </a:rPr>
              <a:t>Seeing is believing, as-is value stream map</a:t>
            </a:r>
          </a:p>
        </p:txBody>
      </p:sp>
      <p:sp>
        <p:nvSpPr>
          <p:cNvPr id="150771" name="AutoShape 268"/>
          <p:cNvSpPr>
            <a:spLocks noChangeArrowheads="1"/>
          </p:cNvSpPr>
          <p:nvPr/>
        </p:nvSpPr>
        <p:spPr bwMode="auto">
          <a:xfrm>
            <a:off x="611188" y="3644900"/>
            <a:ext cx="431800" cy="684213"/>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CS2</a:t>
            </a:r>
          </a:p>
        </p:txBody>
      </p:sp>
      <p:sp>
        <p:nvSpPr>
          <p:cNvPr id="150772" name="Rectangle 269"/>
          <p:cNvSpPr>
            <a:spLocks noChangeArrowheads="1"/>
          </p:cNvSpPr>
          <p:nvPr/>
        </p:nvSpPr>
        <p:spPr bwMode="auto">
          <a:xfrm>
            <a:off x="7812088" y="3716338"/>
            <a:ext cx="603250" cy="528637"/>
          </a:xfrm>
          <a:prstGeom prst="rect">
            <a:avLst/>
          </a:prstGeom>
          <a:solidFill>
            <a:srgbClr val="6666FF"/>
          </a:solidFill>
          <a:ln w="9525">
            <a:noFill/>
            <a:miter lim="800000"/>
            <a:headEnd/>
            <a:tailEnd/>
          </a:ln>
        </p:spPr>
        <p:txBody>
          <a:bodyPr wrap="none" anchor="ctr"/>
          <a:lstStyle/>
          <a:p>
            <a:pPr algn="ctr"/>
            <a:r>
              <a:rPr lang="en-GB" sz="1200" b="0">
                <a:solidFill>
                  <a:srgbClr val="000066"/>
                </a:solidFill>
              </a:rPr>
              <a:t>3 days</a:t>
            </a:r>
          </a:p>
        </p:txBody>
      </p:sp>
      <p:sp>
        <p:nvSpPr>
          <p:cNvPr id="150773" name="Rectangle 272"/>
          <p:cNvSpPr>
            <a:spLocks noChangeArrowheads="1"/>
          </p:cNvSpPr>
          <p:nvPr/>
        </p:nvSpPr>
        <p:spPr bwMode="auto">
          <a:xfrm>
            <a:off x="611188" y="4375150"/>
            <a:ext cx="7848600" cy="665163"/>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Future State 1:	</a:t>
            </a:r>
            <a:r>
              <a:rPr lang="en-GB" sz="1200" b="0">
                <a:solidFill>
                  <a:srgbClr val="000066"/>
                </a:solidFill>
              </a:rPr>
              <a:t>Value and waste analysis, blue sky vision, to-be value stream map</a:t>
            </a:r>
          </a:p>
        </p:txBody>
      </p:sp>
      <p:sp>
        <p:nvSpPr>
          <p:cNvPr id="150774" name="AutoShape 273"/>
          <p:cNvSpPr>
            <a:spLocks noChangeArrowheads="1"/>
          </p:cNvSpPr>
          <p:nvPr/>
        </p:nvSpPr>
        <p:spPr bwMode="auto">
          <a:xfrm>
            <a:off x="611188" y="4364038"/>
            <a:ext cx="431800" cy="684212"/>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FS1</a:t>
            </a:r>
          </a:p>
        </p:txBody>
      </p:sp>
      <p:sp>
        <p:nvSpPr>
          <p:cNvPr id="150775" name="Rectangle 274"/>
          <p:cNvSpPr>
            <a:spLocks noChangeArrowheads="1"/>
          </p:cNvSpPr>
          <p:nvPr/>
        </p:nvSpPr>
        <p:spPr bwMode="auto">
          <a:xfrm>
            <a:off x="7812088" y="4437063"/>
            <a:ext cx="603250" cy="528637"/>
          </a:xfrm>
          <a:prstGeom prst="rect">
            <a:avLst/>
          </a:prstGeom>
          <a:solidFill>
            <a:srgbClr val="6666FF"/>
          </a:solidFill>
          <a:ln w="9525">
            <a:noFill/>
            <a:miter lim="800000"/>
            <a:headEnd/>
            <a:tailEnd/>
          </a:ln>
        </p:spPr>
        <p:txBody>
          <a:bodyPr wrap="none" anchor="ctr"/>
          <a:lstStyle/>
          <a:p>
            <a:pPr algn="ctr"/>
            <a:r>
              <a:rPr lang="en-GB" sz="1200" b="0">
                <a:solidFill>
                  <a:srgbClr val="000066"/>
                </a:solidFill>
              </a:rPr>
              <a:t>2 days</a:t>
            </a:r>
          </a:p>
        </p:txBody>
      </p:sp>
      <p:sp>
        <p:nvSpPr>
          <p:cNvPr id="150776" name="Rectangle 277"/>
          <p:cNvSpPr>
            <a:spLocks noChangeArrowheads="1"/>
          </p:cNvSpPr>
          <p:nvPr/>
        </p:nvSpPr>
        <p:spPr bwMode="auto">
          <a:xfrm>
            <a:off x="611188" y="5095875"/>
            <a:ext cx="7848600" cy="665163"/>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Future State 2:	Work package definition and charters, prioritisation </a:t>
            </a:r>
          </a:p>
          <a:p>
            <a:pPr>
              <a:tabLst>
                <a:tab pos="1430338" algn="l"/>
              </a:tabLst>
            </a:pPr>
            <a:r>
              <a:rPr lang="en-GB" sz="1400" b="0">
                <a:solidFill>
                  <a:srgbClr val="000066"/>
                </a:solidFill>
              </a:rPr>
              <a:t>	and high level plan</a:t>
            </a:r>
          </a:p>
        </p:txBody>
      </p:sp>
      <p:sp>
        <p:nvSpPr>
          <p:cNvPr id="150777" name="AutoShape 278"/>
          <p:cNvSpPr>
            <a:spLocks noChangeArrowheads="1"/>
          </p:cNvSpPr>
          <p:nvPr/>
        </p:nvSpPr>
        <p:spPr bwMode="auto">
          <a:xfrm>
            <a:off x="611188" y="5084763"/>
            <a:ext cx="431800" cy="684212"/>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FS2</a:t>
            </a:r>
          </a:p>
        </p:txBody>
      </p:sp>
      <p:sp>
        <p:nvSpPr>
          <p:cNvPr id="150778" name="Rectangle 279"/>
          <p:cNvSpPr>
            <a:spLocks noChangeArrowheads="1"/>
          </p:cNvSpPr>
          <p:nvPr/>
        </p:nvSpPr>
        <p:spPr bwMode="auto">
          <a:xfrm>
            <a:off x="7812088" y="5157788"/>
            <a:ext cx="603250" cy="528637"/>
          </a:xfrm>
          <a:prstGeom prst="rect">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2 days</a:t>
            </a:r>
          </a:p>
        </p:txBody>
      </p:sp>
      <p:sp>
        <p:nvSpPr>
          <p:cNvPr id="150779" name="Rectangle 282"/>
          <p:cNvSpPr>
            <a:spLocks noChangeArrowheads="1"/>
          </p:cNvSpPr>
          <p:nvPr/>
        </p:nvSpPr>
        <p:spPr bwMode="auto">
          <a:xfrm>
            <a:off x="611188" y="5816600"/>
            <a:ext cx="7848600" cy="665163"/>
          </a:xfrm>
          <a:prstGeom prst="rect">
            <a:avLst/>
          </a:prstGeom>
          <a:solidFill>
            <a:srgbClr val="E5E5CC"/>
          </a:solidFill>
          <a:ln w="9525">
            <a:noFill/>
            <a:miter lim="800000"/>
            <a:headEnd/>
            <a:tailEnd/>
          </a:ln>
        </p:spPr>
        <p:txBody>
          <a:bodyPr wrap="none" lIns="576000" tIns="0" rIns="0" bIns="0" anchor="ctr"/>
          <a:lstStyle/>
          <a:p>
            <a:pPr>
              <a:tabLst>
                <a:tab pos="1430338" algn="l"/>
              </a:tabLst>
            </a:pPr>
            <a:r>
              <a:rPr lang="en-GB" sz="1400">
                <a:solidFill>
                  <a:srgbClr val="000066"/>
                </a:solidFill>
              </a:rPr>
              <a:t>Work Pilot:	Test the changes and refine the design before roll-out</a:t>
            </a:r>
          </a:p>
        </p:txBody>
      </p:sp>
      <p:sp>
        <p:nvSpPr>
          <p:cNvPr id="150780" name="AutoShape 283"/>
          <p:cNvSpPr>
            <a:spLocks noChangeArrowheads="1"/>
          </p:cNvSpPr>
          <p:nvPr/>
        </p:nvSpPr>
        <p:spPr bwMode="auto">
          <a:xfrm>
            <a:off x="552450" y="5805488"/>
            <a:ext cx="490538" cy="671512"/>
          </a:xfrm>
          <a:prstGeom prst="homePlate">
            <a:avLst>
              <a:gd name="adj" fmla="val 32597"/>
            </a:avLst>
          </a:prstGeom>
          <a:solidFill>
            <a:schemeClr val="tx1"/>
          </a:solidFill>
          <a:ln w="25400">
            <a:noFill/>
            <a:miter lim="800000"/>
            <a:headEnd/>
            <a:tailEnd/>
          </a:ln>
        </p:spPr>
        <p:txBody>
          <a:bodyPr wrap="none" lIns="36000" tIns="0" rIns="0" bIns="0" anchor="ctr"/>
          <a:lstStyle/>
          <a:p>
            <a:pPr algn="ctr"/>
            <a:r>
              <a:rPr lang="en-GB" sz="1200">
                <a:solidFill>
                  <a:srgbClr val="FFFFFF"/>
                </a:solidFill>
              </a:rPr>
              <a:t>WP</a:t>
            </a:r>
          </a:p>
        </p:txBody>
      </p:sp>
      <p:sp>
        <p:nvSpPr>
          <p:cNvPr id="150781" name="Rectangle 284"/>
          <p:cNvSpPr>
            <a:spLocks noChangeArrowheads="1"/>
          </p:cNvSpPr>
          <p:nvPr/>
        </p:nvSpPr>
        <p:spPr bwMode="auto">
          <a:xfrm>
            <a:off x="7812088" y="5876925"/>
            <a:ext cx="603250" cy="528638"/>
          </a:xfrm>
          <a:prstGeom prst="rect">
            <a:avLst/>
          </a:prstGeom>
          <a:solidFill>
            <a:schemeClr val="tx1"/>
          </a:solidFill>
          <a:ln w="25400">
            <a:solidFill>
              <a:schemeClr val="bg1"/>
            </a:solidFill>
            <a:miter lim="800000"/>
            <a:headEnd/>
            <a:tailEnd/>
          </a:ln>
        </p:spPr>
        <p:txBody>
          <a:bodyPr wrap="none" lIns="36000" tIns="0" rIns="0" bIns="0" anchor="ctr"/>
          <a:lstStyle/>
          <a:p>
            <a:pPr algn="ctr"/>
            <a:r>
              <a:rPr lang="en-GB" sz="1200">
                <a:solidFill>
                  <a:srgbClr val="FFFFFF"/>
                </a:solidFill>
              </a:rPr>
              <a:t>8 weeks</a:t>
            </a:r>
          </a:p>
        </p:txBody>
      </p:sp>
      <p:sp>
        <p:nvSpPr>
          <p:cNvPr id="64" name="AutoShape 254"/>
          <p:cNvSpPr>
            <a:spLocks noChangeArrowheads="1"/>
          </p:cNvSpPr>
          <p:nvPr/>
        </p:nvSpPr>
        <p:spPr bwMode="gray">
          <a:xfrm>
            <a:off x="4065588" y="1075420"/>
            <a:ext cx="179388" cy="179388"/>
          </a:xfrm>
          <a:prstGeom prst="diamond">
            <a:avLst/>
          </a:prstGeom>
          <a:solidFill>
            <a:srgbClr val="6666FF"/>
          </a:solidFill>
          <a:ln w="12700" algn="ctr">
            <a:solidFill>
              <a:schemeClr val="tx1"/>
            </a:solidFill>
            <a:miter lim="800000"/>
            <a:headEnd/>
            <a:tailEnd/>
          </a:ln>
        </p:spPr>
        <p:txBody>
          <a:bodyPr wrap="none" lIns="0" tIns="0" rIns="0" bIns="0" anchor="ctr"/>
          <a:lstStyle/>
          <a:p>
            <a:endParaRPr lang="en-US"/>
          </a:p>
        </p:txBody>
      </p:sp>
      <p:sp>
        <p:nvSpPr>
          <p:cNvPr id="65" name="AutoShape 255"/>
          <p:cNvSpPr>
            <a:spLocks noChangeArrowheads="1"/>
          </p:cNvSpPr>
          <p:nvPr/>
        </p:nvSpPr>
        <p:spPr bwMode="auto">
          <a:xfrm>
            <a:off x="2047876" y="1077008"/>
            <a:ext cx="2106613" cy="176213"/>
          </a:xfrm>
          <a:prstGeom prst="homePlate">
            <a:avLst>
              <a:gd name="adj" fmla="val 0"/>
            </a:avLst>
          </a:prstGeom>
          <a:solidFill>
            <a:srgbClr val="6666FF"/>
          </a:solidFill>
          <a:ln w="9525">
            <a:noFill/>
            <a:miter lim="800000"/>
            <a:headEnd/>
            <a:tailEnd/>
          </a:ln>
        </p:spPr>
        <p:txBody>
          <a:bodyPr wrap="none" anchor="ctr"/>
          <a:lstStyle/>
          <a:p>
            <a:pPr algn="ctr"/>
            <a:r>
              <a:rPr lang="en-GB" sz="1000" b="0">
                <a:solidFill>
                  <a:schemeClr val="bg1"/>
                </a:solidFill>
              </a:rPr>
              <a:t>Current State</a:t>
            </a:r>
          </a:p>
        </p:txBody>
      </p:sp>
      <p:sp>
        <p:nvSpPr>
          <p:cNvPr id="66" name="AutoShape 256"/>
          <p:cNvSpPr>
            <a:spLocks noChangeArrowheads="1"/>
          </p:cNvSpPr>
          <p:nvPr/>
        </p:nvSpPr>
        <p:spPr bwMode="gray">
          <a:xfrm>
            <a:off x="1968501" y="1075420"/>
            <a:ext cx="179388" cy="179388"/>
          </a:xfrm>
          <a:prstGeom prst="diamond">
            <a:avLst/>
          </a:prstGeom>
          <a:solidFill>
            <a:srgbClr val="6666FF"/>
          </a:solidFill>
          <a:ln w="9525" algn="ctr">
            <a:solidFill>
              <a:schemeClr val="tx1"/>
            </a:solidFill>
            <a:miter lim="800000"/>
            <a:headEnd/>
            <a:tailEnd/>
          </a:ln>
        </p:spPr>
        <p:txBody>
          <a:bodyPr wrap="none" lIns="0" tIns="0" rIns="0" bIns="0" anchor="ctr"/>
          <a:lstStyle/>
          <a:p>
            <a:endParaRPr lang="en-US"/>
          </a:p>
        </p:txBody>
      </p:sp>
      <p:sp>
        <p:nvSpPr>
          <p:cNvPr id="67" name="AutoShape 259"/>
          <p:cNvSpPr>
            <a:spLocks noChangeArrowheads="1"/>
          </p:cNvSpPr>
          <p:nvPr/>
        </p:nvSpPr>
        <p:spPr bwMode="auto">
          <a:xfrm>
            <a:off x="611188" y="1077008"/>
            <a:ext cx="1439863" cy="176213"/>
          </a:xfrm>
          <a:prstGeom prst="homePlate">
            <a:avLst>
              <a:gd name="adj" fmla="val 0"/>
            </a:avLst>
          </a:prstGeom>
          <a:solidFill>
            <a:srgbClr val="6666FF"/>
          </a:solidFill>
          <a:ln w="9525">
            <a:noFill/>
            <a:miter lim="800000"/>
            <a:headEnd/>
            <a:tailEnd/>
          </a:ln>
        </p:spPr>
        <p:txBody>
          <a:bodyPr wrap="none" anchor="ctr"/>
          <a:lstStyle/>
          <a:p>
            <a:pPr algn="ctr"/>
            <a:r>
              <a:rPr lang="en-GB" sz="1000" b="0">
                <a:solidFill>
                  <a:schemeClr val="bg1"/>
                </a:solidFill>
              </a:rPr>
              <a:t>Mobilisation</a:t>
            </a:r>
          </a:p>
        </p:txBody>
      </p:sp>
    </p:spTree>
    <p:extLst>
      <p:ext uri="{BB962C8B-B14F-4D97-AF65-F5344CB8AC3E}">
        <p14:creationId xmlns:p14="http://schemas.microsoft.com/office/powerpoint/2010/main" val="847713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9"/>
          <p:cNvSpPr>
            <a:spLocks noGrp="1" noChangeArrowheads="1"/>
          </p:cNvSpPr>
          <p:nvPr>
            <p:ph type="title"/>
          </p:nvPr>
        </p:nvSpPr>
        <p:spPr/>
        <p:txBody>
          <a:bodyPr/>
          <a:lstStyle/>
          <a:p>
            <a:pPr eaLnBrk="1" hangingPunct="1"/>
            <a:r>
              <a:rPr lang="en-GB" sz="2400" smtClean="0"/>
              <a:t>The Deloitte 5 Workshop Approach </a:t>
            </a:r>
            <a:r>
              <a:rPr lang="en-GB" sz="3500" smtClean="0"/>
              <a:t/>
            </a:r>
            <a:br>
              <a:rPr lang="en-GB" sz="3500" smtClean="0"/>
            </a:br>
            <a:r>
              <a:rPr lang="en-GB" sz="1800" b="1" smtClean="0">
                <a:solidFill>
                  <a:srgbClr val="99CC33"/>
                </a:solidFill>
                <a:cs typeface="Arial" pitchFamily="34" charset="0"/>
              </a:rPr>
              <a:t> Where does today fit in the 5 Workshop approach?</a:t>
            </a:r>
          </a:p>
        </p:txBody>
      </p:sp>
      <p:sp>
        <p:nvSpPr>
          <p:cNvPr id="126979" name="Slide Number Placeholder 4"/>
          <p:cNvSpPr>
            <a:spLocks noGrp="1"/>
          </p:cNvSpPr>
          <p:nvPr>
            <p:ph type="sldNum" sz="quarter" idx="11"/>
          </p:nvPr>
        </p:nvSpPr>
        <p:spPr>
          <a:noFill/>
        </p:spPr>
        <p:txBody>
          <a:bodyPr/>
          <a:lstStyle/>
          <a:p>
            <a:fld id="{2BC2813E-271C-4D41-AE3F-B9DD4209B7EB}" type="slidenum">
              <a:rPr lang="en-GB" altLang="en-GB"/>
              <a:pPr/>
              <a:t>17</a:t>
            </a:fld>
            <a:endParaRPr lang="en-GB" altLang="en-GB"/>
          </a:p>
        </p:txBody>
      </p:sp>
      <p:sp>
        <p:nvSpPr>
          <p:cNvPr id="39" name="Rectangle 44"/>
          <p:cNvSpPr>
            <a:spLocks noChangeArrowheads="1"/>
          </p:cNvSpPr>
          <p:nvPr/>
        </p:nvSpPr>
        <p:spPr bwMode="auto">
          <a:xfrm>
            <a:off x="250825" y="1052513"/>
            <a:ext cx="8713788" cy="5259387"/>
          </a:xfrm>
          <a:prstGeom prst="rect">
            <a:avLst/>
          </a:prstGeom>
          <a:solidFill>
            <a:srgbClr val="B2B2FF"/>
          </a:solidFill>
          <a:ln w="9525">
            <a:solidFill>
              <a:schemeClr val="tx1"/>
            </a:solidFill>
            <a:miter lim="800000"/>
            <a:headEnd/>
            <a:tailEnd/>
          </a:ln>
        </p:spPr>
        <p:txBody>
          <a:bodyPr wrap="none" anchor="ctr"/>
          <a:lstStyle/>
          <a:p>
            <a:endParaRPr lang="en-US" b="1">
              <a:solidFill>
                <a:srgbClr val="FFFFFF"/>
              </a:solidFill>
            </a:endParaRPr>
          </a:p>
        </p:txBody>
      </p:sp>
      <p:sp>
        <p:nvSpPr>
          <p:cNvPr id="40" name="Rectangle 3"/>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chemeClr val="bg1"/>
                </a:solidFill>
              </a:rPr>
              <a:t>	</a:t>
            </a:r>
          </a:p>
        </p:txBody>
      </p:sp>
      <p:sp>
        <p:nvSpPr>
          <p:cNvPr id="41" name="Rectangle 4"/>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chemeClr val="bg1"/>
                </a:solidFill>
              </a:rPr>
              <a:t>	</a:t>
            </a:r>
          </a:p>
        </p:txBody>
      </p:sp>
      <p:sp>
        <p:nvSpPr>
          <p:cNvPr id="42" name="Rectangle 5"/>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chemeClr val="bg1"/>
                </a:solidFill>
              </a:rPr>
              <a:t>	</a:t>
            </a:r>
          </a:p>
        </p:txBody>
      </p:sp>
      <p:sp>
        <p:nvSpPr>
          <p:cNvPr id="43" name="Rectangle 6"/>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chemeClr val="bg1"/>
                </a:solidFill>
              </a:rPr>
              <a:t>	</a:t>
            </a:r>
          </a:p>
        </p:txBody>
      </p:sp>
      <p:sp>
        <p:nvSpPr>
          <p:cNvPr id="44" name="Rectangle 7"/>
          <p:cNvSpPr>
            <a:spLocks noChangeArrowheads="1"/>
          </p:cNvSpPr>
          <p:nvPr/>
        </p:nvSpPr>
        <p:spPr bwMode="auto">
          <a:xfrm>
            <a:off x="2928938" y="1217613"/>
            <a:ext cx="1162050" cy="366712"/>
          </a:xfrm>
          <a:prstGeom prst="rect">
            <a:avLst/>
          </a:prstGeom>
          <a:noFill/>
          <a:ln w="9525">
            <a:noFill/>
            <a:miter lim="800000"/>
            <a:headEnd/>
            <a:tailEnd/>
          </a:ln>
        </p:spPr>
        <p:txBody>
          <a:bodyPr wrap="none" anchor="ctr">
            <a:spAutoFit/>
          </a:bodyPr>
          <a:lstStyle/>
          <a:p>
            <a:r>
              <a:rPr lang="en-GB">
                <a:solidFill>
                  <a:schemeClr val="bg1"/>
                </a:solidFill>
              </a:rPr>
              <a:t>	 </a:t>
            </a:r>
          </a:p>
        </p:txBody>
      </p:sp>
      <p:sp>
        <p:nvSpPr>
          <p:cNvPr id="45" name="Text Box 8"/>
          <p:cNvSpPr txBox="1">
            <a:spLocks noChangeArrowheads="1"/>
          </p:cNvSpPr>
          <p:nvPr/>
        </p:nvSpPr>
        <p:spPr bwMode="gray">
          <a:xfrm>
            <a:off x="649288" y="2781300"/>
            <a:ext cx="1306512"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Lean Awarenes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Validation of end to end process scope</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Value tree analysi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Refine charter</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Confirm data requirement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Identify design boundaries</a:t>
            </a:r>
          </a:p>
        </p:txBody>
      </p:sp>
      <p:sp>
        <p:nvSpPr>
          <p:cNvPr id="46" name="Text Box 9"/>
          <p:cNvSpPr txBox="1">
            <a:spLocks noChangeArrowheads="1"/>
          </p:cNvSpPr>
          <p:nvPr/>
        </p:nvSpPr>
        <p:spPr bwMode="gray">
          <a:xfrm>
            <a:off x="3413125" y="2781300"/>
            <a:ext cx="1306513"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Seeing is Believing - Walk the process to understand what really happens, how long it takes, and what the key issues are</a:t>
            </a:r>
          </a:p>
          <a:p>
            <a:pPr marL="119063" indent="-119063">
              <a:lnSpc>
                <a:spcPct val="90000"/>
              </a:lnSpc>
              <a:spcBef>
                <a:spcPct val="30000"/>
              </a:spcBef>
              <a:buClr>
                <a:srgbClr val="000066"/>
              </a:buClr>
              <a:buFont typeface="Wingdings" pitchFamily="2" charset="2"/>
              <a:buChar char="§"/>
            </a:pPr>
            <a:r>
              <a:rPr lang="en-US" sz="900" b="0">
                <a:solidFill>
                  <a:srgbClr val="000066"/>
                </a:solidFill>
              </a:rPr>
              <a:t>Construct the current end to end value stream map</a:t>
            </a:r>
          </a:p>
        </p:txBody>
      </p:sp>
      <p:sp>
        <p:nvSpPr>
          <p:cNvPr id="47" name="Text Box 10"/>
          <p:cNvSpPr txBox="1">
            <a:spLocks noChangeArrowheads="1"/>
          </p:cNvSpPr>
          <p:nvPr/>
        </p:nvSpPr>
        <p:spPr bwMode="gray">
          <a:xfrm>
            <a:off x="6178550" y="2781300"/>
            <a:ext cx="1306513"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Identify the implementation work packages and draft charters</a:t>
            </a:r>
          </a:p>
          <a:p>
            <a:pPr marL="119063" indent="-119063">
              <a:lnSpc>
                <a:spcPct val="90000"/>
              </a:lnSpc>
              <a:spcBef>
                <a:spcPct val="30000"/>
              </a:spcBef>
              <a:buClr>
                <a:srgbClr val="000066"/>
              </a:buClr>
              <a:buFont typeface="Wingdings" pitchFamily="2" charset="2"/>
              <a:buChar char="§"/>
            </a:pPr>
            <a:r>
              <a:rPr lang="en-US" sz="900" b="0">
                <a:solidFill>
                  <a:srgbClr val="000066"/>
                </a:solidFill>
              </a:rPr>
              <a:t>Prioritise work packages</a:t>
            </a:r>
          </a:p>
          <a:p>
            <a:pPr marL="119063" indent="-119063">
              <a:lnSpc>
                <a:spcPct val="90000"/>
              </a:lnSpc>
              <a:spcBef>
                <a:spcPct val="30000"/>
              </a:spcBef>
              <a:buClr>
                <a:srgbClr val="000066"/>
              </a:buClr>
              <a:buFont typeface="Wingdings" pitchFamily="2" charset="2"/>
              <a:buChar char="§"/>
            </a:pPr>
            <a:r>
              <a:rPr lang="en-US" sz="900" b="0">
                <a:solidFill>
                  <a:srgbClr val="000066"/>
                </a:solidFill>
              </a:rPr>
              <a:t>Define a high-level implementation plan</a:t>
            </a:r>
          </a:p>
          <a:p>
            <a:pPr marL="119063" indent="-119063">
              <a:lnSpc>
                <a:spcPct val="90000"/>
              </a:lnSpc>
              <a:spcBef>
                <a:spcPct val="30000"/>
              </a:spcBef>
              <a:buClr>
                <a:srgbClr val="000066"/>
              </a:buClr>
              <a:buFont typeface="Wingdings" pitchFamily="2" charset="2"/>
              <a:buChar char="§"/>
            </a:pPr>
            <a:r>
              <a:rPr lang="en-US" sz="900" b="0">
                <a:solidFill>
                  <a:srgbClr val="000066"/>
                </a:solidFill>
              </a:rPr>
              <a:t>Agree pilot content</a:t>
            </a:r>
          </a:p>
          <a:p>
            <a:pPr marL="119063" indent="-119063">
              <a:lnSpc>
                <a:spcPct val="90000"/>
              </a:lnSpc>
              <a:spcBef>
                <a:spcPct val="30000"/>
              </a:spcBef>
              <a:buClr>
                <a:srgbClr val="000066"/>
              </a:buClr>
              <a:buFont typeface="Wingdings" pitchFamily="2" charset="2"/>
              <a:buChar char="§"/>
            </a:pPr>
            <a:r>
              <a:rPr lang="en-US" sz="900" b="0">
                <a:solidFill>
                  <a:srgbClr val="000066"/>
                </a:solidFill>
              </a:rPr>
              <a:t>Agree governance and gain stakeholder buy-in</a:t>
            </a:r>
          </a:p>
        </p:txBody>
      </p:sp>
      <p:sp>
        <p:nvSpPr>
          <p:cNvPr id="48" name="Text Box 11"/>
          <p:cNvSpPr txBox="1">
            <a:spLocks noChangeArrowheads="1"/>
          </p:cNvSpPr>
          <p:nvPr/>
        </p:nvSpPr>
        <p:spPr bwMode="gray">
          <a:xfrm>
            <a:off x="4795838" y="2781300"/>
            <a:ext cx="1306512"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Conduct value and waste analysis; identify what is preventing the value to flow</a:t>
            </a:r>
          </a:p>
          <a:p>
            <a:pPr marL="119063" indent="-119063">
              <a:lnSpc>
                <a:spcPct val="90000"/>
              </a:lnSpc>
              <a:spcBef>
                <a:spcPct val="30000"/>
              </a:spcBef>
              <a:buClr>
                <a:srgbClr val="000066"/>
              </a:buClr>
              <a:buFont typeface="Wingdings" pitchFamily="2" charset="2"/>
              <a:buChar char="§"/>
            </a:pPr>
            <a:r>
              <a:rPr lang="en-US" sz="900" b="0">
                <a:solidFill>
                  <a:srgbClr val="000066"/>
                </a:solidFill>
              </a:rPr>
              <a:t>Define blue sky vision and agree future state lean design principles</a:t>
            </a:r>
          </a:p>
          <a:p>
            <a:pPr marL="119063" indent="-119063">
              <a:lnSpc>
                <a:spcPct val="90000"/>
              </a:lnSpc>
              <a:spcBef>
                <a:spcPct val="30000"/>
              </a:spcBef>
              <a:buClr>
                <a:srgbClr val="000066"/>
              </a:buClr>
              <a:buFont typeface="Wingdings" pitchFamily="2" charset="2"/>
              <a:buChar char="§"/>
            </a:pPr>
            <a:r>
              <a:rPr lang="en-US" sz="900" b="0">
                <a:solidFill>
                  <a:srgbClr val="000066"/>
                </a:solidFill>
              </a:rPr>
              <a:t>Map the future state</a:t>
            </a:r>
          </a:p>
          <a:p>
            <a:pPr marL="119063" indent="-119063">
              <a:lnSpc>
                <a:spcPct val="90000"/>
              </a:lnSpc>
              <a:spcBef>
                <a:spcPct val="30000"/>
              </a:spcBef>
              <a:buClr>
                <a:srgbClr val="000066"/>
              </a:buClr>
              <a:buFont typeface="Wingdings" pitchFamily="2" charset="2"/>
              <a:buChar char="§"/>
            </a:pPr>
            <a:r>
              <a:rPr lang="en-US" sz="900" b="0">
                <a:solidFill>
                  <a:srgbClr val="000066"/>
                </a:solidFill>
              </a:rPr>
              <a:t>Highlight benefits</a:t>
            </a:r>
          </a:p>
        </p:txBody>
      </p:sp>
      <p:sp>
        <p:nvSpPr>
          <p:cNvPr id="49" name="Text Box 12"/>
          <p:cNvSpPr txBox="1">
            <a:spLocks noChangeArrowheads="1"/>
          </p:cNvSpPr>
          <p:nvPr/>
        </p:nvSpPr>
        <p:spPr bwMode="gray">
          <a:xfrm>
            <a:off x="2030413" y="2781300"/>
            <a:ext cx="1306512"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Lean education by “doing” in a practical environment - team building</a:t>
            </a:r>
          </a:p>
          <a:p>
            <a:pPr marL="119063" indent="-119063">
              <a:lnSpc>
                <a:spcPct val="90000"/>
              </a:lnSpc>
              <a:spcBef>
                <a:spcPct val="30000"/>
              </a:spcBef>
              <a:buClr>
                <a:srgbClr val="000066"/>
              </a:buClr>
              <a:buFont typeface="Wingdings" pitchFamily="2" charset="2"/>
              <a:buChar char="§"/>
            </a:pPr>
            <a:r>
              <a:rPr lang="en-US" sz="900" b="0">
                <a:solidFill>
                  <a:srgbClr val="000066"/>
                </a:solidFill>
              </a:rPr>
              <a:t>Review charter, SIPOC and demand</a:t>
            </a:r>
          </a:p>
          <a:p>
            <a:pPr marL="119063" indent="-119063">
              <a:lnSpc>
                <a:spcPct val="90000"/>
              </a:lnSpc>
              <a:spcBef>
                <a:spcPct val="30000"/>
              </a:spcBef>
              <a:buClr>
                <a:srgbClr val="000066"/>
              </a:buClr>
              <a:buFont typeface="Wingdings" pitchFamily="2" charset="2"/>
              <a:buChar char="§"/>
            </a:pPr>
            <a:r>
              <a:rPr lang="en-US" sz="900" b="0">
                <a:solidFill>
                  <a:srgbClr val="000066"/>
                </a:solidFill>
              </a:rPr>
              <a:t>Understand who the customers are (VOC) and their requirements</a:t>
            </a:r>
          </a:p>
          <a:p>
            <a:pPr marL="119063" indent="-119063">
              <a:lnSpc>
                <a:spcPct val="90000"/>
              </a:lnSpc>
              <a:spcBef>
                <a:spcPct val="30000"/>
              </a:spcBef>
              <a:buClr>
                <a:srgbClr val="000066"/>
              </a:buClr>
              <a:buFont typeface="Wingdings" pitchFamily="2" charset="2"/>
              <a:buChar char="§"/>
            </a:pPr>
            <a:r>
              <a:rPr lang="en-US" sz="900" b="0">
                <a:solidFill>
                  <a:srgbClr val="000066"/>
                </a:solidFill>
              </a:rPr>
              <a:t>Value Stream Flow</a:t>
            </a:r>
          </a:p>
          <a:p>
            <a:pPr marL="119063" indent="-119063">
              <a:lnSpc>
                <a:spcPct val="90000"/>
              </a:lnSpc>
              <a:spcBef>
                <a:spcPct val="30000"/>
              </a:spcBef>
              <a:buClr>
                <a:srgbClr val="000066"/>
              </a:buClr>
              <a:buFont typeface="Wingdings" pitchFamily="2" charset="2"/>
              <a:buChar char="§"/>
            </a:pPr>
            <a:r>
              <a:rPr lang="en-US" sz="900" b="0">
                <a:solidFill>
                  <a:srgbClr val="000066"/>
                </a:solidFill>
              </a:rPr>
              <a:t>Plan for ‘seeing is believing’</a:t>
            </a:r>
          </a:p>
        </p:txBody>
      </p:sp>
      <p:sp>
        <p:nvSpPr>
          <p:cNvPr id="50" name="Rectangle 13"/>
          <p:cNvSpPr>
            <a:spLocks noChangeArrowheads="1"/>
          </p:cNvSpPr>
          <p:nvPr/>
        </p:nvSpPr>
        <p:spPr bwMode="auto">
          <a:xfrm rot="10800000">
            <a:off x="334963" y="2782888"/>
            <a:ext cx="263525" cy="1690687"/>
          </a:xfrm>
          <a:prstGeom prst="rect">
            <a:avLst/>
          </a:prstGeom>
          <a:solidFill>
            <a:schemeClr val="accent1"/>
          </a:solidFill>
          <a:ln w="9525">
            <a:noFill/>
            <a:miter lim="800000"/>
            <a:headEnd/>
            <a:tailEnd/>
          </a:ln>
        </p:spPr>
        <p:txBody>
          <a:bodyPr vert="eaVert" wrap="none" lIns="0" tIns="0" rIns="0" bIns="0" anchor="ctr"/>
          <a:lstStyle/>
          <a:p>
            <a:pPr algn="ctr"/>
            <a:r>
              <a:rPr lang="en-GB" sz="1000" b="1">
                <a:solidFill>
                  <a:schemeClr val="bg1"/>
                </a:solidFill>
              </a:rPr>
              <a:t>Key Activities</a:t>
            </a:r>
          </a:p>
        </p:txBody>
      </p:sp>
      <p:sp>
        <p:nvSpPr>
          <p:cNvPr id="51" name="Text Box 19"/>
          <p:cNvSpPr txBox="1">
            <a:spLocks noChangeArrowheads="1"/>
          </p:cNvSpPr>
          <p:nvPr/>
        </p:nvSpPr>
        <p:spPr bwMode="gray">
          <a:xfrm>
            <a:off x="649288" y="1824038"/>
            <a:ext cx="1306512" cy="881062"/>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Project Kick-off</a:t>
            </a:r>
          </a:p>
          <a:p>
            <a:pPr marL="119063" indent="-119063">
              <a:lnSpc>
                <a:spcPct val="90000"/>
              </a:lnSpc>
              <a:spcBef>
                <a:spcPct val="30000"/>
              </a:spcBef>
              <a:buClr>
                <a:srgbClr val="000066"/>
              </a:buClr>
              <a:buFont typeface="Wingdings" pitchFamily="2" charset="2"/>
              <a:buChar char="§"/>
            </a:pPr>
            <a:r>
              <a:rPr lang="en-US" sz="900" b="0">
                <a:solidFill>
                  <a:srgbClr val="000066"/>
                </a:solidFill>
              </a:rPr>
              <a:t>Finalised Scope</a:t>
            </a:r>
          </a:p>
          <a:p>
            <a:pPr marL="119063" indent="-119063">
              <a:lnSpc>
                <a:spcPct val="90000"/>
              </a:lnSpc>
              <a:spcBef>
                <a:spcPct val="30000"/>
              </a:spcBef>
              <a:buClr>
                <a:srgbClr val="000066"/>
              </a:buClr>
              <a:buFont typeface="Wingdings" pitchFamily="2" charset="2"/>
              <a:buChar char="§"/>
            </a:pPr>
            <a:r>
              <a:rPr lang="en-US" sz="900" b="0">
                <a:solidFill>
                  <a:srgbClr val="000066"/>
                </a:solidFill>
              </a:rPr>
              <a:t>High-level process</a:t>
            </a:r>
          </a:p>
          <a:p>
            <a:pPr marL="119063" indent="-119063">
              <a:lnSpc>
                <a:spcPct val="90000"/>
              </a:lnSpc>
              <a:spcBef>
                <a:spcPct val="30000"/>
              </a:spcBef>
              <a:buClr>
                <a:srgbClr val="000066"/>
              </a:buClr>
              <a:buFont typeface="Wingdings" pitchFamily="2" charset="2"/>
              <a:buChar char="§"/>
            </a:pPr>
            <a:r>
              <a:rPr lang="en-US" sz="900" b="0">
                <a:solidFill>
                  <a:srgbClr val="000066"/>
                </a:solidFill>
              </a:rPr>
              <a:t>Team Selected</a:t>
            </a:r>
          </a:p>
          <a:p>
            <a:pPr marL="119063" indent="-119063">
              <a:lnSpc>
                <a:spcPct val="90000"/>
              </a:lnSpc>
              <a:spcBef>
                <a:spcPct val="30000"/>
              </a:spcBef>
              <a:buClr>
                <a:srgbClr val="000066"/>
              </a:buClr>
              <a:buFont typeface="Wingdings" pitchFamily="2" charset="2"/>
              <a:buChar char="§"/>
            </a:pPr>
            <a:r>
              <a:rPr lang="en-US" sz="900" b="0">
                <a:solidFill>
                  <a:srgbClr val="000066"/>
                </a:solidFill>
              </a:rPr>
              <a:t>High level plan agreed</a:t>
            </a:r>
          </a:p>
        </p:txBody>
      </p:sp>
      <p:sp>
        <p:nvSpPr>
          <p:cNvPr id="52" name="Text Box 20"/>
          <p:cNvSpPr txBox="1">
            <a:spLocks noChangeArrowheads="1"/>
          </p:cNvSpPr>
          <p:nvPr/>
        </p:nvSpPr>
        <p:spPr bwMode="gray">
          <a:xfrm>
            <a:off x="6178550" y="1824038"/>
            <a:ext cx="1306513" cy="577850"/>
          </a:xfrm>
          <a:prstGeom prst="rect">
            <a:avLst/>
          </a:prstGeom>
          <a:solidFill>
            <a:schemeClr val="bg2"/>
          </a:solidFill>
          <a:ln w="9525" algn="ctr">
            <a:noFill/>
            <a:miter lim="800000"/>
            <a:headEnd/>
            <a:tailEnd/>
          </a:ln>
        </p:spPr>
        <p:txBody>
          <a:bodyPr lIns="18288" rIns="54000"/>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Implementation plan &amp; charters</a:t>
            </a:r>
          </a:p>
          <a:p>
            <a:pPr marL="119063" indent="-119063">
              <a:lnSpc>
                <a:spcPct val="90000"/>
              </a:lnSpc>
              <a:spcBef>
                <a:spcPct val="30000"/>
              </a:spcBef>
              <a:buClr>
                <a:srgbClr val="000066"/>
              </a:buClr>
              <a:buFont typeface="Wingdings" pitchFamily="2" charset="2"/>
              <a:buChar char="§"/>
            </a:pPr>
            <a:r>
              <a:rPr lang="en-US" sz="900" b="0">
                <a:solidFill>
                  <a:srgbClr val="000066"/>
                </a:solidFill>
              </a:rPr>
              <a:t>Final Report back</a:t>
            </a:r>
          </a:p>
        </p:txBody>
      </p:sp>
      <p:sp>
        <p:nvSpPr>
          <p:cNvPr id="53" name="Text Box 21"/>
          <p:cNvSpPr txBox="1">
            <a:spLocks noChangeArrowheads="1"/>
          </p:cNvSpPr>
          <p:nvPr/>
        </p:nvSpPr>
        <p:spPr bwMode="gray">
          <a:xfrm>
            <a:off x="4795838" y="1824038"/>
            <a:ext cx="1306512" cy="57785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Future State map</a:t>
            </a:r>
          </a:p>
          <a:p>
            <a:pPr marL="119063" indent="-119063">
              <a:lnSpc>
                <a:spcPct val="90000"/>
              </a:lnSpc>
              <a:spcBef>
                <a:spcPct val="30000"/>
              </a:spcBef>
              <a:buClr>
                <a:srgbClr val="000066"/>
              </a:buClr>
              <a:buFont typeface="Wingdings" pitchFamily="2" charset="2"/>
              <a:buChar char="§"/>
            </a:pPr>
            <a:r>
              <a:rPr lang="en-US" sz="900" b="0">
                <a:solidFill>
                  <a:srgbClr val="000066"/>
                </a:solidFill>
              </a:rPr>
              <a:t>Report back to key stakeholders</a:t>
            </a:r>
          </a:p>
        </p:txBody>
      </p:sp>
      <p:sp>
        <p:nvSpPr>
          <p:cNvPr id="54" name="Text Box 22"/>
          <p:cNvSpPr txBox="1">
            <a:spLocks noChangeArrowheads="1"/>
          </p:cNvSpPr>
          <p:nvPr/>
        </p:nvSpPr>
        <p:spPr bwMode="gray">
          <a:xfrm>
            <a:off x="2030413" y="1824038"/>
            <a:ext cx="1306512" cy="57785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Customer requirements</a:t>
            </a:r>
          </a:p>
          <a:p>
            <a:pPr marL="119063" indent="-119063">
              <a:lnSpc>
                <a:spcPct val="90000"/>
              </a:lnSpc>
              <a:spcBef>
                <a:spcPct val="30000"/>
              </a:spcBef>
              <a:buClr>
                <a:srgbClr val="000066"/>
              </a:buClr>
              <a:buFont typeface="Wingdings" pitchFamily="2" charset="2"/>
              <a:buChar char="§"/>
            </a:pPr>
            <a:r>
              <a:rPr lang="en-US" sz="900" b="0">
                <a:solidFill>
                  <a:srgbClr val="000066"/>
                </a:solidFill>
              </a:rPr>
              <a:t>Plan interviews and current state mapping</a:t>
            </a:r>
          </a:p>
        </p:txBody>
      </p:sp>
      <p:sp>
        <p:nvSpPr>
          <p:cNvPr id="55" name="Rectangle 23"/>
          <p:cNvSpPr>
            <a:spLocks noChangeArrowheads="1"/>
          </p:cNvSpPr>
          <p:nvPr/>
        </p:nvSpPr>
        <p:spPr bwMode="auto">
          <a:xfrm rot="10800000">
            <a:off x="333375" y="1825625"/>
            <a:ext cx="263525" cy="881063"/>
          </a:xfrm>
          <a:prstGeom prst="rect">
            <a:avLst/>
          </a:prstGeom>
          <a:solidFill>
            <a:schemeClr val="accent1"/>
          </a:solidFill>
          <a:ln w="9525">
            <a:noFill/>
            <a:miter lim="800000"/>
            <a:headEnd/>
            <a:tailEnd/>
          </a:ln>
        </p:spPr>
        <p:txBody>
          <a:bodyPr vert="eaVert" wrap="none" lIns="0" tIns="0" rIns="0" bIns="0" anchor="ctr"/>
          <a:lstStyle/>
          <a:p>
            <a:pPr algn="ctr"/>
            <a:r>
              <a:rPr lang="en-GB" sz="1000" b="1">
                <a:solidFill>
                  <a:schemeClr val="bg1"/>
                </a:solidFill>
              </a:rPr>
              <a:t>Outputs</a:t>
            </a:r>
          </a:p>
        </p:txBody>
      </p:sp>
      <p:sp>
        <p:nvSpPr>
          <p:cNvPr id="56" name="Text Box 24"/>
          <p:cNvSpPr txBox="1">
            <a:spLocks noChangeArrowheads="1"/>
          </p:cNvSpPr>
          <p:nvPr/>
        </p:nvSpPr>
        <p:spPr bwMode="gray">
          <a:xfrm>
            <a:off x="3413125" y="1824038"/>
            <a:ext cx="1306513" cy="57785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Current State map</a:t>
            </a:r>
          </a:p>
          <a:p>
            <a:pPr marL="119063" indent="-119063">
              <a:lnSpc>
                <a:spcPct val="90000"/>
              </a:lnSpc>
              <a:spcBef>
                <a:spcPct val="30000"/>
              </a:spcBef>
              <a:buClr>
                <a:srgbClr val="000066"/>
              </a:buClr>
              <a:buFont typeface="Wingdings" pitchFamily="2" charset="2"/>
              <a:buChar char="§"/>
            </a:pPr>
            <a:r>
              <a:rPr lang="en-US" sz="900" b="0">
                <a:solidFill>
                  <a:srgbClr val="000066"/>
                </a:solidFill>
              </a:rPr>
              <a:t>Report back to key stakeholders</a:t>
            </a:r>
          </a:p>
        </p:txBody>
      </p:sp>
      <p:sp>
        <p:nvSpPr>
          <p:cNvPr id="57" name="Rectangle 25"/>
          <p:cNvSpPr>
            <a:spLocks noChangeArrowheads="1"/>
          </p:cNvSpPr>
          <p:nvPr/>
        </p:nvSpPr>
        <p:spPr bwMode="auto">
          <a:xfrm>
            <a:off x="7577138" y="1176338"/>
            <a:ext cx="1304925" cy="561975"/>
          </a:xfrm>
          <a:prstGeom prst="rect">
            <a:avLst/>
          </a:prstGeom>
          <a:solidFill>
            <a:srgbClr val="52D0FF"/>
          </a:solidFill>
          <a:ln w="9525" algn="ctr">
            <a:noFill/>
            <a:miter lim="800000"/>
            <a:headEnd/>
            <a:tailEnd/>
          </a:ln>
        </p:spPr>
        <p:txBody>
          <a:bodyPr lIns="45720" rIns="45720" anchor="ctr"/>
          <a:lstStyle/>
          <a:p>
            <a:pPr algn="ctr"/>
            <a:r>
              <a:rPr lang="en-US" sz="1000" b="1" dirty="0">
                <a:solidFill>
                  <a:schemeClr val="bg1"/>
                </a:solidFill>
              </a:rPr>
              <a:t>WP - Running the </a:t>
            </a:r>
          </a:p>
          <a:p>
            <a:pPr algn="ctr"/>
            <a:r>
              <a:rPr lang="en-US" sz="1000" b="1" dirty="0">
                <a:solidFill>
                  <a:schemeClr val="bg1"/>
                </a:solidFill>
              </a:rPr>
              <a:t>Work Pilot</a:t>
            </a:r>
          </a:p>
        </p:txBody>
      </p:sp>
      <p:sp>
        <p:nvSpPr>
          <p:cNvPr id="58" name="Text Box 26"/>
          <p:cNvSpPr txBox="1">
            <a:spLocks noChangeArrowheads="1"/>
          </p:cNvSpPr>
          <p:nvPr/>
        </p:nvSpPr>
        <p:spPr bwMode="gray">
          <a:xfrm>
            <a:off x="7575550" y="2781300"/>
            <a:ext cx="1306513"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Test &amp; refine  the new streamlined process in a safe environment</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Implement visual management</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Develop </a:t>
            </a:r>
            <a:r>
              <a:rPr lang="en-US" sz="900" b="0" dirty="0" err="1">
                <a:solidFill>
                  <a:srgbClr val="000066"/>
                </a:solidFill>
              </a:rPr>
              <a:t>standardised</a:t>
            </a:r>
            <a:r>
              <a:rPr lang="en-US" sz="900" b="0" dirty="0">
                <a:solidFill>
                  <a:srgbClr val="000066"/>
                </a:solidFill>
              </a:rPr>
              <a:t> operating procedure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Measure new KPIs</a:t>
            </a:r>
          </a:p>
          <a:p>
            <a:pPr marL="119063" indent="-119063">
              <a:lnSpc>
                <a:spcPct val="90000"/>
              </a:lnSpc>
              <a:spcBef>
                <a:spcPct val="30000"/>
              </a:spcBef>
              <a:buClr>
                <a:srgbClr val="000066"/>
              </a:buClr>
              <a:buFont typeface="Wingdings" pitchFamily="2" charset="2"/>
              <a:buChar char="§"/>
            </a:pPr>
            <a:r>
              <a:rPr lang="en-GB" sz="900" b="0" dirty="0">
                <a:solidFill>
                  <a:srgbClr val="000066"/>
                </a:solidFill>
              </a:rPr>
              <a:t>Up-date the front line knowledge base,</a:t>
            </a:r>
          </a:p>
          <a:p>
            <a:pPr marL="119063" indent="-119063">
              <a:lnSpc>
                <a:spcPct val="90000"/>
              </a:lnSpc>
              <a:spcBef>
                <a:spcPct val="30000"/>
              </a:spcBef>
              <a:buClr>
                <a:srgbClr val="000066"/>
              </a:buClr>
              <a:buFont typeface="Wingdings" pitchFamily="2" charset="2"/>
              <a:buChar char="§"/>
            </a:pPr>
            <a:r>
              <a:rPr lang="en-GB" sz="900" b="0" dirty="0">
                <a:solidFill>
                  <a:srgbClr val="000066"/>
                </a:solidFill>
              </a:rPr>
              <a:t>Plan  transfer to BAU</a:t>
            </a:r>
            <a:endParaRPr lang="en-US" sz="900" b="0" dirty="0">
              <a:solidFill>
                <a:srgbClr val="000066"/>
              </a:solidFill>
            </a:endParaRPr>
          </a:p>
        </p:txBody>
      </p:sp>
      <p:sp>
        <p:nvSpPr>
          <p:cNvPr id="59" name="Text Box 27"/>
          <p:cNvSpPr txBox="1">
            <a:spLocks noChangeArrowheads="1"/>
          </p:cNvSpPr>
          <p:nvPr/>
        </p:nvSpPr>
        <p:spPr bwMode="gray">
          <a:xfrm>
            <a:off x="7575550" y="1824038"/>
            <a:ext cx="1306513" cy="882650"/>
          </a:xfrm>
          <a:prstGeom prst="rect">
            <a:avLst/>
          </a:prstGeom>
          <a:solidFill>
            <a:schemeClr val="bg2"/>
          </a:solidFill>
          <a:ln w="9525" algn="ctr">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Rapid execution of the quick hits and </a:t>
            </a:r>
            <a:r>
              <a:rPr lang="en-US" sz="900" b="0" dirty="0" err="1">
                <a:solidFill>
                  <a:srgbClr val="000066"/>
                </a:solidFill>
              </a:rPr>
              <a:t>impro-vement</a:t>
            </a:r>
            <a:r>
              <a:rPr lang="en-US" sz="900" b="0" dirty="0">
                <a:solidFill>
                  <a:srgbClr val="000066"/>
                </a:solidFill>
              </a:rPr>
              <a:t> opportunities identified</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Confirm expected benefits</a:t>
            </a:r>
          </a:p>
        </p:txBody>
      </p:sp>
      <p:sp>
        <p:nvSpPr>
          <p:cNvPr id="60" name="AutoShape 28"/>
          <p:cNvSpPr>
            <a:spLocks noChangeArrowheads="1"/>
          </p:cNvSpPr>
          <p:nvPr/>
        </p:nvSpPr>
        <p:spPr bwMode="gray">
          <a:xfrm>
            <a:off x="2030413" y="2471738"/>
            <a:ext cx="5484812" cy="234950"/>
          </a:xfrm>
          <a:prstGeom prst="homePlate">
            <a:avLst>
              <a:gd name="adj" fmla="val 34693"/>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Initial identification of the </a:t>
            </a:r>
            <a:r>
              <a:rPr lang="en-US" sz="900" b="0" dirty="0" smtClean="0">
                <a:solidFill>
                  <a:srgbClr val="000066"/>
                </a:solidFill>
              </a:rPr>
              <a:t>“just do it”  </a:t>
            </a:r>
            <a:r>
              <a:rPr lang="en-US" sz="900" b="0" dirty="0">
                <a:solidFill>
                  <a:srgbClr val="000066"/>
                </a:solidFill>
              </a:rPr>
              <a:t>to be refined and designed, ready to be executed</a:t>
            </a:r>
          </a:p>
        </p:txBody>
      </p:sp>
      <p:sp>
        <p:nvSpPr>
          <p:cNvPr id="61" name="Rectangle 29"/>
          <p:cNvSpPr>
            <a:spLocks noChangeArrowheads="1"/>
          </p:cNvSpPr>
          <p:nvPr/>
        </p:nvSpPr>
        <p:spPr bwMode="auto">
          <a:xfrm>
            <a:off x="649288" y="1176338"/>
            <a:ext cx="1304925" cy="561975"/>
          </a:xfrm>
          <a:prstGeom prst="rect">
            <a:avLst/>
          </a:prstGeom>
          <a:solidFill>
            <a:schemeClr val="accent1"/>
          </a:solidFill>
          <a:ln w="9525" algn="ctr">
            <a:noFill/>
            <a:miter lim="800000"/>
            <a:headEnd/>
            <a:tailEnd/>
          </a:ln>
        </p:spPr>
        <p:txBody>
          <a:bodyPr lIns="45720" rIns="45720" anchor="ctr"/>
          <a:lstStyle/>
          <a:p>
            <a:pPr algn="ctr">
              <a:spcBef>
                <a:spcPct val="50000"/>
              </a:spcBef>
            </a:pPr>
            <a:r>
              <a:rPr lang="en-US" sz="1000" b="1" dirty="0">
                <a:solidFill>
                  <a:schemeClr val="bg1"/>
                </a:solidFill>
              </a:rPr>
              <a:t>M - </a:t>
            </a:r>
            <a:r>
              <a:rPr lang="en-US" sz="1000" b="1" dirty="0" err="1">
                <a:solidFill>
                  <a:schemeClr val="bg1"/>
                </a:solidFill>
              </a:rPr>
              <a:t>Mobilisation</a:t>
            </a:r>
            <a:r>
              <a:rPr lang="en-US" sz="1000" b="1" dirty="0">
                <a:solidFill>
                  <a:schemeClr val="bg1"/>
                </a:solidFill>
              </a:rPr>
              <a:t> Workshop</a:t>
            </a:r>
          </a:p>
        </p:txBody>
      </p:sp>
      <p:sp>
        <p:nvSpPr>
          <p:cNvPr id="62" name="Rectangle 30"/>
          <p:cNvSpPr>
            <a:spLocks noChangeArrowheads="1"/>
          </p:cNvSpPr>
          <p:nvPr/>
        </p:nvSpPr>
        <p:spPr bwMode="auto">
          <a:xfrm>
            <a:off x="3413125" y="1176338"/>
            <a:ext cx="1304925" cy="561975"/>
          </a:xfrm>
          <a:prstGeom prst="rect">
            <a:avLst/>
          </a:prstGeom>
          <a:solidFill>
            <a:srgbClr val="1462FF"/>
          </a:solidFill>
          <a:ln w="38100" cap="rnd" algn="ctr">
            <a:noFill/>
            <a:miter lim="800000"/>
            <a:headEnd/>
            <a:tailEnd/>
          </a:ln>
        </p:spPr>
        <p:txBody>
          <a:bodyPr wrap="square" lIns="180000" tIns="54000" rIns="144000" bIns="54000" anchor="ctr"/>
          <a:lstStyle/>
          <a:p>
            <a:pPr algn="ctr" defTabSz="1019175"/>
            <a:r>
              <a:rPr lang="en-US" sz="1000" b="1" dirty="0">
                <a:solidFill>
                  <a:schemeClr val="bg1"/>
                </a:solidFill>
              </a:rPr>
              <a:t>CS2 - As-Is Detail Workshop</a:t>
            </a:r>
          </a:p>
        </p:txBody>
      </p:sp>
      <p:sp>
        <p:nvSpPr>
          <p:cNvPr id="63" name="Rectangle 31"/>
          <p:cNvSpPr>
            <a:spLocks noChangeArrowheads="1"/>
          </p:cNvSpPr>
          <p:nvPr/>
        </p:nvSpPr>
        <p:spPr bwMode="auto">
          <a:xfrm>
            <a:off x="6180138" y="1176338"/>
            <a:ext cx="1304925" cy="561975"/>
          </a:xfrm>
          <a:prstGeom prst="rect">
            <a:avLst/>
          </a:prstGeom>
          <a:solidFill>
            <a:srgbClr val="72C7E7"/>
          </a:solidFill>
          <a:ln w="38100" cap="rnd" algn="ctr">
            <a:noFill/>
            <a:miter lim="800000"/>
            <a:headEnd/>
            <a:tailEnd/>
          </a:ln>
        </p:spPr>
        <p:txBody>
          <a:bodyPr wrap="square" lIns="180000" tIns="54000" rIns="144000" bIns="54000" anchor="ctr"/>
          <a:lstStyle/>
          <a:p>
            <a:pPr algn="ctr" defTabSz="1019175"/>
            <a:r>
              <a:rPr lang="en-US" sz="1000" b="1" dirty="0">
                <a:solidFill>
                  <a:schemeClr val="bg1"/>
                </a:solidFill>
              </a:rPr>
              <a:t>FS2 - Implementation Planning Workshop</a:t>
            </a:r>
          </a:p>
        </p:txBody>
      </p:sp>
      <p:sp>
        <p:nvSpPr>
          <p:cNvPr id="64" name="Rectangle 32"/>
          <p:cNvSpPr>
            <a:spLocks noChangeArrowheads="1"/>
          </p:cNvSpPr>
          <p:nvPr/>
        </p:nvSpPr>
        <p:spPr bwMode="auto">
          <a:xfrm>
            <a:off x="4797425" y="1176338"/>
            <a:ext cx="1304925" cy="561975"/>
          </a:xfrm>
          <a:prstGeom prst="rect">
            <a:avLst/>
          </a:prstGeom>
          <a:solidFill>
            <a:srgbClr val="00A1DE"/>
          </a:solidFill>
          <a:ln w="38100" cap="rnd" algn="ctr">
            <a:noFill/>
            <a:miter lim="800000"/>
            <a:headEnd/>
            <a:tailEnd/>
          </a:ln>
        </p:spPr>
        <p:txBody>
          <a:bodyPr wrap="square" lIns="180000" tIns="54000" rIns="144000" bIns="54000" anchor="ctr"/>
          <a:lstStyle/>
          <a:p>
            <a:pPr algn="ctr" defTabSz="1019175"/>
            <a:r>
              <a:rPr lang="en-US" sz="1000" b="1" dirty="0">
                <a:solidFill>
                  <a:schemeClr val="bg1"/>
                </a:solidFill>
              </a:rPr>
              <a:t>FS1 - Future State Workshop</a:t>
            </a:r>
          </a:p>
        </p:txBody>
      </p:sp>
      <p:sp>
        <p:nvSpPr>
          <p:cNvPr id="65" name="Rectangle 33"/>
          <p:cNvSpPr>
            <a:spLocks noChangeArrowheads="1"/>
          </p:cNvSpPr>
          <p:nvPr/>
        </p:nvSpPr>
        <p:spPr bwMode="auto">
          <a:xfrm>
            <a:off x="2030413" y="1176338"/>
            <a:ext cx="1304925" cy="561975"/>
          </a:xfrm>
          <a:prstGeom prst="rect">
            <a:avLst/>
          </a:prstGeom>
          <a:solidFill>
            <a:srgbClr val="0079A6"/>
          </a:solidFill>
          <a:ln w="38100" cap="rnd" algn="ctr">
            <a:noFill/>
            <a:miter lim="800000"/>
            <a:headEnd/>
            <a:tailEnd/>
          </a:ln>
        </p:spPr>
        <p:txBody>
          <a:bodyPr wrap="square" lIns="180000" tIns="54000" rIns="144000" bIns="54000" anchor="ctr"/>
          <a:lstStyle/>
          <a:p>
            <a:pPr algn="ctr" defTabSz="1019175"/>
            <a:r>
              <a:rPr lang="en-US" sz="1000" b="1" dirty="0">
                <a:solidFill>
                  <a:schemeClr val="bg1"/>
                </a:solidFill>
              </a:rPr>
              <a:t>CS1 - As-Is High level Workshop</a:t>
            </a:r>
          </a:p>
        </p:txBody>
      </p:sp>
      <p:sp>
        <p:nvSpPr>
          <p:cNvPr id="66" name="Text Box 35"/>
          <p:cNvSpPr txBox="1">
            <a:spLocks noChangeArrowheads="1"/>
          </p:cNvSpPr>
          <p:nvPr/>
        </p:nvSpPr>
        <p:spPr bwMode="gray">
          <a:xfrm>
            <a:off x="649288" y="4545014"/>
            <a:ext cx="1306512"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Problem scoping</a:t>
            </a:r>
            <a:endParaRPr lang="en-GB" sz="900" b="0">
              <a:solidFill>
                <a:srgbClr val="000066"/>
              </a:solidFill>
            </a:endParaRPr>
          </a:p>
          <a:p>
            <a:pPr marL="119063" indent="-119063">
              <a:lnSpc>
                <a:spcPct val="90000"/>
              </a:lnSpc>
              <a:spcBef>
                <a:spcPct val="30000"/>
              </a:spcBef>
              <a:buClr>
                <a:srgbClr val="000066"/>
              </a:buClr>
              <a:buFont typeface="Wingdings" pitchFamily="2" charset="2"/>
              <a:buChar char="§"/>
            </a:pPr>
            <a:r>
              <a:rPr lang="en-GB" sz="900" b="0">
                <a:solidFill>
                  <a:srgbClr val="000066"/>
                </a:solidFill>
              </a:rPr>
              <a:t>Identify process owners, suppliers, customers (SIPOC)</a:t>
            </a:r>
          </a:p>
          <a:p>
            <a:pPr marL="119063" indent="-119063">
              <a:lnSpc>
                <a:spcPct val="90000"/>
              </a:lnSpc>
              <a:spcBef>
                <a:spcPct val="30000"/>
              </a:spcBef>
              <a:buClr>
                <a:srgbClr val="000066"/>
              </a:buClr>
              <a:buFont typeface="Wingdings" pitchFamily="2" charset="2"/>
              <a:buChar char="§"/>
            </a:pPr>
            <a:r>
              <a:rPr lang="en-GB" sz="900" b="0">
                <a:solidFill>
                  <a:srgbClr val="000066"/>
                </a:solidFill>
              </a:rPr>
              <a:t>Value Tree</a:t>
            </a:r>
          </a:p>
          <a:p>
            <a:pPr marL="119063" indent="-119063">
              <a:lnSpc>
                <a:spcPct val="90000"/>
              </a:lnSpc>
              <a:spcBef>
                <a:spcPct val="30000"/>
              </a:spcBef>
              <a:buClr>
                <a:srgbClr val="000066"/>
              </a:buClr>
              <a:buFont typeface="Wingdings" pitchFamily="2" charset="2"/>
              <a:buChar char="§"/>
            </a:pPr>
            <a:r>
              <a:rPr lang="en-GB" sz="900" b="0">
                <a:solidFill>
                  <a:srgbClr val="000066"/>
                </a:solidFill>
              </a:rPr>
              <a:t>Data collection </a:t>
            </a:r>
          </a:p>
          <a:p>
            <a:pPr marL="119063" indent="-119063">
              <a:lnSpc>
                <a:spcPct val="90000"/>
              </a:lnSpc>
              <a:spcBef>
                <a:spcPct val="30000"/>
              </a:spcBef>
              <a:buClr>
                <a:srgbClr val="000066"/>
              </a:buClr>
              <a:buFont typeface="Wingdings" pitchFamily="2" charset="2"/>
              <a:buChar char="§"/>
            </a:pPr>
            <a:r>
              <a:rPr lang="en-GB" sz="900" b="0">
                <a:solidFill>
                  <a:srgbClr val="000066"/>
                </a:solidFill>
              </a:rPr>
              <a:t>Project Charter</a:t>
            </a:r>
          </a:p>
        </p:txBody>
      </p:sp>
      <p:sp>
        <p:nvSpPr>
          <p:cNvPr id="67" name="Text Box 36"/>
          <p:cNvSpPr txBox="1">
            <a:spLocks noChangeArrowheads="1"/>
          </p:cNvSpPr>
          <p:nvPr/>
        </p:nvSpPr>
        <p:spPr bwMode="gray">
          <a:xfrm>
            <a:off x="3413125" y="4545014"/>
            <a:ext cx="1306513"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GB" sz="900" b="0">
                <a:solidFill>
                  <a:srgbClr val="000066"/>
                </a:solidFill>
              </a:rPr>
              <a:t>Seeing is Believing</a:t>
            </a:r>
          </a:p>
          <a:p>
            <a:pPr marL="119063" indent="-119063">
              <a:lnSpc>
                <a:spcPct val="90000"/>
              </a:lnSpc>
              <a:spcBef>
                <a:spcPct val="30000"/>
              </a:spcBef>
              <a:buClr>
                <a:srgbClr val="000066"/>
              </a:buClr>
              <a:buFont typeface="Wingdings" pitchFamily="2" charset="2"/>
              <a:buChar char="§"/>
            </a:pPr>
            <a:r>
              <a:rPr lang="en-GB" sz="900" b="0">
                <a:solidFill>
                  <a:srgbClr val="000066"/>
                </a:solidFill>
              </a:rPr>
              <a:t>Value stream mapping</a:t>
            </a:r>
          </a:p>
          <a:p>
            <a:pPr marL="119063" indent="-119063">
              <a:lnSpc>
                <a:spcPct val="90000"/>
              </a:lnSpc>
              <a:spcBef>
                <a:spcPct val="30000"/>
              </a:spcBef>
              <a:buClr>
                <a:srgbClr val="000066"/>
              </a:buClr>
              <a:buFont typeface="Wingdings" pitchFamily="2" charset="2"/>
              <a:buChar char="§"/>
            </a:pPr>
            <a:r>
              <a:rPr lang="en-GB" sz="900" b="0">
                <a:solidFill>
                  <a:srgbClr val="000066"/>
                </a:solidFill>
              </a:rPr>
              <a:t>Baseline Metrics </a:t>
            </a:r>
          </a:p>
          <a:p>
            <a:pPr marL="119063" indent="-119063">
              <a:lnSpc>
                <a:spcPct val="90000"/>
              </a:lnSpc>
              <a:spcBef>
                <a:spcPct val="30000"/>
              </a:spcBef>
              <a:buClr>
                <a:srgbClr val="000066"/>
              </a:buClr>
              <a:buFont typeface="Wingdings" pitchFamily="2" charset="2"/>
              <a:buChar char="§"/>
            </a:pPr>
            <a:r>
              <a:rPr lang="en-GB" sz="900" b="0">
                <a:solidFill>
                  <a:srgbClr val="000066"/>
                </a:solidFill>
              </a:rPr>
              <a:t>7 wastes analysis</a:t>
            </a:r>
          </a:p>
          <a:p>
            <a:pPr marL="119063" indent="-119063">
              <a:lnSpc>
                <a:spcPct val="90000"/>
              </a:lnSpc>
              <a:spcBef>
                <a:spcPct val="30000"/>
              </a:spcBef>
              <a:buClr>
                <a:srgbClr val="000066"/>
              </a:buClr>
              <a:buFont typeface="Wingdings" pitchFamily="2" charset="2"/>
              <a:buChar char="§"/>
            </a:pPr>
            <a:r>
              <a:rPr lang="en-GB" sz="900" b="0">
                <a:solidFill>
                  <a:srgbClr val="000066"/>
                </a:solidFill>
              </a:rPr>
              <a:t>Root cause analysis and problem-solving</a:t>
            </a:r>
          </a:p>
          <a:p>
            <a:pPr marL="119063" indent="-119063">
              <a:lnSpc>
                <a:spcPct val="90000"/>
              </a:lnSpc>
              <a:spcBef>
                <a:spcPct val="30000"/>
              </a:spcBef>
              <a:buClr>
                <a:srgbClr val="000066"/>
              </a:buClr>
              <a:buFont typeface="Wingdings" pitchFamily="2" charset="2"/>
              <a:buChar char="§"/>
            </a:pPr>
            <a:r>
              <a:rPr lang="en-GB" sz="900" b="0">
                <a:solidFill>
                  <a:srgbClr val="000066"/>
                </a:solidFill>
              </a:rPr>
              <a:t>5S analysis (work place management)</a:t>
            </a:r>
          </a:p>
        </p:txBody>
      </p:sp>
      <p:sp>
        <p:nvSpPr>
          <p:cNvPr id="68" name="Text Box 37"/>
          <p:cNvSpPr txBox="1">
            <a:spLocks noChangeArrowheads="1"/>
          </p:cNvSpPr>
          <p:nvPr/>
        </p:nvSpPr>
        <p:spPr bwMode="gray">
          <a:xfrm>
            <a:off x="6178550" y="4545014"/>
            <a:ext cx="1306513"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Improvement Work Packages charters</a:t>
            </a:r>
          </a:p>
          <a:p>
            <a:pPr marL="119063" indent="-119063">
              <a:lnSpc>
                <a:spcPct val="90000"/>
              </a:lnSpc>
              <a:spcBef>
                <a:spcPct val="30000"/>
              </a:spcBef>
              <a:buClr>
                <a:srgbClr val="000066"/>
              </a:buClr>
              <a:buFont typeface="Wingdings" pitchFamily="2" charset="2"/>
              <a:buChar char="§"/>
            </a:pPr>
            <a:r>
              <a:rPr lang="en-US" sz="900" b="0">
                <a:solidFill>
                  <a:srgbClr val="000066"/>
                </a:solidFill>
              </a:rPr>
              <a:t>Ease versus Impact assessment</a:t>
            </a:r>
          </a:p>
          <a:p>
            <a:pPr marL="119063" indent="-119063">
              <a:lnSpc>
                <a:spcPct val="90000"/>
              </a:lnSpc>
              <a:spcBef>
                <a:spcPct val="30000"/>
              </a:spcBef>
              <a:buClr>
                <a:srgbClr val="000066"/>
              </a:buClr>
              <a:buFont typeface="Wingdings" pitchFamily="2" charset="2"/>
              <a:buChar char="§"/>
            </a:pPr>
            <a:r>
              <a:rPr lang="en-US" sz="900" b="0">
                <a:solidFill>
                  <a:srgbClr val="000066"/>
                </a:solidFill>
              </a:rPr>
              <a:t>Gantt chart</a:t>
            </a:r>
          </a:p>
        </p:txBody>
      </p:sp>
      <p:sp>
        <p:nvSpPr>
          <p:cNvPr id="69" name="Text Box 38"/>
          <p:cNvSpPr txBox="1">
            <a:spLocks noChangeArrowheads="1"/>
          </p:cNvSpPr>
          <p:nvPr/>
        </p:nvSpPr>
        <p:spPr bwMode="gray">
          <a:xfrm>
            <a:off x="4795838" y="4545014"/>
            <a:ext cx="1306512"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Lean design principle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Pull systems and one piece flow</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Mistake proofing</a:t>
            </a:r>
          </a:p>
          <a:p>
            <a:pPr marL="119063" indent="-119063">
              <a:lnSpc>
                <a:spcPct val="90000"/>
              </a:lnSpc>
              <a:spcBef>
                <a:spcPct val="30000"/>
              </a:spcBef>
              <a:buClr>
                <a:srgbClr val="000066"/>
              </a:buClr>
              <a:buFont typeface="Wingdings" pitchFamily="2" charset="2"/>
              <a:buChar char="§"/>
            </a:pPr>
            <a:r>
              <a:rPr lang="en-US" sz="900" b="0" dirty="0" err="1">
                <a:solidFill>
                  <a:srgbClr val="000066"/>
                </a:solidFill>
              </a:rPr>
              <a:t>Andon</a:t>
            </a:r>
            <a:r>
              <a:rPr lang="en-US" sz="900" b="0" dirty="0">
                <a:solidFill>
                  <a:srgbClr val="000066"/>
                </a:solidFill>
              </a:rPr>
              <a:t> system</a:t>
            </a:r>
          </a:p>
          <a:p>
            <a:pPr marL="119063" indent="-119063">
              <a:lnSpc>
                <a:spcPct val="90000"/>
              </a:lnSpc>
              <a:spcBef>
                <a:spcPct val="30000"/>
              </a:spcBef>
              <a:buClr>
                <a:srgbClr val="000066"/>
              </a:buClr>
              <a:buFont typeface="Wingdings" pitchFamily="2" charset="2"/>
              <a:buChar char="§"/>
            </a:pPr>
            <a:r>
              <a:rPr lang="en-US" sz="900" b="0" dirty="0" err="1">
                <a:solidFill>
                  <a:srgbClr val="000066"/>
                </a:solidFill>
              </a:rPr>
              <a:t>Takt</a:t>
            </a:r>
            <a:r>
              <a:rPr lang="en-US" sz="900" b="0" dirty="0">
                <a:solidFill>
                  <a:srgbClr val="000066"/>
                </a:solidFill>
              </a:rPr>
              <a:t> time</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Cycle time diagram</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Load balancing </a:t>
            </a:r>
          </a:p>
        </p:txBody>
      </p:sp>
      <p:sp>
        <p:nvSpPr>
          <p:cNvPr id="70" name="Text Box 39"/>
          <p:cNvSpPr txBox="1">
            <a:spLocks noChangeArrowheads="1"/>
          </p:cNvSpPr>
          <p:nvPr/>
        </p:nvSpPr>
        <p:spPr bwMode="gray">
          <a:xfrm>
            <a:off x="2030413" y="4545014"/>
            <a:ext cx="1306512"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Lean simulation game</a:t>
            </a:r>
          </a:p>
          <a:p>
            <a:pPr marL="119063" indent="-119063">
              <a:lnSpc>
                <a:spcPct val="90000"/>
              </a:lnSpc>
              <a:spcBef>
                <a:spcPct val="30000"/>
              </a:spcBef>
              <a:buClr>
                <a:srgbClr val="000066"/>
              </a:buClr>
              <a:buFont typeface="Wingdings" pitchFamily="2" charset="2"/>
              <a:buChar char="§"/>
            </a:pPr>
            <a:r>
              <a:rPr lang="en-US" sz="900" b="0">
                <a:solidFill>
                  <a:srgbClr val="000066"/>
                </a:solidFill>
              </a:rPr>
              <a:t>VOC data &amp; CTQ</a:t>
            </a:r>
          </a:p>
          <a:p>
            <a:pPr marL="119063" indent="-119063">
              <a:lnSpc>
                <a:spcPct val="90000"/>
              </a:lnSpc>
              <a:spcBef>
                <a:spcPct val="30000"/>
              </a:spcBef>
              <a:buClr>
                <a:srgbClr val="000066"/>
              </a:buClr>
              <a:buFont typeface="Wingdings" pitchFamily="2" charset="2"/>
              <a:buChar char="§"/>
            </a:pPr>
            <a:r>
              <a:rPr lang="en-GB" sz="900" b="0">
                <a:solidFill>
                  <a:srgbClr val="000066"/>
                </a:solidFill>
              </a:rPr>
              <a:t>Understand demand -  Mississippi Chart</a:t>
            </a:r>
          </a:p>
          <a:p>
            <a:pPr marL="119063" indent="-119063">
              <a:lnSpc>
                <a:spcPct val="90000"/>
              </a:lnSpc>
              <a:spcBef>
                <a:spcPct val="30000"/>
              </a:spcBef>
              <a:buClr>
                <a:srgbClr val="000066"/>
              </a:buClr>
              <a:buFont typeface="Wingdings" pitchFamily="2" charset="2"/>
              <a:buChar char="§"/>
            </a:pPr>
            <a:r>
              <a:rPr lang="en-US" sz="900" b="0">
                <a:solidFill>
                  <a:srgbClr val="000066"/>
                </a:solidFill>
              </a:rPr>
              <a:t>Runners, Repeaters and Strangers</a:t>
            </a:r>
          </a:p>
          <a:p>
            <a:pPr marL="119063" indent="-119063">
              <a:lnSpc>
                <a:spcPct val="90000"/>
              </a:lnSpc>
              <a:spcBef>
                <a:spcPct val="30000"/>
              </a:spcBef>
              <a:buClr>
                <a:srgbClr val="000066"/>
              </a:buClr>
              <a:buFont typeface="Wingdings" pitchFamily="2" charset="2"/>
              <a:buChar char="§"/>
            </a:pPr>
            <a:r>
              <a:rPr lang="en-US" sz="900" b="0">
                <a:solidFill>
                  <a:srgbClr val="000066"/>
                </a:solidFill>
              </a:rPr>
              <a:t>Value tree</a:t>
            </a:r>
          </a:p>
        </p:txBody>
      </p:sp>
      <p:sp>
        <p:nvSpPr>
          <p:cNvPr id="71" name="Rectangle 40"/>
          <p:cNvSpPr>
            <a:spLocks noChangeArrowheads="1"/>
          </p:cNvSpPr>
          <p:nvPr/>
        </p:nvSpPr>
        <p:spPr bwMode="auto">
          <a:xfrm rot="10800000">
            <a:off x="334962" y="4546600"/>
            <a:ext cx="263525" cy="1596481"/>
          </a:xfrm>
          <a:prstGeom prst="rect">
            <a:avLst/>
          </a:prstGeom>
          <a:solidFill>
            <a:schemeClr val="accent1"/>
          </a:solidFill>
          <a:ln w="9525">
            <a:noFill/>
            <a:miter lim="800000"/>
            <a:headEnd/>
            <a:tailEnd/>
          </a:ln>
        </p:spPr>
        <p:txBody>
          <a:bodyPr vert="eaVert" wrap="none" lIns="0" tIns="0" rIns="0" bIns="0" anchor="ctr"/>
          <a:lstStyle/>
          <a:p>
            <a:pPr algn="ctr"/>
            <a:r>
              <a:rPr lang="en-GB" sz="1000" b="1" dirty="0">
                <a:solidFill>
                  <a:schemeClr val="bg1"/>
                </a:solidFill>
              </a:rPr>
              <a:t>Tools and techniques</a:t>
            </a:r>
          </a:p>
        </p:txBody>
      </p:sp>
      <p:sp>
        <p:nvSpPr>
          <p:cNvPr id="72" name="Text Box 41"/>
          <p:cNvSpPr txBox="1">
            <a:spLocks noChangeArrowheads="1"/>
          </p:cNvSpPr>
          <p:nvPr/>
        </p:nvSpPr>
        <p:spPr bwMode="gray">
          <a:xfrm>
            <a:off x="7575550" y="4545014"/>
            <a:ext cx="1306513"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Work pilot mission</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5S environment</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Standard Work</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Decision Tree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Skill matrix</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KPI &amp; Run chart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Control chart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Quality matrix, FMEA</a:t>
            </a:r>
          </a:p>
          <a:p>
            <a:pPr marL="119063" indent="-119063">
              <a:lnSpc>
                <a:spcPct val="90000"/>
              </a:lnSpc>
              <a:spcBef>
                <a:spcPct val="30000"/>
              </a:spcBef>
              <a:buClr>
                <a:srgbClr val="000066"/>
              </a:buClr>
              <a:buFont typeface="Wingdings" pitchFamily="2" charset="2"/>
              <a:buChar char="§"/>
            </a:pPr>
            <a:r>
              <a:rPr lang="en-US" sz="900" b="0" dirty="0" smtClean="0">
                <a:solidFill>
                  <a:srgbClr val="000066"/>
                </a:solidFill>
              </a:rPr>
              <a:t>Problem solving </a:t>
            </a:r>
            <a:r>
              <a:rPr lang="en-US" sz="900" b="0" dirty="0">
                <a:solidFill>
                  <a:srgbClr val="000066"/>
                </a:solidFill>
              </a:rPr>
              <a:t>&amp; 8D</a:t>
            </a:r>
          </a:p>
        </p:txBody>
      </p:sp>
      <p:sp>
        <p:nvSpPr>
          <p:cNvPr id="127014" name="Rectangle 37"/>
          <p:cNvSpPr>
            <a:spLocks noChangeArrowheads="1"/>
          </p:cNvSpPr>
          <p:nvPr/>
        </p:nvSpPr>
        <p:spPr bwMode="auto">
          <a:xfrm>
            <a:off x="7539655" y="1120776"/>
            <a:ext cx="1333623" cy="5044528"/>
          </a:xfrm>
          <a:prstGeom prst="rect">
            <a:avLst/>
          </a:prstGeom>
          <a:noFill/>
          <a:ln w="57150" algn="ctr">
            <a:solidFill>
              <a:srgbClr val="FF0000"/>
            </a:solidFill>
            <a:miter lim="800000"/>
            <a:headEnd/>
            <a:tailEnd/>
          </a:ln>
        </p:spPr>
        <p:txBody>
          <a:bodyPr wrap="none" lIns="91430" tIns="45716" rIns="91430" bIns="45716" anchor="ctr"/>
          <a:lstStyle/>
          <a:p>
            <a:endParaRPr lang="en-US" b="0">
              <a:solidFill>
                <a:srgbClr val="FFFFFF"/>
              </a:solidFill>
            </a:endParaRPr>
          </a:p>
        </p:txBody>
      </p:sp>
    </p:spTree>
    <p:extLst>
      <p:ext uri="{BB962C8B-B14F-4D97-AF65-F5344CB8AC3E}">
        <p14:creationId xmlns:p14="http://schemas.microsoft.com/office/powerpoint/2010/main" val="30108671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7" name="Rectangle 2"/>
          <p:cNvSpPr>
            <a:spLocks noGrp="1" noChangeArrowheads="1"/>
          </p:cNvSpPr>
          <p:nvPr>
            <p:ph type="title"/>
          </p:nvPr>
        </p:nvSpPr>
        <p:spPr/>
        <p:txBody>
          <a:bodyPr/>
          <a:lstStyle/>
          <a:p>
            <a:pPr eaLnBrk="1" hangingPunct="1"/>
            <a:r>
              <a:rPr lang="en-GB" sz="2400" dirty="0" smtClean="0"/>
              <a:t>Work Pilot definition</a:t>
            </a:r>
            <a:r>
              <a:rPr lang="en-GB" dirty="0" smtClean="0"/>
              <a:t/>
            </a:r>
            <a:br>
              <a:rPr lang="en-GB" dirty="0" smtClean="0"/>
            </a:br>
            <a:r>
              <a:rPr lang="en-GB" altLang="en-GB" sz="1800" b="1" dirty="0" smtClean="0">
                <a:solidFill>
                  <a:srgbClr val="99CC33"/>
                </a:solidFill>
                <a:cs typeface="Arial" pitchFamily="34" charset="0"/>
              </a:rPr>
              <a:t>What happens in this stage</a:t>
            </a:r>
            <a:r>
              <a:rPr lang="en-GB" dirty="0" smtClean="0"/>
              <a:t/>
            </a:r>
            <a:br>
              <a:rPr lang="en-GB" dirty="0" smtClean="0"/>
            </a:br>
            <a:endParaRPr lang="en-GB" dirty="0" smtClean="0"/>
          </a:p>
        </p:txBody>
      </p:sp>
      <p:sp>
        <p:nvSpPr>
          <p:cNvPr id="151558" name="Slide Number Placeholder 4"/>
          <p:cNvSpPr>
            <a:spLocks noGrp="1"/>
          </p:cNvSpPr>
          <p:nvPr>
            <p:ph type="sldNum" sz="quarter" idx="11"/>
          </p:nvPr>
        </p:nvSpPr>
        <p:spPr>
          <a:noFill/>
        </p:spPr>
        <p:txBody>
          <a:bodyPr/>
          <a:lstStyle/>
          <a:p>
            <a:fld id="{E64E8057-17B0-4813-B9C0-3B5C167420C5}" type="slidenum">
              <a:rPr lang="en-GB" altLang="en-GB"/>
              <a:pPr/>
              <a:t>18</a:t>
            </a:fld>
            <a:endParaRPr lang="en-GB" altLang="en-GB"/>
          </a:p>
        </p:txBody>
      </p:sp>
      <p:sp>
        <p:nvSpPr>
          <p:cNvPr id="151561" name="Rectangle 9"/>
          <p:cNvSpPr>
            <a:spLocks noChangeArrowheads="1"/>
          </p:cNvSpPr>
          <p:nvPr/>
        </p:nvSpPr>
        <p:spPr bwMode="auto">
          <a:xfrm>
            <a:off x="361950" y="1286257"/>
            <a:ext cx="4760914" cy="2268537"/>
          </a:xfrm>
          <a:prstGeom prst="rect">
            <a:avLst/>
          </a:prstGeom>
          <a:solidFill>
            <a:schemeClr val="bg1"/>
          </a:solidFill>
          <a:ln w="3175">
            <a:noFill/>
            <a:miter lim="800000"/>
            <a:headEnd/>
            <a:tailEnd/>
          </a:ln>
        </p:spPr>
        <p:txBody>
          <a:bodyPr lIns="72000" tIns="72000" rIns="72000" bIns="72000"/>
          <a:lstStyle/>
          <a:p>
            <a:pPr>
              <a:spcBef>
                <a:spcPts val="400"/>
              </a:spcBef>
              <a:tabLst>
                <a:tab pos="5715000" algn="l"/>
              </a:tabLst>
            </a:pPr>
            <a:r>
              <a:rPr lang="en-GB" dirty="0">
                <a:solidFill>
                  <a:srgbClr val="000066"/>
                </a:solidFill>
              </a:rPr>
              <a:t>A work pilot serves as a tentative model for future </a:t>
            </a:r>
            <a:r>
              <a:rPr lang="en-GB" dirty="0" smtClean="0">
                <a:solidFill>
                  <a:srgbClr val="000066"/>
                </a:solidFill>
              </a:rPr>
              <a:t>deployment</a:t>
            </a:r>
          </a:p>
          <a:p>
            <a:pPr marL="285750" lvl="1" indent="-285750">
              <a:spcBef>
                <a:spcPts val="600"/>
              </a:spcBef>
              <a:spcAft>
                <a:spcPts val="600"/>
              </a:spcAft>
              <a:buFont typeface="Wingdings" panose="05000000000000000000" pitchFamily="2" charset="2"/>
              <a:buChar char="§"/>
              <a:tabLst>
                <a:tab pos="5715000" algn="l"/>
              </a:tabLst>
            </a:pPr>
            <a:r>
              <a:rPr lang="en-GB" sz="1600" b="0" dirty="0" smtClean="0">
                <a:solidFill>
                  <a:srgbClr val="000066"/>
                </a:solidFill>
              </a:rPr>
              <a:t>Work </a:t>
            </a:r>
            <a:r>
              <a:rPr lang="en-GB" sz="1600" b="0" dirty="0">
                <a:solidFill>
                  <a:srgbClr val="000066"/>
                </a:solidFill>
              </a:rPr>
              <a:t>Pilots are generally conducted for a pre-determined period to simulate a newly improved and streamlined process (or part of it) prior to a large scale deployment. </a:t>
            </a:r>
          </a:p>
          <a:p>
            <a:pPr marL="285750" lvl="1" indent="-285750">
              <a:spcBef>
                <a:spcPts val="600"/>
              </a:spcBef>
              <a:spcAft>
                <a:spcPts val="600"/>
              </a:spcAft>
              <a:buFont typeface="Wingdings" panose="05000000000000000000" pitchFamily="2" charset="2"/>
              <a:buChar char="§"/>
              <a:tabLst>
                <a:tab pos="5715000" algn="l"/>
              </a:tabLst>
            </a:pPr>
            <a:r>
              <a:rPr lang="en-GB" sz="1600" b="0" dirty="0">
                <a:solidFill>
                  <a:srgbClr val="000066"/>
                </a:solidFill>
              </a:rPr>
              <a:t>The effort is then </a:t>
            </a:r>
            <a:r>
              <a:rPr lang="en-GB" sz="1600" dirty="0">
                <a:solidFill>
                  <a:srgbClr val="000066"/>
                </a:solidFill>
              </a:rPr>
              <a:t>evaluated</a:t>
            </a:r>
            <a:r>
              <a:rPr lang="en-GB" sz="1600" b="0" dirty="0">
                <a:solidFill>
                  <a:srgbClr val="000066"/>
                </a:solidFill>
              </a:rPr>
              <a:t> and </a:t>
            </a:r>
            <a:r>
              <a:rPr lang="en-GB" sz="1600" dirty="0">
                <a:solidFill>
                  <a:srgbClr val="000066"/>
                </a:solidFill>
              </a:rPr>
              <a:t>refined</a:t>
            </a:r>
            <a:r>
              <a:rPr lang="en-GB" sz="1600" b="0" dirty="0">
                <a:solidFill>
                  <a:srgbClr val="000066"/>
                </a:solidFill>
              </a:rPr>
              <a:t> before moving into full implementation</a:t>
            </a:r>
          </a:p>
          <a:p>
            <a:pPr marL="465137" lvl="1" indent="-285750">
              <a:spcAft>
                <a:spcPct val="30000"/>
              </a:spcAft>
              <a:buFont typeface="Wingdings" panose="05000000000000000000" pitchFamily="2" charset="2"/>
              <a:buChar char="§"/>
              <a:tabLst>
                <a:tab pos="5715000" algn="l"/>
              </a:tabLst>
            </a:pPr>
            <a:endParaRPr lang="en-GB" sz="1600" b="0" dirty="0">
              <a:solidFill>
                <a:srgbClr val="000066"/>
              </a:solidFill>
            </a:endParaRPr>
          </a:p>
        </p:txBody>
      </p:sp>
      <p:sp>
        <p:nvSpPr>
          <p:cNvPr id="151562" name="Rectangle 10"/>
          <p:cNvSpPr>
            <a:spLocks noChangeArrowheads="1"/>
          </p:cNvSpPr>
          <p:nvPr/>
        </p:nvSpPr>
        <p:spPr bwMode="auto">
          <a:xfrm>
            <a:off x="361949" y="3888502"/>
            <a:ext cx="8453059" cy="2429748"/>
          </a:xfrm>
          <a:prstGeom prst="rect">
            <a:avLst/>
          </a:prstGeom>
          <a:solidFill>
            <a:schemeClr val="bg1"/>
          </a:solidFill>
          <a:ln w="3175" algn="ctr">
            <a:noFill/>
            <a:round/>
            <a:headEnd/>
            <a:tailEnd/>
          </a:ln>
        </p:spPr>
        <p:txBody>
          <a:bodyPr/>
          <a:lstStyle/>
          <a:p>
            <a:pPr>
              <a:spcBef>
                <a:spcPts val="400"/>
              </a:spcBef>
            </a:pPr>
            <a:r>
              <a:rPr lang="en-US" sz="1600" dirty="0">
                <a:solidFill>
                  <a:schemeClr val="accent1"/>
                </a:solidFill>
              </a:rPr>
              <a:t>A work pilot is a test of a proposed </a:t>
            </a:r>
            <a:r>
              <a:rPr lang="en-US" sz="1600" dirty="0" smtClean="0">
                <a:solidFill>
                  <a:schemeClr val="accent1"/>
                </a:solidFill>
              </a:rPr>
              <a:t>solution</a:t>
            </a:r>
            <a:endParaRPr lang="en-US" sz="1600" dirty="0">
              <a:solidFill>
                <a:schemeClr val="accent1"/>
              </a:solidFill>
            </a:endParaRPr>
          </a:p>
          <a:p>
            <a:pPr>
              <a:spcBef>
                <a:spcPts val="400"/>
              </a:spcBef>
            </a:pPr>
            <a:endParaRPr lang="en-US" sz="1600" dirty="0" smtClean="0">
              <a:solidFill>
                <a:schemeClr val="accent1"/>
              </a:solidFill>
            </a:endParaRPr>
          </a:p>
          <a:p>
            <a:pPr>
              <a:spcBef>
                <a:spcPts val="400"/>
              </a:spcBef>
            </a:pPr>
            <a:r>
              <a:rPr lang="en-US" sz="1600" dirty="0" smtClean="0">
                <a:solidFill>
                  <a:schemeClr val="accent1"/>
                </a:solidFill>
              </a:rPr>
              <a:t>This </a:t>
            </a:r>
            <a:r>
              <a:rPr lang="en-US" sz="1600" dirty="0">
                <a:solidFill>
                  <a:schemeClr val="accent1"/>
                </a:solidFill>
              </a:rPr>
              <a:t>type of test has the following </a:t>
            </a:r>
            <a:r>
              <a:rPr lang="en-US" sz="1600" dirty="0" smtClean="0">
                <a:solidFill>
                  <a:schemeClr val="accent1"/>
                </a:solidFill>
              </a:rPr>
              <a:t>characteristics</a:t>
            </a:r>
            <a:r>
              <a:rPr lang="en-US" sz="1600" b="0" dirty="0" smtClean="0">
                <a:solidFill>
                  <a:schemeClr val="accent1"/>
                </a:solidFill>
              </a:rPr>
              <a:t>:</a:t>
            </a:r>
          </a:p>
          <a:p>
            <a:pPr marL="285750" indent="-285750">
              <a:spcBef>
                <a:spcPct val="50000"/>
              </a:spcBef>
              <a:buFont typeface="Wingdings" panose="05000000000000000000" pitchFamily="2" charset="2"/>
              <a:buChar char="§"/>
            </a:pPr>
            <a:r>
              <a:rPr lang="en-GB" sz="1600" b="0" dirty="0">
                <a:solidFill>
                  <a:schemeClr val="accent1"/>
                </a:solidFill>
              </a:rPr>
              <a:t>Used to </a:t>
            </a:r>
            <a:r>
              <a:rPr lang="en-GB" sz="1600" dirty="0">
                <a:solidFill>
                  <a:schemeClr val="accent1"/>
                </a:solidFill>
              </a:rPr>
              <a:t>evaluate</a:t>
            </a:r>
            <a:r>
              <a:rPr lang="en-GB" sz="1600" b="0" dirty="0">
                <a:solidFill>
                  <a:schemeClr val="accent1"/>
                </a:solidFill>
              </a:rPr>
              <a:t> both the solution and the implementation of the solution</a:t>
            </a:r>
          </a:p>
          <a:p>
            <a:pPr marL="285750" indent="-285750">
              <a:spcBef>
                <a:spcPct val="50000"/>
              </a:spcBef>
              <a:buFont typeface="Wingdings" panose="05000000000000000000" pitchFamily="2" charset="2"/>
              <a:buChar char="§"/>
            </a:pPr>
            <a:r>
              <a:rPr lang="en-GB" sz="1600" b="0" dirty="0">
                <a:solidFill>
                  <a:schemeClr val="accent1"/>
                </a:solidFill>
              </a:rPr>
              <a:t>Perform on a </a:t>
            </a:r>
            <a:r>
              <a:rPr lang="en-GB" sz="1600" dirty="0">
                <a:solidFill>
                  <a:schemeClr val="accent1"/>
                </a:solidFill>
              </a:rPr>
              <a:t>small scale</a:t>
            </a:r>
          </a:p>
          <a:p>
            <a:pPr marL="285750" indent="-285750">
              <a:spcBef>
                <a:spcPct val="50000"/>
              </a:spcBef>
              <a:buFont typeface="Wingdings" panose="05000000000000000000" pitchFamily="2" charset="2"/>
              <a:buChar char="§"/>
            </a:pPr>
            <a:r>
              <a:rPr lang="en-GB" sz="1600" b="0" dirty="0">
                <a:solidFill>
                  <a:schemeClr val="accent1"/>
                </a:solidFill>
              </a:rPr>
              <a:t>Purpose is to make the full scale i</a:t>
            </a:r>
            <a:r>
              <a:rPr lang="en-GB" sz="1600" dirty="0">
                <a:solidFill>
                  <a:schemeClr val="accent1"/>
                </a:solidFill>
              </a:rPr>
              <a:t>mplementation</a:t>
            </a:r>
            <a:r>
              <a:rPr lang="en-GB" sz="1600" b="0" dirty="0">
                <a:solidFill>
                  <a:schemeClr val="accent1"/>
                </a:solidFill>
              </a:rPr>
              <a:t> </a:t>
            </a:r>
            <a:r>
              <a:rPr lang="en-GB" sz="1600" dirty="0">
                <a:solidFill>
                  <a:schemeClr val="accent1"/>
                </a:solidFill>
              </a:rPr>
              <a:t>more effective</a:t>
            </a:r>
          </a:p>
          <a:p>
            <a:pPr marL="285750" indent="-285750">
              <a:spcBef>
                <a:spcPct val="50000"/>
              </a:spcBef>
              <a:buFont typeface="Wingdings" panose="05000000000000000000" pitchFamily="2" charset="2"/>
              <a:buChar char="§"/>
            </a:pPr>
            <a:r>
              <a:rPr lang="en-GB" sz="1600" b="0" dirty="0">
                <a:solidFill>
                  <a:schemeClr val="accent1"/>
                </a:solidFill>
              </a:rPr>
              <a:t>Gives data about </a:t>
            </a:r>
            <a:r>
              <a:rPr lang="en-GB" sz="1600" dirty="0">
                <a:solidFill>
                  <a:schemeClr val="accent1"/>
                </a:solidFill>
              </a:rPr>
              <a:t>expected results</a:t>
            </a:r>
            <a:r>
              <a:rPr lang="en-GB" sz="1600" b="0" dirty="0">
                <a:solidFill>
                  <a:schemeClr val="accent1"/>
                </a:solidFill>
              </a:rPr>
              <a:t> and </a:t>
            </a:r>
            <a:r>
              <a:rPr lang="en-GB" sz="1600" dirty="0">
                <a:solidFill>
                  <a:schemeClr val="accent1"/>
                </a:solidFill>
              </a:rPr>
              <a:t>exposes issues</a:t>
            </a:r>
            <a:r>
              <a:rPr lang="en-GB" sz="1600" b="0" dirty="0">
                <a:solidFill>
                  <a:schemeClr val="accent1"/>
                </a:solidFill>
              </a:rPr>
              <a:t> in the implementation plan</a:t>
            </a:r>
          </a:p>
          <a:p>
            <a:pPr>
              <a:spcBef>
                <a:spcPts val="400"/>
              </a:spcBef>
            </a:pPr>
            <a:endParaRPr lang="en-US" sz="1600" b="0" dirty="0">
              <a:solidFill>
                <a:schemeClr val="accent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92872" y="1593585"/>
            <a:ext cx="2322137" cy="2889770"/>
          </a:xfrm>
          <a:prstGeom prst="rect">
            <a:avLst/>
          </a:prstGeom>
        </p:spPr>
      </p:pic>
    </p:spTree>
    <p:extLst>
      <p:ext uri="{BB962C8B-B14F-4D97-AF65-F5344CB8AC3E}">
        <p14:creationId xmlns:p14="http://schemas.microsoft.com/office/powerpoint/2010/main" val="191181870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5932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2583" name="Rectangle 4"/>
          <p:cNvSpPr>
            <a:spLocks noChangeArrowheads="1"/>
          </p:cNvSpPr>
          <p:nvPr/>
        </p:nvSpPr>
        <p:spPr bwMode="auto">
          <a:xfrm>
            <a:off x="6284685" y="1273174"/>
            <a:ext cx="2532289" cy="5045075"/>
          </a:xfrm>
          <a:prstGeom prst="rect">
            <a:avLst/>
          </a:prstGeom>
          <a:solidFill>
            <a:schemeClr val="accent3"/>
          </a:solidFill>
          <a:ln w="3175">
            <a:noFill/>
            <a:miter lim="800000"/>
            <a:headEnd/>
            <a:tailEnd/>
          </a:ln>
        </p:spPr>
        <p:txBody>
          <a:bodyPr lIns="144000" tIns="72000" rIns="144000" bIns="72000"/>
          <a:lstStyle/>
          <a:p>
            <a:pPr>
              <a:lnSpc>
                <a:spcPct val="102000"/>
              </a:lnSpc>
              <a:spcAft>
                <a:spcPct val="37000"/>
              </a:spcAft>
              <a:tabLst>
                <a:tab pos="5715000" algn="l"/>
              </a:tabLst>
            </a:pPr>
            <a:r>
              <a:rPr lang="en-US" sz="1600" dirty="0">
                <a:solidFill>
                  <a:schemeClr val="bg1"/>
                </a:solidFill>
              </a:rPr>
              <a:t>Pilots are particularly useful when it is not clear: </a:t>
            </a:r>
          </a:p>
          <a:p>
            <a:pPr marL="176213" lvl="1" indent="-176213">
              <a:lnSpc>
                <a:spcPct val="102000"/>
              </a:lnSpc>
              <a:spcAft>
                <a:spcPct val="37000"/>
              </a:spcAft>
              <a:buFontTx/>
              <a:buChar char="•"/>
              <a:tabLst>
                <a:tab pos="5715000" algn="l"/>
              </a:tabLst>
            </a:pPr>
            <a:r>
              <a:rPr lang="en-US" sz="1600" b="0" dirty="0">
                <a:solidFill>
                  <a:schemeClr val="bg1"/>
                </a:solidFill>
              </a:rPr>
              <a:t>How the </a:t>
            </a:r>
            <a:r>
              <a:rPr lang="en-US" sz="1600" b="0" dirty="0" smtClean="0">
                <a:solidFill>
                  <a:schemeClr val="bg1"/>
                </a:solidFill>
              </a:rPr>
              <a:t>overall rollout of the solutions will occur in all </a:t>
            </a:r>
            <a:r>
              <a:rPr lang="en-US" sz="1600" b="0" dirty="0" err="1" smtClean="0">
                <a:solidFill>
                  <a:schemeClr val="bg1"/>
                </a:solidFill>
              </a:rPr>
              <a:t>depar-tments</a:t>
            </a:r>
            <a:r>
              <a:rPr lang="en-US" sz="1600" b="0" dirty="0" smtClean="0">
                <a:solidFill>
                  <a:schemeClr val="bg1"/>
                </a:solidFill>
              </a:rPr>
              <a:t> impacted</a:t>
            </a:r>
            <a:endParaRPr lang="en-US" sz="1600" b="0" dirty="0">
              <a:solidFill>
                <a:schemeClr val="bg1"/>
              </a:solidFill>
            </a:endParaRPr>
          </a:p>
          <a:p>
            <a:pPr marL="176213" lvl="1" indent="-176213">
              <a:lnSpc>
                <a:spcPct val="102000"/>
              </a:lnSpc>
              <a:spcAft>
                <a:spcPct val="37000"/>
              </a:spcAft>
              <a:buFontTx/>
              <a:buChar char="•"/>
              <a:tabLst>
                <a:tab pos="5715000" algn="l"/>
              </a:tabLst>
            </a:pPr>
            <a:r>
              <a:rPr lang="en-US" sz="1600" b="0" dirty="0">
                <a:solidFill>
                  <a:schemeClr val="bg1"/>
                </a:solidFill>
              </a:rPr>
              <a:t>What risks are being taken</a:t>
            </a:r>
          </a:p>
          <a:p>
            <a:pPr marL="176213" lvl="1" indent="-176213">
              <a:lnSpc>
                <a:spcPct val="102000"/>
              </a:lnSpc>
              <a:spcAft>
                <a:spcPct val="37000"/>
              </a:spcAft>
              <a:buFontTx/>
              <a:buChar char="•"/>
              <a:tabLst>
                <a:tab pos="5715000" algn="l"/>
              </a:tabLst>
            </a:pPr>
            <a:r>
              <a:rPr lang="en-US" sz="1600" b="0" dirty="0">
                <a:solidFill>
                  <a:schemeClr val="bg1"/>
                </a:solidFill>
              </a:rPr>
              <a:t>How the environment might respond to the change</a:t>
            </a:r>
          </a:p>
          <a:p>
            <a:pPr marL="176213" lvl="1" indent="-176213">
              <a:lnSpc>
                <a:spcPct val="102000"/>
              </a:lnSpc>
              <a:spcAft>
                <a:spcPct val="37000"/>
              </a:spcAft>
              <a:buFontTx/>
              <a:buChar char="•"/>
              <a:tabLst>
                <a:tab pos="5715000" algn="l"/>
              </a:tabLst>
            </a:pPr>
            <a:r>
              <a:rPr lang="en-US" sz="1600" b="0" dirty="0">
                <a:solidFill>
                  <a:schemeClr val="bg1"/>
                </a:solidFill>
              </a:rPr>
              <a:t>How the </a:t>
            </a:r>
            <a:r>
              <a:rPr lang="en-US" sz="1600" b="0" dirty="0" smtClean="0">
                <a:solidFill>
                  <a:schemeClr val="bg1"/>
                </a:solidFill>
              </a:rPr>
              <a:t>company’s culture </a:t>
            </a:r>
            <a:r>
              <a:rPr lang="en-US" sz="1600" b="0" dirty="0">
                <a:solidFill>
                  <a:schemeClr val="bg1"/>
                </a:solidFill>
              </a:rPr>
              <a:t>will affect the deployment</a:t>
            </a:r>
          </a:p>
        </p:txBody>
      </p:sp>
      <p:sp>
        <p:nvSpPr>
          <p:cNvPr id="152580" name="Rectangle 9"/>
          <p:cNvSpPr>
            <a:spLocks noGrp="1" noChangeArrowheads="1"/>
          </p:cNvSpPr>
          <p:nvPr>
            <p:ph type="title"/>
          </p:nvPr>
        </p:nvSpPr>
        <p:spPr/>
        <p:txBody>
          <a:bodyPr/>
          <a:lstStyle/>
          <a:p>
            <a:pPr eaLnBrk="1" hangingPunct="1"/>
            <a:r>
              <a:rPr lang="en-GB" sz="2400" dirty="0" smtClean="0"/>
              <a:t>Why use a Work Pilot</a:t>
            </a:r>
            <a:br>
              <a:rPr lang="en-GB" sz="2400" dirty="0" smtClean="0"/>
            </a:br>
            <a:r>
              <a:rPr lang="en-GB" altLang="en-GB" sz="1800" b="1" dirty="0" smtClean="0">
                <a:solidFill>
                  <a:srgbClr val="99CC33"/>
                </a:solidFill>
                <a:cs typeface="Arial" pitchFamily="34" charset="0"/>
              </a:rPr>
              <a:t>The uses</a:t>
            </a:r>
          </a:p>
        </p:txBody>
      </p:sp>
      <p:sp>
        <p:nvSpPr>
          <p:cNvPr id="152581" name="Slide Number Placeholder 4"/>
          <p:cNvSpPr>
            <a:spLocks noGrp="1"/>
          </p:cNvSpPr>
          <p:nvPr>
            <p:ph type="sldNum" sz="quarter" idx="11"/>
          </p:nvPr>
        </p:nvSpPr>
        <p:spPr>
          <a:noFill/>
        </p:spPr>
        <p:txBody>
          <a:bodyPr/>
          <a:lstStyle/>
          <a:p>
            <a:fld id="{4A837C46-67B2-43B5-BB89-2228AB53D300}" type="slidenum">
              <a:rPr lang="en-GB" altLang="en-GB"/>
              <a:pPr/>
              <a:t>19</a:t>
            </a:fld>
            <a:endParaRPr lang="en-GB" altLang="en-GB"/>
          </a:p>
        </p:txBody>
      </p:sp>
      <p:sp>
        <p:nvSpPr>
          <p:cNvPr id="173059" name="Rectangle 3"/>
          <p:cNvSpPr>
            <a:spLocks noGrp="1" noChangeArrowheads="1"/>
          </p:cNvSpPr>
          <p:nvPr>
            <p:ph type="body" idx="4294967295"/>
          </p:nvPr>
        </p:nvSpPr>
        <p:spPr>
          <a:xfrm>
            <a:off x="361950" y="1273175"/>
            <a:ext cx="5284788" cy="5003800"/>
          </a:xfrm>
          <a:solidFill>
            <a:schemeClr val="bg1"/>
          </a:solidFill>
          <a:ln w="3175">
            <a:noFill/>
          </a:ln>
        </p:spPr>
        <p:txBody>
          <a:bodyPr lIns="144000" tIns="72000" rIns="72000" bIns="72000"/>
          <a:lstStyle/>
          <a:p>
            <a:pPr marL="0" indent="0" eaLnBrk="1" hangingPunct="1">
              <a:defRPr/>
            </a:pPr>
            <a:r>
              <a:rPr lang="en-GB" b="1" dirty="0" smtClean="0"/>
              <a:t>Why do I use a Work Pilot? </a:t>
            </a:r>
          </a:p>
          <a:p>
            <a:pPr marL="285750" lvl="1" indent="-285750" eaLnBrk="1" hangingPunct="1">
              <a:lnSpc>
                <a:spcPct val="102000"/>
              </a:lnSpc>
              <a:spcAft>
                <a:spcPct val="37000"/>
              </a:spcAft>
              <a:buFont typeface="Wingdings" panose="05000000000000000000" pitchFamily="2" charset="2"/>
              <a:buChar char="§"/>
              <a:defRPr/>
            </a:pPr>
            <a:r>
              <a:rPr lang="en-GB" dirty="0" smtClean="0">
                <a:ea typeface="+mn-ea"/>
                <a:cs typeface="+mn-cs"/>
              </a:rPr>
              <a:t>Allows testing of assumptions, new configurations-of-work, and procedures of new processes/ systems</a:t>
            </a:r>
          </a:p>
          <a:p>
            <a:pPr marL="285750" lvl="1" indent="-285750" eaLnBrk="1" hangingPunct="1">
              <a:lnSpc>
                <a:spcPct val="102000"/>
              </a:lnSpc>
              <a:spcAft>
                <a:spcPct val="37000"/>
              </a:spcAft>
              <a:buFont typeface="Wingdings" panose="05000000000000000000" pitchFamily="2" charset="2"/>
              <a:buChar char="§"/>
              <a:defRPr/>
            </a:pPr>
            <a:r>
              <a:rPr lang="en-GB" dirty="0" smtClean="0">
                <a:ea typeface="+mn-ea"/>
                <a:cs typeface="+mn-cs"/>
              </a:rPr>
              <a:t>Allows fine tuning of the design(s) of solutions</a:t>
            </a:r>
          </a:p>
          <a:p>
            <a:pPr marL="285750" lvl="1" indent="-285750" eaLnBrk="1" hangingPunct="1">
              <a:lnSpc>
                <a:spcPct val="102000"/>
              </a:lnSpc>
              <a:spcAft>
                <a:spcPct val="37000"/>
              </a:spcAft>
              <a:buFont typeface="Wingdings" panose="05000000000000000000" pitchFamily="2" charset="2"/>
              <a:buChar char="§"/>
              <a:defRPr/>
            </a:pPr>
            <a:r>
              <a:rPr lang="en-GB" dirty="0">
                <a:ea typeface="+mn-ea"/>
                <a:cs typeface="+mn-cs"/>
              </a:rPr>
              <a:t>C</a:t>
            </a:r>
            <a:r>
              <a:rPr lang="en-GB" dirty="0" smtClean="0">
                <a:ea typeface="+mn-ea"/>
                <a:cs typeface="+mn-cs"/>
              </a:rPr>
              <a:t>onfirms the full-scale expected benefits</a:t>
            </a:r>
          </a:p>
          <a:p>
            <a:pPr marL="285750" lvl="1" indent="-285750" eaLnBrk="1" hangingPunct="1">
              <a:lnSpc>
                <a:spcPct val="102000"/>
              </a:lnSpc>
              <a:spcAft>
                <a:spcPct val="37000"/>
              </a:spcAft>
              <a:buFont typeface="Wingdings" panose="05000000000000000000" pitchFamily="2" charset="2"/>
              <a:buChar char="§"/>
              <a:defRPr/>
            </a:pPr>
            <a:r>
              <a:rPr lang="en-GB" dirty="0"/>
              <a:t>Minimises the problems and surprises of implementation and correct them before a full-scale rollout</a:t>
            </a:r>
          </a:p>
          <a:p>
            <a:pPr marL="285750" lvl="1" indent="-285750" eaLnBrk="1" hangingPunct="1">
              <a:lnSpc>
                <a:spcPct val="102000"/>
              </a:lnSpc>
              <a:spcAft>
                <a:spcPct val="37000"/>
              </a:spcAft>
              <a:buFont typeface="Wingdings" panose="05000000000000000000" pitchFamily="2" charset="2"/>
              <a:buChar char="§"/>
              <a:defRPr/>
            </a:pPr>
            <a:r>
              <a:rPr lang="en-GB" dirty="0" smtClean="0">
                <a:ea typeface="+mn-ea"/>
                <a:cs typeface="+mn-cs"/>
              </a:rPr>
              <a:t>Helps people become comfortable and familiar with the new process/system</a:t>
            </a:r>
          </a:p>
          <a:p>
            <a:pPr marL="285750" lvl="1" indent="-285750" eaLnBrk="1" hangingPunct="1">
              <a:lnSpc>
                <a:spcPct val="102000"/>
              </a:lnSpc>
              <a:spcAft>
                <a:spcPct val="37000"/>
              </a:spcAft>
              <a:buFont typeface="Wingdings" panose="05000000000000000000" pitchFamily="2" charset="2"/>
              <a:buChar char="§"/>
              <a:defRPr/>
            </a:pPr>
            <a:r>
              <a:rPr lang="en-GB" dirty="0" smtClean="0">
                <a:ea typeface="+mn-ea"/>
                <a:cs typeface="+mn-cs"/>
              </a:rPr>
              <a:t>Showcases to stakeholders and employees what the new process will look &amp; feel like</a:t>
            </a:r>
          </a:p>
          <a:p>
            <a:pPr marL="285750" lvl="1" indent="-285750" eaLnBrk="1" hangingPunct="1">
              <a:lnSpc>
                <a:spcPct val="102000"/>
              </a:lnSpc>
              <a:spcAft>
                <a:spcPct val="37000"/>
              </a:spcAft>
              <a:buFont typeface="Wingdings" panose="05000000000000000000" pitchFamily="2" charset="2"/>
              <a:buChar char="§"/>
              <a:defRPr/>
            </a:pPr>
            <a:r>
              <a:rPr lang="en-GB" dirty="0" smtClean="0">
                <a:ea typeface="+mn-ea"/>
                <a:cs typeface="+mn-cs"/>
              </a:rPr>
              <a:t>Demonstrate real commitment from the management team to change and improve the ways of working</a:t>
            </a:r>
          </a:p>
        </p:txBody>
      </p:sp>
    </p:spTree>
    <p:extLst>
      <p:ext uri="{BB962C8B-B14F-4D97-AF65-F5344CB8AC3E}">
        <p14:creationId xmlns:p14="http://schemas.microsoft.com/office/powerpoint/2010/main" val="29675606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9643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6434" name="Title 1"/>
          <p:cNvSpPr>
            <a:spLocks noGrp="1"/>
          </p:cNvSpPr>
          <p:nvPr>
            <p:ph type="title"/>
          </p:nvPr>
        </p:nvSpPr>
        <p:spPr/>
        <p:txBody>
          <a:bodyPr/>
          <a:lstStyle/>
          <a:p>
            <a:pPr eaLnBrk="1" hangingPunct="1"/>
            <a:r>
              <a:rPr lang="en-GB" sz="2400" dirty="0" smtClean="0"/>
              <a:t>Agenda</a:t>
            </a:r>
            <a:r>
              <a:rPr lang="en-GB" dirty="0" smtClean="0"/>
              <a:t/>
            </a:r>
            <a:br>
              <a:rPr lang="en-GB" dirty="0" smtClean="0"/>
            </a:br>
            <a:r>
              <a:rPr lang="en-GB" sz="1800" b="1" dirty="0" smtClean="0">
                <a:solidFill>
                  <a:schemeClr val="tx1"/>
                </a:solidFill>
                <a:cs typeface="Arial" pitchFamily="34" charset="0"/>
              </a:rPr>
              <a:t>Day 4 – Future State 2 &amp; Work Pilot</a:t>
            </a:r>
            <a:endParaRPr lang="en-GB" sz="1800" dirty="0" smtClean="0">
              <a:solidFill>
                <a:schemeClr val="tx1"/>
              </a:solidFill>
            </a:endParaRPr>
          </a:p>
        </p:txBody>
      </p:sp>
      <p:sp>
        <p:nvSpPr>
          <p:cNvPr id="146435" name="Slide Number Placeholder 4"/>
          <p:cNvSpPr>
            <a:spLocks noGrp="1"/>
          </p:cNvSpPr>
          <p:nvPr>
            <p:ph type="sldNum" sz="quarter" idx="11"/>
          </p:nvPr>
        </p:nvSpPr>
        <p:spPr>
          <a:noFill/>
        </p:spPr>
        <p:txBody>
          <a:bodyPr/>
          <a:lstStyle/>
          <a:p>
            <a:fld id="{82D34DDB-D9C1-4DB6-926B-ECFA1F44E4A6}" type="slidenum">
              <a:rPr lang="en-GB" altLang="en-GB"/>
              <a:pPr/>
              <a:t>2</a:t>
            </a:fld>
            <a:endParaRPr lang="en-GB" altLang="en-GB"/>
          </a:p>
        </p:txBody>
      </p:sp>
      <p:graphicFrame>
        <p:nvGraphicFramePr>
          <p:cNvPr id="8" name="Group 33"/>
          <p:cNvGraphicFramePr>
            <a:graphicFrameLocks noGrp="1"/>
          </p:cNvGraphicFramePr>
          <p:nvPr>
            <p:extLst>
              <p:ext uri="{D42A27DB-BD31-4B8C-83A1-F6EECF244321}">
                <p14:modId xmlns:p14="http://schemas.microsoft.com/office/powerpoint/2010/main" val="1139488340"/>
              </p:ext>
            </p:extLst>
          </p:nvPr>
        </p:nvGraphicFramePr>
        <p:xfrm>
          <a:off x="466725" y="1268413"/>
          <a:ext cx="8353425" cy="5001118"/>
        </p:xfrm>
        <a:graphic>
          <a:graphicData uri="http://schemas.openxmlformats.org/drawingml/2006/table">
            <a:tbl>
              <a:tblPr/>
              <a:tblGrid>
                <a:gridCol w="1296987"/>
                <a:gridCol w="7056438"/>
              </a:tblGrid>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6"/>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800" b="1" dirty="0" smtClean="0">
                          <a:solidFill>
                            <a:schemeClr val="tx1"/>
                          </a:solidFill>
                          <a:cs typeface="Arial" pitchFamily="34" charset="0"/>
                        </a:rPr>
                        <a:t>Teach</a:t>
                      </a:r>
                      <a:r>
                        <a:rPr lang="en-GB" sz="1800" b="1" baseline="0" dirty="0" smtClean="0">
                          <a:solidFill>
                            <a:schemeClr val="tx1"/>
                          </a:solidFill>
                          <a:cs typeface="Arial" pitchFamily="34" charset="0"/>
                        </a:rPr>
                        <a:t> Back – Days 1, 2, and 3</a:t>
                      </a:r>
                      <a:endParaRPr kumimoji="0" lang="en-GB" sz="1800" b="1" i="0" u="none" strike="noStrike" cap="none" normalizeH="0" baseline="0" dirty="0" smtClean="0">
                        <a:ln>
                          <a:noFill/>
                        </a:ln>
                        <a:solidFill>
                          <a:schemeClr val="tx1"/>
                        </a:solidFill>
                        <a:effectLst/>
                        <a:latin typeface="Arial" pitchFamily="34" charset="0"/>
                      </a:endParaRP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800" b="1" i="0" u="none" strike="noStrike" cap="none" normalizeH="0" baseline="0" dirty="0" smtClean="0">
                          <a:ln>
                            <a:noFill/>
                          </a:ln>
                          <a:solidFill>
                            <a:schemeClr val="tx1"/>
                          </a:solidFill>
                          <a:effectLst/>
                          <a:latin typeface="Arial" pitchFamily="34" charset="0"/>
                        </a:rPr>
                        <a:t>Introduction to Future State 2</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Action</a:t>
                      </a:r>
                      <a:r>
                        <a:rPr lang="en-GB" sz="1400" baseline="0" dirty="0" smtClean="0">
                          <a:solidFill>
                            <a:srgbClr val="000066"/>
                          </a:solidFill>
                          <a:cs typeface="Arial" pitchFamily="34" charset="0"/>
                        </a:rPr>
                        <a:t> Brainstorm</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Breakdown Structure</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Packages</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Exercise - Implementing the Future State Design</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Introduction</a:t>
                      </a:r>
                      <a:r>
                        <a:rPr lang="en-GB" sz="1400" baseline="0" dirty="0" smtClean="0">
                          <a:solidFill>
                            <a:srgbClr val="000066"/>
                          </a:solidFill>
                          <a:cs typeface="Arial" pitchFamily="34" charset="0"/>
                        </a:rPr>
                        <a:t> to </a:t>
                      </a:r>
                      <a:r>
                        <a:rPr lang="en-GB" sz="1400" dirty="0" smtClean="0">
                          <a:solidFill>
                            <a:srgbClr val="000066"/>
                          </a:solidFill>
                          <a:cs typeface="Arial" pitchFamily="34" charset="0"/>
                        </a:rPr>
                        <a:t>Work Pilot</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Set Up</a:t>
                      </a:r>
                      <a:r>
                        <a:rPr lang="en-GB" sz="1400" baseline="0" dirty="0" smtClean="0">
                          <a:solidFill>
                            <a:srgbClr val="000066"/>
                          </a:solidFill>
                          <a:cs typeface="Arial" pitchFamily="34" charset="0"/>
                        </a:rPr>
                        <a:t> &amp; Run a Work Pilo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un Final Simulation</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ecord and review simulation performance</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Lean</a:t>
                      </a:r>
                      <a:r>
                        <a:rPr lang="en-GB" sz="1400" kern="1200" baseline="0" dirty="0" smtClean="0">
                          <a:solidFill>
                            <a:srgbClr val="000066"/>
                          </a:solidFill>
                          <a:latin typeface="+mn-lt"/>
                          <a:ea typeface="+mn-ea"/>
                          <a:cs typeface="Arial" pitchFamily="34" charset="0"/>
                        </a:rPr>
                        <a:t> management</a:t>
                      </a:r>
                      <a:r>
                        <a:rPr lang="en-GB" sz="1400" kern="1200" dirty="0" smtClean="0">
                          <a:solidFill>
                            <a:srgbClr val="000066"/>
                          </a:solidFill>
                          <a:latin typeface="+mn-lt"/>
                          <a:ea typeface="+mn-ea"/>
                          <a:cs typeface="Arial" pitchFamily="34" charset="0"/>
                        </a:rPr>
                        <a:t> tools and techniqu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dirty="0" smtClean="0">
                          <a:solidFill>
                            <a:srgbClr val="000066"/>
                          </a:solidFill>
                          <a:cs typeface="Arial" pitchFamily="34" charset="0"/>
                        </a:rPr>
                        <a:t>Planning the</a:t>
                      </a:r>
                      <a:r>
                        <a:rPr lang="en-GB" sz="1400" baseline="0" dirty="0" smtClean="0">
                          <a:solidFill>
                            <a:srgbClr val="000066"/>
                          </a:solidFill>
                          <a:cs typeface="Arial" pitchFamily="34" charset="0"/>
                        </a:rPr>
                        <a:t> Transfer to BAU</a:t>
                      </a:r>
                      <a:endParaRPr lang="en-GB" sz="1400" kern="1200" dirty="0" smtClean="0">
                        <a:solidFill>
                          <a:srgbClr val="000066"/>
                        </a:solidFill>
                        <a:latin typeface="+mn-lt"/>
                        <a:ea typeface="+mn-ea"/>
                        <a:cs typeface="Arial" pitchFamily="34" charset="0"/>
                      </a:endParaRP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ourse Review &amp; Wrap up</a:t>
                      </a:r>
                    </a:p>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Overall WWW and WBBI</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8790970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5" name="Rectangle 2"/>
          <p:cNvSpPr>
            <a:spLocks noGrp="1" noChangeArrowheads="1"/>
          </p:cNvSpPr>
          <p:nvPr>
            <p:ph type="title"/>
          </p:nvPr>
        </p:nvSpPr>
        <p:spPr/>
        <p:txBody>
          <a:bodyPr/>
          <a:lstStyle/>
          <a:p>
            <a:pPr eaLnBrk="1" hangingPunct="1"/>
            <a:r>
              <a:rPr lang="en-GB" sz="2400" dirty="0" smtClean="0"/>
              <a:t>Work Pilot objectives</a:t>
            </a:r>
            <a:br>
              <a:rPr lang="en-GB" sz="2400" dirty="0" smtClean="0"/>
            </a:br>
            <a:r>
              <a:rPr lang="en-GB" sz="1800" b="1" dirty="0" smtClean="0">
                <a:solidFill>
                  <a:srgbClr val="99CC33"/>
                </a:solidFill>
                <a:cs typeface="Arial" pitchFamily="34" charset="0"/>
              </a:rPr>
              <a:t>What we are planning to achieve</a:t>
            </a:r>
            <a:endParaRPr lang="en-GB" altLang="en-GB" sz="1800" b="1" dirty="0" smtClean="0">
              <a:solidFill>
                <a:srgbClr val="99CC33"/>
              </a:solidFill>
              <a:cs typeface="Arial" pitchFamily="34" charset="0"/>
            </a:endParaRPr>
          </a:p>
        </p:txBody>
      </p:sp>
      <p:sp>
        <p:nvSpPr>
          <p:cNvPr id="153606" name="Slide Number Placeholder 4"/>
          <p:cNvSpPr>
            <a:spLocks noGrp="1"/>
          </p:cNvSpPr>
          <p:nvPr>
            <p:ph type="sldNum" sz="quarter" idx="11"/>
          </p:nvPr>
        </p:nvSpPr>
        <p:spPr>
          <a:noFill/>
        </p:spPr>
        <p:txBody>
          <a:bodyPr/>
          <a:lstStyle/>
          <a:p>
            <a:fld id="{D7BA8602-1D36-42F3-9ADD-DC3FBBDDCECF}" type="slidenum">
              <a:rPr lang="en-GB" altLang="en-GB"/>
              <a:pPr/>
              <a:t>20</a:t>
            </a:fld>
            <a:endParaRPr lang="en-GB" altLang="en-GB"/>
          </a:p>
        </p:txBody>
      </p:sp>
      <p:sp>
        <p:nvSpPr>
          <p:cNvPr id="153607" name="Rectangle 5"/>
          <p:cNvSpPr>
            <a:spLocks noChangeArrowheads="1"/>
          </p:cNvSpPr>
          <p:nvPr/>
        </p:nvSpPr>
        <p:spPr bwMode="auto">
          <a:xfrm>
            <a:off x="361950" y="1287463"/>
            <a:ext cx="4360863" cy="3835399"/>
          </a:xfrm>
          <a:prstGeom prst="rect">
            <a:avLst/>
          </a:prstGeom>
          <a:solidFill>
            <a:srgbClr val="FFFFFF"/>
          </a:solidFill>
          <a:ln w="9525" algn="ctr">
            <a:noFill/>
            <a:miter lim="800000"/>
            <a:headEnd type="none" w="sm" len="sm"/>
            <a:tailEnd/>
          </a:ln>
        </p:spPr>
        <p:txBody>
          <a:bodyPr lIns="144000" tIns="72000" rIns="72000" bIns="72000"/>
          <a:lstStyle/>
          <a:p>
            <a:pPr marL="169863" lvl="1" indent="-168275">
              <a:spcAft>
                <a:spcPct val="30000"/>
              </a:spcAft>
            </a:pPr>
            <a:r>
              <a:rPr lang="en-GB" dirty="0" smtClean="0">
                <a:solidFill>
                  <a:srgbClr val="000066"/>
                </a:solidFill>
              </a:rPr>
              <a:t>Work </a:t>
            </a:r>
            <a:r>
              <a:rPr lang="en-GB" dirty="0">
                <a:solidFill>
                  <a:srgbClr val="000066"/>
                </a:solidFill>
              </a:rPr>
              <a:t>Pilot </a:t>
            </a:r>
            <a:r>
              <a:rPr lang="en-GB" dirty="0" smtClean="0">
                <a:solidFill>
                  <a:srgbClr val="000066"/>
                </a:solidFill>
              </a:rPr>
              <a:t>objectives</a:t>
            </a:r>
            <a:endParaRPr lang="en-GB" dirty="0">
              <a:solidFill>
                <a:srgbClr val="000066"/>
              </a:solidFill>
            </a:endParaRPr>
          </a:p>
          <a:p>
            <a:pPr marL="287338" lvl="1" indent="-285750">
              <a:spcAft>
                <a:spcPct val="30000"/>
              </a:spcAft>
              <a:buFont typeface="Wingdings" panose="05000000000000000000" pitchFamily="2" charset="2"/>
              <a:buChar char="§"/>
            </a:pPr>
            <a:r>
              <a:rPr lang="en-GB" sz="1600" b="0" dirty="0">
                <a:solidFill>
                  <a:srgbClr val="000065"/>
                </a:solidFill>
              </a:rPr>
              <a:t>Test &amp; </a:t>
            </a:r>
            <a:r>
              <a:rPr lang="en-GB" sz="1600" b="0" dirty="0" smtClean="0">
                <a:solidFill>
                  <a:srgbClr val="000065"/>
                </a:solidFill>
              </a:rPr>
              <a:t>refine the </a:t>
            </a:r>
            <a:r>
              <a:rPr lang="en-GB" sz="1600" b="0" dirty="0">
                <a:solidFill>
                  <a:srgbClr val="000065"/>
                </a:solidFill>
              </a:rPr>
              <a:t>new </a:t>
            </a:r>
            <a:r>
              <a:rPr lang="en-GB" sz="1600" dirty="0">
                <a:solidFill>
                  <a:srgbClr val="000065"/>
                </a:solidFill>
              </a:rPr>
              <a:t>streamlined process </a:t>
            </a:r>
            <a:r>
              <a:rPr lang="en-GB" sz="1600" b="0" dirty="0">
                <a:solidFill>
                  <a:srgbClr val="000065"/>
                </a:solidFill>
              </a:rPr>
              <a:t>in a safe environment</a:t>
            </a:r>
          </a:p>
          <a:p>
            <a:pPr marL="287338" lvl="1" indent="-285750">
              <a:spcAft>
                <a:spcPct val="30000"/>
              </a:spcAft>
              <a:buFont typeface="Wingdings" panose="05000000000000000000" pitchFamily="2" charset="2"/>
              <a:buChar char="§"/>
            </a:pPr>
            <a:r>
              <a:rPr lang="en-US" sz="1600" b="0" dirty="0">
                <a:solidFill>
                  <a:srgbClr val="000065"/>
                </a:solidFill>
              </a:rPr>
              <a:t>Experiment </a:t>
            </a:r>
            <a:r>
              <a:rPr lang="en-US" sz="1600" b="0" dirty="0" smtClean="0">
                <a:solidFill>
                  <a:srgbClr val="000065"/>
                </a:solidFill>
              </a:rPr>
              <a:t>and develop new </a:t>
            </a:r>
            <a:r>
              <a:rPr lang="en-US" sz="1600" b="0" dirty="0">
                <a:solidFill>
                  <a:srgbClr val="000065"/>
                </a:solidFill>
              </a:rPr>
              <a:t>effective </a:t>
            </a:r>
            <a:r>
              <a:rPr lang="en-US" sz="1600" dirty="0">
                <a:solidFill>
                  <a:srgbClr val="000065"/>
                </a:solidFill>
              </a:rPr>
              <a:t>ways of working</a:t>
            </a:r>
            <a:endParaRPr lang="en-GB" sz="1600" dirty="0">
              <a:solidFill>
                <a:srgbClr val="000065"/>
              </a:solidFill>
            </a:endParaRPr>
          </a:p>
          <a:p>
            <a:pPr marL="287338" lvl="1" indent="-285750">
              <a:spcAft>
                <a:spcPct val="30000"/>
              </a:spcAft>
              <a:buFont typeface="Wingdings" panose="05000000000000000000" pitchFamily="2" charset="2"/>
              <a:buChar char="§"/>
            </a:pPr>
            <a:r>
              <a:rPr lang="en-GB" sz="1600" b="0" dirty="0">
                <a:solidFill>
                  <a:srgbClr val="000065"/>
                </a:solidFill>
              </a:rPr>
              <a:t>Identify key </a:t>
            </a:r>
            <a:r>
              <a:rPr lang="en-GB" sz="1600" dirty="0">
                <a:solidFill>
                  <a:srgbClr val="000065"/>
                </a:solidFill>
              </a:rPr>
              <a:t>skills</a:t>
            </a:r>
            <a:r>
              <a:rPr lang="en-GB" sz="1600" b="0" dirty="0">
                <a:solidFill>
                  <a:srgbClr val="000065"/>
                </a:solidFill>
              </a:rPr>
              <a:t> to perform the new process</a:t>
            </a:r>
          </a:p>
          <a:p>
            <a:pPr marL="287338" lvl="1" indent="-285750">
              <a:spcAft>
                <a:spcPct val="30000"/>
              </a:spcAft>
              <a:buFont typeface="Wingdings" panose="05000000000000000000" pitchFamily="2" charset="2"/>
              <a:buChar char="§"/>
            </a:pPr>
            <a:r>
              <a:rPr lang="en-US" sz="1600" dirty="0">
                <a:solidFill>
                  <a:srgbClr val="000065"/>
                </a:solidFill>
              </a:rPr>
              <a:t>Train</a:t>
            </a:r>
            <a:r>
              <a:rPr lang="en-US" sz="1600" b="0" dirty="0">
                <a:solidFill>
                  <a:srgbClr val="000065"/>
                </a:solidFill>
              </a:rPr>
              <a:t> and up-skill core team of “front line doers” to operate the new process</a:t>
            </a:r>
            <a:endParaRPr lang="en-GB" sz="1600" b="0" dirty="0">
              <a:solidFill>
                <a:srgbClr val="000065"/>
              </a:solidFill>
            </a:endParaRPr>
          </a:p>
          <a:p>
            <a:pPr marL="287338" lvl="1" indent="-285750">
              <a:spcAft>
                <a:spcPct val="30000"/>
              </a:spcAft>
              <a:buFont typeface="Wingdings" panose="05000000000000000000" pitchFamily="2" charset="2"/>
              <a:buChar char="§"/>
            </a:pPr>
            <a:r>
              <a:rPr lang="en-GB" sz="1600" b="0" dirty="0">
                <a:solidFill>
                  <a:srgbClr val="000065"/>
                </a:solidFill>
              </a:rPr>
              <a:t>Develop, test and </a:t>
            </a:r>
            <a:r>
              <a:rPr lang="en-GB" sz="1600" b="0" dirty="0" smtClean="0">
                <a:solidFill>
                  <a:srgbClr val="000065"/>
                </a:solidFill>
              </a:rPr>
              <a:t>refine </a:t>
            </a:r>
            <a:r>
              <a:rPr lang="en-GB" sz="1600" dirty="0">
                <a:solidFill>
                  <a:srgbClr val="000065"/>
                </a:solidFill>
              </a:rPr>
              <a:t>standardised operating procedures</a:t>
            </a:r>
            <a:r>
              <a:rPr lang="en-GB" sz="1600" b="0" dirty="0">
                <a:solidFill>
                  <a:srgbClr val="000065"/>
                </a:solidFill>
              </a:rPr>
              <a:t> </a:t>
            </a:r>
          </a:p>
          <a:p>
            <a:pPr marL="287338" lvl="1" indent="-285750">
              <a:spcAft>
                <a:spcPct val="30000"/>
              </a:spcAft>
              <a:buFont typeface="Wingdings" panose="05000000000000000000" pitchFamily="2" charset="2"/>
              <a:buChar char="§"/>
            </a:pPr>
            <a:r>
              <a:rPr lang="en-GB" sz="1600" b="0" dirty="0">
                <a:solidFill>
                  <a:srgbClr val="000065"/>
                </a:solidFill>
              </a:rPr>
              <a:t>Measure and action </a:t>
            </a:r>
            <a:r>
              <a:rPr lang="en-GB" sz="1600" dirty="0">
                <a:solidFill>
                  <a:srgbClr val="000065"/>
                </a:solidFill>
              </a:rPr>
              <a:t>new KPIs</a:t>
            </a:r>
          </a:p>
          <a:p>
            <a:pPr marL="287338" lvl="1" indent="-285750">
              <a:spcAft>
                <a:spcPct val="30000"/>
              </a:spcAft>
              <a:buFont typeface="Wingdings" panose="05000000000000000000" pitchFamily="2" charset="2"/>
              <a:buChar char="§"/>
            </a:pPr>
            <a:r>
              <a:rPr lang="en-US" sz="1600" b="0" dirty="0">
                <a:solidFill>
                  <a:srgbClr val="000065"/>
                </a:solidFill>
              </a:rPr>
              <a:t>Confirm the expected </a:t>
            </a:r>
            <a:r>
              <a:rPr lang="en-US" sz="1600" dirty="0" smtClean="0">
                <a:solidFill>
                  <a:srgbClr val="000065"/>
                </a:solidFill>
              </a:rPr>
              <a:t>benefits</a:t>
            </a:r>
            <a:endParaRPr lang="en-GB" sz="1600" dirty="0">
              <a:solidFill>
                <a:srgbClr val="000065"/>
              </a:solidFill>
            </a:endParaRPr>
          </a:p>
        </p:txBody>
      </p:sp>
      <p:sp>
        <p:nvSpPr>
          <p:cNvPr id="153608" name="AutoShape 8"/>
          <p:cNvSpPr>
            <a:spLocks noChangeArrowheads="1"/>
          </p:cNvSpPr>
          <p:nvPr/>
        </p:nvSpPr>
        <p:spPr bwMode="auto">
          <a:xfrm rot="5400000">
            <a:off x="3238388" y="3095057"/>
            <a:ext cx="3240087" cy="215900"/>
          </a:xfrm>
          <a:prstGeom prst="triangle">
            <a:avLst>
              <a:gd name="adj" fmla="val 50000"/>
            </a:avLst>
          </a:prstGeom>
          <a:solidFill>
            <a:schemeClr val="accent1"/>
          </a:solidFill>
          <a:ln w="9525">
            <a:noFill/>
            <a:miter lim="800000"/>
            <a:headEnd/>
            <a:tailEnd/>
          </a:ln>
        </p:spPr>
        <p:txBody>
          <a:bodyPr wrap="none" anchor="ctr"/>
          <a:lstStyle/>
          <a:p>
            <a:endParaRPr lang="en-US">
              <a:solidFill>
                <a:srgbClr val="000066"/>
              </a:solidFill>
            </a:endParaRPr>
          </a:p>
        </p:txBody>
      </p:sp>
      <p:sp>
        <p:nvSpPr>
          <p:cNvPr id="153609" name="Rectangle 11"/>
          <p:cNvSpPr>
            <a:spLocks noChangeArrowheads="1"/>
          </p:cNvSpPr>
          <p:nvPr/>
        </p:nvSpPr>
        <p:spPr bwMode="auto">
          <a:xfrm>
            <a:off x="361949" y="5328782"/>
            <a:ext cx="8455025" cy="1116000"/>
          </a:xfrm>
          <a:prstGeom prst="rect">
            <a:avLst/>
          </a:prstGeom>
          <a:solidFill>
            <a:schemeClr val="bg1"/>
          </a:solidFill>
          <a:ln w="3175">
            <a:solidFill>
              <a:schemeClr val="accent3"/>
            </a:solidFill>
            <a:miter lim="800000"/>
            <a:headEnd/>
            <a:tailEnd/>
          </a:ln>
        </p:spPr>
        <p:txBody>
          <a:bodyPr wrap="none"/>
          <a:lstStyle/>
          <a:p>
            <a:pPr algn="ctr"/>
            <a:r>
              <a:rPr lang="en-US" sz="1600">
                <a:solidFill>
                  <a:srgbClr val="000066"/>
                </a:solidFill>
              </a:rPr>
              <a:t>Tools &amp; Techniques</a:t>
            </a:r>
            <a:endParaRPr lang="en-GB" sz="1600">
              <a:solidFill>
                <a:srgbClr val="000066"/>
              </a:solidFill>
            </a:endParaRPr>
          </a:p>
        </p:txBody>
      </p:sp>
      <p:sp>
        <p:nvSpPr>
          <p:cNvPr id="153610" name="Rectangle 10"/>
          <p:cNvSpPr>
            <a:spLocks noChangeArrowheads="1"/>
          </p:cNvSpPr>
          <p:nvPr/>
        </p:nvSpPr>
        <p:spPr bwMode="auto">
          <a:xfrm>
            <a:off x="533625" y="5696628"/>
            <a:ext cx="2016125" cy="738187"/>
          </a:xfrm>
          <a:prstGeom prst="rect">
            <a:avLst/>
          </a:prstGeom>
          <a:noFill/>
          <a:ln w="9525">
            <a:noFill/>
            <a:miter lim="800000"/>
            <a:headEnd/>
            <a:tailEnd/>
          </a:ln>
        </p:spPr>
        <p:txBody>
          <a:bodyPr>
            <a:spAutoFit/>
          </a:bodyPr>
          <a:lstStyle/>
          <a:p>
            <a:pPr marL="285750" indent="-285750">
              <a:buFont typeface="Wingdings" panose="05000000000000000000" pitchFamily="2" charset="2"/>
              <a:buChar char="§"/>
            </a:pPr>
            <a:r>
              <a:rPr lang="en-US" sz="1400" b="0">
                <a:solidFill>
                  <a:schemeClr val="tx2"/>
                </a:solidFill>
              </a:rPr>
              <a:t>Work pilot mission</a:t>
            </a:r>
          </a:p>
          <a:p>
            <a:pPr marL="285750" indent="-285750">
              <a:buFont typeface="Wingdings" panose="05000000000000000000" pitchFamily="2" charset="2"/>
              <a:buChar char="§"/>
            </a:pPr>
            <a:r>
              <a:rPr lang="en-US" sz="1400" b="0">
                <a:solidFill>
                  <a:schemeClr val="tx2"/>
                </a:solidFill>
              </a:rPr>
              <a:t>Ways of working</a:t>
            </a:r>
          </a:p>
          <a:p>
            <a:pPr marL="285750" indent="-285750">
              <a:buFont typeface="Wingdings" panose="05000000000000000000" pitchFamily="2" charset="2"/>
              <a:buChar char="§"/>
            </a:pPr>
            <a:r>
              <a:rPr lang="en-US" sz="1400" b="0">
                <a:solidFill>
                  <a:schemeClr val="tx2"/>
                </a:solidFill>
              </a:rPr>
              <a:t>5S environment</a:t>
            </a:r>
          </a:p>
        </p:txBody>
      </p:sp>
      <p:sp>
        <p:nvSpPr>
          <p:cNvPr id="153611" name="Rectangle 12"/>
          <p:cNvSpPr>
            <a:spLocks noChangeArrowheads="1"/>
          </p:cNvSpPr>
          <p:nvPr/>
        </p:nvSpPr>
        <p:spPr bwMode="auto">
          <a:xfrm>
            <a:off x="2573562" y="5696628"/>
            <a:ext cx="2016125" cy="738187"/>
          </a:xfrm>
          <a:prstGeom prst="rect">
            <a:avLst/>
          </a:prstGeom>
          <a:noFill/>
          <a:ln w="9525">
            <a:noFill/>
            <a:miter lim="800000"/>
            <a:headEnd/>
            <a:tailEnd/>
          </a:ln>
        </p:spPr>
        <p:txBody>
          <a:bodyPr>
            <a:spAutoFit/>
          </a:bodyPr>
          <a:lstStyle/>
          <a:p>
            <a:pPr marL="285750" indent="-285750">
              <a:buFont typeface="Wingdings" panose="05000000000000000000" pitchFamily="2" charset="2"/>
              <a:buChar char="§"/>
            </a:pPr>
            <a:r>
              <a:rPr lang="en-US" sz="1400" b="0">
                <a:solidFill>
                  <a:schemeClr val="tx2"/>
                </a:solidFill>
              </a:rPr>
              <a:t>Standard Work</a:t>
            </a:r>
          </a:p>
          <a:p>
            <a:pPr marL="285750" indent="-285750">
              <a:buFont typeface="Wingdings" panose="05000000000000000000" pitchFamily="2" charset="2"/>
              <a:buChar char="§"/>
            </a:pPr>
            <a:r>
              <a:rPr lang="en-US" sz="1400" b="0">
                <a:solidFill>
                  <a:schemeClr val="tx2"/>
                </a:solidFill>
              </a:rPr>
              <a:t>Decision Trees</a:t>
            </a:r>
          </a:p>
          <a:p>
            <a:pPr marL="285750" indent="-285750">
              <a:buFont typeface="Wingdings" panose="05000000000000000000" pitchFamily="2" charset="2"/>
              <a:buChar char="§"/>
            </a:pPr>
            <a:r>
              <a:rPr lang="en-US" sz="1400" b="0">
                <a:solidFill>
                  <a:schemeClr val="tx2"/>
                </a:solidFill>
              </a:rPr>
              <a:t>Skill matrix</a:t>
            </a:r>
          </a:p>
        </p:txBody>
      </p:sp>
      <p:sp>
        <p:nvSpPr>
          <p:cNvPr id="153612" name="Rectangle 13"/>
          <p:cNvSpPr>
            <a:spLocks noChangeArrowheads="1"/>
          </p:cNvSpPr>
          <p:nvPr/>
        </p:nvSpPr>
        <p:spPr bwMode="auto">
          <a:xfrm>
            <a:off x="4613500" y="5696628"/>
            <a:ext cx="2160587" cy="738187"/>
          </a:xfrm>
          <a:prstGeom prst="rect">
            <a:avLst/>
          </a:prstGeom>
          <a:noFill/>
          <a:ln w="9525">
            <a:noFill/>
            <a:miter lim="800000"/>
            <a:headEnd/>
            <a:tailEnd/>
          </a:ln>
        </p:spPr>
        <p:txBody>
          <a:bodyPr>
            <a:spAutoFit/>
          </a:bodyPr>
          <a:lstStyle/>
          <a:p>
            <a:pPr marL="285750" indent="-285750">
              <a:buFont typeface="Wingdings" panose="05000000000000000000" pitchFamily="2" charset="2"/>
              <a:buChar char="§"/>
            </a:pPr>
            <a:r>
              <a:rPr lang="en-US" sz="1400" b="0" dirty="0">
                <a:solidFill>
                  <a:schemeClr val="tx2"/>
                </a:solidFill>
              </a:rPr>
              <a:t>KPI &amp; Metrics</a:t>
            </a:r>
          </a:p>
          <a:p>
            <a:pPr marL="285750" indent="-285750">
              <a:buFont typeface="Wingdings" panose="05000000000000000000" pitchFamily="2" charset="2"/>
              <a:buChar char="§"/>
            </a:pPr>
            <a:r>
              <a:rPr lang="en-US" sz="1400" b="0" dirty="0">
                <a:solidFill>
                  <a:schemeClr val="tx2"/>
                </a:solidFill>
              </a:rPr>
              <a:t>SPC, Control charts</a:t>
            </a:r>
          </a:p>
          <a:p>
            <a:pPr marL="285750" indent="-285750">
              <a:buFont typeface="Wingdings" panose="05000000000000000000" pitchFamily="2" charset="2"/>
              <a:buChar char="§"/>
            </a:pPr>
            <a:r>
              <a:rPr lang="en-US" sz="1400" b="0" dirty="0">
                <a:solidFill>
                  <a:schemeClr val="tx2"/>
                </a:solidFill>
              </a:rPr>
              <a:t>Quality matrix, FMEA</a:t>
            </a:r>
          </a:p>
        </p:txBody>
      </p:sp>
      <p:sp>
        <p:nvSpPr>
          <p:cNvPr id="153613" name="Rectangle 14"/>
          <p:cNvSpPr>
            <a:spLocks noChangeArrowheads="1"/>
          </p:cNvSpPr>
          <p:nvPr/>
        </p:nvSpPr>
        <p:spPr bwMode="auto">
          <a:xfrm>
            <a:off x="6754358" y="5696628"/>
            <a:ext cx="2016125" cy="738664"/>
          </a:xfrm>
          <a:prstGeom prst="rect">
            <a:avLst/>
          </a:prstGeom>
          <a:noFill/>
          <a:ln w="9525">
            <a:noFill/>
            <a:miter lim="800000"/>
            <a:headEnd/>
            <a:tailEnd/>
          </a:ln>
        </p:spPr>
        <p:txBody>
          <a:bodyPr>
            <a:spAutoFit/>
          </a:bodyPr>
          <a:lstStyle/>
          <a:p>
            <a:pPr marL="285750" indent="-285750">
              <a:buFont typeface="Wingdings" panose="05000000000000000000" pitchFamily="2" charset="2"/>
              <a:buChar char="§"/>
            </a:pPr>
            <a:r>
              <a:rPr lang="en-US" sz="1400" b="0" dirty="0">
                <a:solidFill>
                  <a:schemeClr val="tx2"/>
                </a:solidFill>
              </a:rPr>
              <a:t>Root cause analysis</a:t>
            </a:r>
          </a:p>
          <a:p>
            <a:pPr marL="285750" indent="-285750">
              <a:buFont typeface="Wingdings" panose="05000000000000000000" pitchFamily="2" charset="2"/>
              <a:buChar char="§"/>
            </a:pPr>
            <a:r>
              <a:rPr lang="en-US" sz="1400" b="0" dirty="0">
                <a:solidFill>
                  <a:schemeClr val="tx2"/>
                </a:solidFill>
              </a:rPr>
              <a:t>Problem solving</a:t>
            </a:r>
          </a:p>
        </p:txBody>
      </p:sp>
      <p:sp>
        <p:nvSpPr>
          <p:cNvPr id="153614" name="Rectangle 15"/>
          <p:cNvSpPr>
            <a:spLocks noChangeArrowheads="1"/>
          </p:cNvSpPr>
          <p:nvPr/>
        </p:nvSpPr>
        <p:spPr bwMode="auto">
          <a:xfrm>
            <a:off x="5238750" y="1297667"/>
            <a:ext cx="3455987" cy="3868737"/>
          </a:xfrm>
          <a:prstGeom prst="rect">
            <a:avLst/>
          </a:prstGeom>
          <a:solidFill>
            <a:srgbClr val="FFFFFF"/>
          </a:solidFill>
          <a:ln w="9525">
            <a:noFill/>
            <a:miter lim="800000"/>
            <a:headEnd/>
            <a:tailEnd/>
          </a:ln>
        </p:spPr>
        <p:txBody>
          <a:bodyPr lIns="72000" tIns="72000" rIns="72000" bIns="72000" anchor="ctr"/>
          <a:lstStyle/>
          <a:p>
            <a:pPr marL="176213" indent="-176213">
              <a:lnSpc>
                <a:spcPct val="102000"/>
              </a:lnSpc>
              <a:spcAft>
                <a:spcPct val="37000"/>
              </a:spcAft>
              <a:tabLst>
                <a:tab pos="5715000" algn="l"/>
              </a:tabLst>
            </a:pPr>
            <a:r>
              <a:rPr lang="en-US" dirty="0" smtClean="0">
                <a:solidFill>
                  <a:srgbClr val="000066"/>
                </a:solidFill>
              </a:rPr>
              <a:t>Three key deliverables</a:t>
            </a:r>
            <a:endParaRPr lang="en-US" dirty="0">
              <a:solidFill>
                <a:srgbClr val="000066"/>
              </a:solidFill>
            </a:endParaRPr>
          </a:p>
          <a:p>
            <a:pPr marL="342900" lvl="1" indent="-342900">
              <a:lnSpc>
                <a:spcPct val="102000"/>
              </a:lnSpc>
              <a:spcAft>
                <a:spcPct val="37000"/>
              </a:spcAft>
              <a:buFont typeface="+mj-lt"/>
              <a:buAutoNum type="arabicPeriod"/>
              <a:tabLst>
                <a:tab pos="5715000" algn="l"/>
              </a:tabLst>
            </a:pPr>
            <a:r>
              <a:rPr lang="en-US" sz="1600" b="0" dirty="0">
                <a:solidFill>
                  <a:srgbClr val="000066"/>
                </a:solidFill>
              </a:rPr>
              <a:t>Validated new streamlined </a:t>
            </a:r>
            <a:r>
              <a:rPr lang="en-US" sz="1600" b="0" dirty="0" smtClean="0">
                <a:solidFill>
                  <a:srgbClr val="000066"/>
                </a:solidFill>
              </a:rPr>
              <a:t>end to end process</a:t>
            </a:r>
            <a:endParaRPr lang="en-US" sz="1600" b="0" dirty="0">
              <a:solidFill>
                <a:srgbClr val="000066"/>
              </a:solidFill>
            </a:endParaRPr>
          </a:p>
          <a:p>
            <a:pPr marL="342900" lvl="1" indent="-342900">
              <a:lnSpc>
                <a:spcPct val="102000"/>
              </a:lnSpc>
              <a:spcAft>
                <a:spcPct val="37000"/>
              </a:spcAft>
              <a:buFont typeface="+mj-lt"/>
              <a:buAutoNum type="arabicPeriod"/>
              <a:tabLst>
                <a:tab pos="5715000" algn="l"/>
              </a:tabLst>
            </a:pPr>
            <a:r>
              <a:rPr lang="en-US" sz="1600" b="0" dirty="0">
                <a:solidFill>
                  <a:srgbClr val="000066"/>
                </a:solidFill>
              </a:rPr>
              <a:t>Validated Business Case with revised expected benefits</a:t>
            </a:r>
          </a:p>
          <a:p>
            <a:pPr marL="342900" lvl="1" indent="-342900">
              <a:lnSpc>
                <a:spcPct val="102000"/>
              </a:lnSpc>
              <a:spcAft>
                <a:spcPct val="37000"/>
              </a:spcAft>
              <a:buFont typeface="+mj-lt"/>
              <a:buAutoNum type="arabicPeriod"/>
              <a:tabLst>
                <a:tab pos="5715000" algn="l"/>
              </a:tabLst>
            </a:pPr>
            <a:r>
              <a:rPr lang="en-US" sz="1600" b="0" dirty="0">
                <a:solidFill>
                  <a:srgbClr val="000066"/>
                </a:solidFill>
              </a:rPr>
              <a:t>Plan to transfer the new process into Business As Usual</a:t>
            </a:r>
            <a:endParaRPr lang="en-US" sz="1400" b="0" dirty="0">
              <a:solidFill>
                <a:srgbClr val="000066"/>
              </a:solidFill>
            </a:endParaRPr>
          </a:p>
          <a:p>
            <a:pPr marL="176213" lvl="1" indent="-176213">
              <a:lnSpc>
                <a:spcPct val="102000"/>
              </a:lnSpc>
              <a:spcAft>
                <a:spcPct val="37000"/>
              </a:spcAft>
              <a:buFontTx/>
              <a:buChar char="•"/>
              <a:tabLst>
                <a:tab pos="5715000" algn="l"/>
              </a:tabLst>
            </a:pPr>
            <a:endParaRPr lang="en-US" sz="1400" b="0" dirty="0">
              <a:solidFill>
                <a:srgbClr val="000066"/>
              </a:solidFill>
            </a:endParaRPr>
          </a:p>
        </p:txBody>
      </p:sp>
    </p:spTree>
    <p:extLst>
      <p:ext uri="{BB962C8B-B14F-4D97-AF65-F5344CB8AC3E}">
        <p14:creationId xmlns:p14="http://schemas.microsoft.com/office/powerpoint/2010/main" val="231179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p:cNvSpPr>
            <a:spLocks noGrp="1" noChangeArrowheads="1"/>
          </p:cNvSpPr>
          <p:nvPr>
            <p:ph type="title"/>
          </p:nvPr>
        </p:nvSpPr>
        <p:spPr/>
        <p:txBody>
          <a:bodyPr/>
          <a:lstStyle/>
          <a:p>
            <a:pPr eaLnBrk="1" hangingPunct="1"/>
            <a:r>
              <a:rPr lang="en-GB" altLang="en-GB" sz="2400" dirty="0" smtClean="0"/>
              <a:t>The set up starts at the mobilisation phase</a:t>
            </a:r>
            <a:br>
              <a:rPr lang="en-GB" altLang="en-GB" sz="2400" dirty="0" smtClean="0"/>
            </a:br>
            <a:r>
              <a:rPr lang="en-GB" altLang="en-GB" sz="1800" b="1" dirty="0" smtClean="0">
                <a:solidFill>
                  <a:srgbClr val="99CC33"/>
                </a:solidFill>
                <a:cs typeface="Arial" pitchFamily="34" charset="0"/>
              </a:rPr>
              <a:t>The timeline of preparing for the work pilot</a:t>
            </a:r>
          </a:p>
        </p:txBody>
      </p:sp>
      <p:sp>
        <p:nvSpPr>
          <p:cNvPr id="165891" name="Slide Number Placeholder 4"/>
          <p:cNvSpPr txBox="1">
            <a:spLocks/>
          </p:cNvSpPr>
          <p:nvPr/>
        </p:nvSpPr>
        <p:spPr bwMode="auto">
          <a:xfrm>
            <a:off x="373063" y="6523038"/>
            <a:ext cx="1905000" cy="122237"/>
          </a:xfrm>
          <a:prstGeom prst="rect">
            <a:avLst/>
          </a:prstGeom>
          <a:noFill/>
          <a:ln w="9525">
            <a:noFill/>
            <a:miter lim="800000"/>
            <a:headEnd/>
            <a:tailEnd/>
          </a:ln>
        </p:spPr>
        <p:txBody>
          <a:bodyPr lIns="0" tIns="0" rIns="0" bIns="0" anchor="b">
            <a:spAutoFit/>
          </a:bodyPr>
          <a:lstStyle/>
          <a:p>
            <a:fld id="{2116245C-EDDE-4470-9EE7-3DDC3D243AD5}" type="slidenum">
              <a:rPr lang="en-GB" altLang="en-GB" sz="800" b="0">
                <a:solidFill>
                  <a:srgbClr val="000066"/>
                </a:solidFill>
              </a:rPr>
              <a:pPr/>
              <a:t>21</a:t>
            </a:fld>
            <a:endParaRPr lang="en-GB" altLang="en-GB" sz="800" b="0">
              <a:solidFill>
                <a:srgbClr val="000066"/>
              </a:solidFill>
            </a:endParaRPr>
          </a:p>
        </p:txBody>
      </p:sp>
      <p:sp>
        <p:nvSpPr>
          <p:cNvPr id="165893" name="AutoShape 2"/>
          <p:cNvSpPr>
            <a:spLocks noChangeArrowheads="1"/>
          </p:cNvSpPr>
          <p:nvPr/>
        </p:nvSpPr>
        <p:spPr bwMode="gray">
          <a:xfrm>
            <a:off x="468313" y="1323975"/>
            <a:ext cx="8280400" cy="1079500"/>
          </a:xfrm>
          <a:prstGeom prst="homePlate">
            <a:avLst>
              <a:gd name="adj" fmla="val 30150"/>
            </a:avLst>
          </a:prstGeom>
          <a:solidFill>
            <a:srgbClr val="B2B2FF"/>
          </a:solidFill>
          <a:ln w="9525" algn="ctr">
            <a:noFill/>
            <a:miter lim="800000"/>
            <a:headEnd/>
            <a:tailEnd/>
          </a:ln>
        </p:spPr>
        <p:txBody>
          <a:bodyPr wrap="none" lIns="0" tIns="0" rIns="0" bIns="0" anchor="ctr"/>
          <a:lstStyle/>
          <a:p>
            <a:endParaRPr lang="en-US">
              <a:solidFill>
                <a:srgbClr val="000066"/>
              </a:solidFill>
            </a:endParaRPr>
          </a:p>
        </p:txBody>
      </p:sp>
      <p:graphicFrame>
        <p:nvGraphicFramePr>
          <p:cNvPr id="69" name="Group 5"/>
          <p:cNvGraphicFramePr>
            <a:graphicFrameLocks noGrp="1"/>
          </p:cNvGraphicFramePr>
          <p:nvPr/>
        </p:nvGraphicFramePr>
        <p:xfrm>
          <a:off x="611188" y="1682750"/>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smtClean="0">
                          <a:ln>
                            <a:noFill/>
                          </a:ln>
                          <a:solidFill>
                            <a:schemeClr val="tx1"/>
                          </a:solidFill>
                          <a:effectLst/>
                          <a:latin typeface="Arial" pitchFamily="34" charset="0"/>
                          <a:cs typeface="Arial" pitchFamily="34" charset="0"/>
                        </a:rPr>
                        <a:t>Week -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70" name="Group 40"/>
          <p:cNvGraphicFramePr>
            <a:graphicFrameLocks noGrp="1"/>
          </p:cNvGraphicFramePr>
          <p:nvPr/>
        </p:nvGraphicFramePr>
        <p:xfrm>
          <a:off x="1906588" y="1682750"/>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smtClean="0">
                          <a:ln>
                            <a:noFill/>
                          </a:ln>
                          <a:solidFill>
                            <a:schemeClr val="tx1"/>
                          </a:solidFill>
                          <a:effectLst/>
                          <a:latin typeface="Arial" pitchFamily="34" charset="0"/>
                          <a:cs typeface="Arial" pitchFamily="34" charset="0"/>
                        </a:rPr>
                        <a:t>Week 1</a:t>
                      </a:r>
                    </a:p>
                  </a:txBody>
                  <a:tcPr marL="0" marR="0" marT="0" marB="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71" name="Group 75"/>
          <p:cNvGraphicFramePr>
            <a:graphicFrameLocks noGrp="1"/>
          </p:cNvGraphicFramePr>
          <p:nvPr/>
        </p:nvGraphicFramePr>
        <p:xfrm>
          <a:off x="3201988" y="1682750"/>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smtClean="0">
                          <a:ln>
                            <a:noFill/>
                          </a:ln>
                          <a:solidFill>
                            <a:schemeClr val="tx1"/>
                          </a:solidFill>
                          <a:effectLst/>
                          <a:latin typeface="Arial" pitchFamily="34" charset="0"/>
                          <a:cs typeface="Arial" pitchFamily="34" charset="0"/>
                        </a:rPr>
                        <a:t>Week 2</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72" name="Group 110"/>
          <p:cNvGraphicFramePr>
            <a:graphicFrameLocks noGrp="1"/>
          </p:cNvGraphicFramePr>
          <p:nvPr/>
        </p:nvGraphicFramePr>
        <p:xfrm>
          <a:off x="4498975" y="1682750"/>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smtClean="0">
                          <a:ln>
                            <a:noFill/>
                          </a:ln>
                          <a:solidFill>
                            <a:schemeClr val="tx1"/>
                          </a:solidFill>
                          <a:effectLst/>
                          <a:latin typeface="Arial" pitchFamily="34" charset="0"/>
                          <a:cs typeface="Arial" pitchFamily="34" charset="0"/>
                        </a:rPr>
                        <a:t>Week 3</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73" name="Group 145"/>
          <p:cNvGraphicFramePr>
            <a:graphicFrameLocks noGrp="1"/>
          </p:cNvGraphicFramePr>
          <p:nvPr/>
        </p:nvGraphicFramePr>
        <p:xfrm>
          <a:off x="5794375" y="1682750"/>
          <a:ext cx="1223963" cy="647702"/>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smtClean="0">
                          <a:ln>
                            <a:noFill/>
                          </a:ln>
                          <a:solidFill>
                            <a:schemeClr val="tx1"/>
                          </a:solidFill>
                          <a:effectLst/>
                          <a:latin typeface="Arial" pitchFamily="34" charset="0"/>
                          <a:cs typeface="Arial" pitchFamily="34" charset="0"/>
                        </a:rPr>
                        <a:t>Week 4</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74" name="Group 180"/>
          <p:cNvGraphicFramePr>
            <a:graphicFrameLocks noGrp="1"/>
          </p:cNvGraphicFramePr>
          <p:nvPr>
            <p:extLst>
              <p:ext uri="{D42A27DB-BD31-4B8C-83A1-F6EECF244321}">
                <p14:modId xmlns:p14="http://schemas.microsoft.com/office/powerpoint/2010/main" val="4023790126"/>
              </p:ext>
            </p:extLst>
          </p:nvPr>
        </p:nvGraphicFramePr>
        <p:xfrm>
          <a:off x="7091363" y="1682750"/>
          <a:ext cx="1223962" cy="647702"/>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1074738" algn="r"/>
                          <a:tab pos="5715000" algn="l"/>
                        </a:tabLst>
                      </a:pPr>
                      <a:r>
                        <a:rPr kumimoji="0" lang="en-GB" sz="900" b="0" i="0" u="none" strike="noStrike" cap="none" normalizeH="0" baseline="0" dirty="0" smtClean="0">
                          <a:ln>
                            <a:noFill/>
                          </a:ln>
                          <a:solidFill>
                            <a:schemeClr val="tx1"/>
                          </a:solidFill>
                          <a:effectLst/>
                          <a:latin typeface="Arial" pitchFamily="34" charset="0"/>
                          <a:cs typeface="Arial" pitchFamily="34" charset="0"/>
                        </a:rPr>
                        <a:t>Week 5 	1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smtClean="0">
                          <a:ln>
                            <a:noFill/>
                          </a:ln>
                          <a:solidFill>
                            <a:schemeClr val="tx1"/>
                          </a:solidFill>
                          <a:effectLst/>
                          <a:latin typeface="Arial" pitchFamily="34" charset="0"/>
                          <a:cs typeface="Arial" pitchFamily="34" charset="0"/>
                        </a:rPr>
                        <a:t>F</a:t>
                      </a:r>
                      <a:endParaRPr kumimoji="0" lang="en-GB" sz="8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sp>
        <p:nvSpPr>
          <p:cNvPr id="166092" name="Rectangle 215"/>
          <p:cNvSpPr>
            <a:spLocks noChangeArrowheads="1"/>
          </p:cNvSpPr>
          <p:nvPr/>
        </p:nvSpPr>
        <p:spPr bwMode="gray">
          <a:xfrm>
            <a:off x="1042988" y="2103438"/>
            <a:ext cx="1152525" cy="150812"/>
          </a:xfrm>
          <a:prstGeom prst="rect">
            <a:avLst/>
          </a:prstGeom>
          <a:solidFill>
            <a:srgbClr val="596E6E">
              <a:alpha val="20000"/>
            </a:srgbClr>
          </a:solidFill>
          <a:ln w="9525" algn="ctr">
            <a:noFill/>
            <a:miter lim="800000"/>
            <a:headEnd/>
            <a:tailEnd/>
          </a:ln>
        </p:spPr>
        <p:txBody>
          <a:bodyPr wrap="none" lIns="0" tIns="0" rIns="0" bIns="0" anchor="ctr"/>
          <a:lstStyle/>
          <a:p>
            <a:pPr algn="ctr"/>
            <a:endParaRPr lang="en-US">
              <a:solidFill>
                <a:srgbClr val="000066"/>
              </a:solidFill>
            </a:endParaRPr>
          </a:p>
        </p:txBody>
      </p:sp>
      <p:grpSp>
        <p:nvGrpSpPr>
          <p:cNvPr id="2" name="Group 75"/>
          <p:cNvGrpSpPr>
            <a:grpSpLocks/>
          </p:cNvGrpSpPr>
          <p:nvPr/>
        </p:nvGrpSpPr>
        <p:grpSpPr bwMode="auto">
          <a:xfrm>
            <a:off x="877888" y="2103438"/>
            <a:ext cx="279400" cy="152400"/>
            <a:chOff x="877888" y="1647825"/>
            <a:chExt cx="279401" cy="152400"/>
          </a:xfrm>
        </p:grpSpPr>
        <p:sp>
          <p:nvSpPr>
            <p:cNvPr id="166143" name="AutoShape 217"/>
            <p:cNvSpPr>
              <a:spLocks noChangeArrowheads="1"/>
            </p:cNvSpPr>
            <p:nvPr/>
          </p:nvSpPr>
          <p:spPr bwMode="gray">
            <a:xfrm>
              <a:off x="1025526" y="1647825"/>
              <a:ext cx="131763" cy="152400"/>
            </a:xfrm>
            <a:prstGeom prst="diamond">
              <a:avLst/>
            </a:prstGeom>
            <a:solidFill>
              <a:schemeClr val="tx2"/>
            </a:solidFill>
            <a:ln w="9525" algn="ctr">
              <a:noFill/>
              <a:miter lim="800000"/>
              <a:headEnd/>
              <a:tailEnd/>
            </a:ln>
          </p:spPr>
          <p:txBody>
            <a:bodyPr wrap="none" lIns="0" tIns="0" rIns="0" bIns="0" anchor="ctr"/>
            <a:lstStyle/>
            <a:p>
              <a:endParaRPr lang="en-US">
                <a:solidFill>
                  <a:srgbClr val="000066"/>
                </a:solidFill>
              </a:endParaRPr>
            </a:p>
          </p:txBody>
        </p:sp>
        <p:sp>
          <p:nvSpPr>
            <p:cNvPr id="166144" name="Rectangle 218"/>
            <p:cNvSpPr>
              <a:spLocks noChangeArrowheads="1"/>
            </p:cNvSpPr>
            <p:nvPr/>
          </p:nvSpPr>
          <p:spPr bwMode="gray">
            <a:xfrm>
              <a:off x="877888" y="1647825"/>
              <a:ext cx="215900"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GB" sz="800">
                  <a:solidFill>
                    <a:srgbClr val="FFFFFF"/>
                  </a:solidFill>
                </a:rPr>
                <a:t>M</a:t>
              </a:r>
            </a:p>
          </p:txBody>
        </p:sp>
      </p:grpSp>
      <p:grpSp>
        <p:nvGrpSpPr>
          <p:cNvPr id="3" name="Group 78"/>
          <p:cNvGrpSpPr>
            <a:grpSpLocks/>
          </p:cNvGrpSpPr>
          <p:nvPr/>
        </p:nvGrpSpPr>
        <p:grpSpPr bwMode="auto">
          <a:xfrm>
            <a:off x="4752975" y="2103438"/>
            <a:ext cx="508000" cy="152400"/>
            <a:chOff x="4752975" y="1647825"/>
            <a:chExt cx="508001" cy="152400"/>
          </a:xfrm>
        </p:grpSpPr>
        <p:sp>
          <p:nvSpPr>
            <p:cNvPr id="166141" name="AutoShape 220"/>
            <p:cNvSpPr>
              <a:spLocks noChangeArrowheads="1"/>
            </p:cNvSpPr>
            <p:nvPr/>
          </p:nvSpPr>
          <p:spPr bwMode="gray">
            <a:xfrm>
              <a:off x="5129213" y="1647825"/>
              <a:ext cx="131763" cy="152400"/>
            </a:xfrm>
            <a:prstGeom prst="diamond">
              <a:avLst/>
            </a:prstGeom>
            <a:solidFill>
              <a:schemeClr val="tx2"/>
            </a:solidFill>
            <a:ln w="9525" algn="ctr">
              <a:noFill/>
              <a:miter lim="800000"/>
              <a:headEnd/>
              <a:tailEnd/>
            </a:ln>
          </p:spPr>
          <p:txBody>
            <a:bodyPr wrap="none" lIns="0" tIns="0" rIns="0" bIns="0" anchor="ctr"/>
            <a:lstStyle/>
            <a:p>
              <a:endParaRPr lang="en-US">
                <a:solidFill>
                  <a:srgbClr val="000066"/>
                </a:solidFill>
              </a:endParaRPr>
            </a:p>
          </p:txBody>
        </p:sp>
        <p:sp>
          <p:nvSpPr>
            <p:cNvPr id="166142" name="Rectangle 221"/>
            <p:cNvSpPr>
              <a:spLocks noChangeArrowheads="1"/>
            </p:cNvSpPr>
            <p:nvPr/>
          </p:nvSpPr>
          <p:spPr bwMode="gray">
            <a:xfrm>
              <a:off x="4752975" y="1647825"/>
              <a:ext cx="444500"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GB" sz="800">
                  <a:solidFill>
                    <a:srgbClr val="FFFFFF"/>
                  </a:solidFill>
                </a:rPr>
                <a:t>FS1</a:t>
              </a:r>
            </a:p>
          </p:txBody>
        </p:sp>
      </p:grpSp>
      <p:sp>
        <p:nvSpPr>
          <p:cNvPr id="166095" name="Freeform 226"/>
          <p:cNvSpPr>
            <a:spLocks/>
          </p:cNvSpPr>
          <p:nvPr/>
        </p:nvSpPr>
        <p:spPr bwMode="auto">
          <a:xfrm>
            <a:off x="1258888" y="1663700"/>
            <a:ext cx="217487" cy="703263"/>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w="9525">
            <a:noFill/>
            <a:round/>
            <a:headEnd/>
            <a:tailEnd/>
          </a:ln>
        </p:spPr>
        <p:txBody>
          <a:bodyPr/>
          <a:lstStyle/>
          <a:p>
            <a:endParaRPr lang="en-GB"/>
          </a:p>
        </p:txBody>
      </p:sp>
      <p:sp>
        <p:nvSpPr>
          <p:cNvPr id="166096" name="Rectangle 227"/>
          <p:cNvSpPr>
            <a:spLocks noChangeArrowheads="1"/>
          </p:cNvSpPr>
          <p:nvPr/>
        </p:nvSpPr>
        <p:spPr bwMode="gray">
          <a:xfrm>
            <a:off x="2351088" y="2101850"/>
            <a:ext cx="1152525" cy="150813"/>
          </a:xfrm>
          <a:prstGeom prst="rect">
            <a:avLst/>
          </a:prstGeom>
          <a:solidFill>
            <a:srgbClr val="596E6E">
              <a:alpha val="20000"/>
            </a:srgbClr>
          </a:solidFill>
          <a:ln w="9525" algn="ctr">
            <a:noFill/>
            <a:miter lim="800000"/>
            <a:headEnd/>
            <a:tailEnd/>
          </a:ln>
        </p:spPr>
        <p:txBody>
          <a:bodyPr wrap="none" lIns="0" tIns="0" rIns="0" bIns="0" anchor="ctr"/>
          <a:lstStyle/>
          <a:p>
            <a:pPr algn="ctr"/>
            <a:endParaRPr lang="en-US">
              <a:solidFill>
                <a:srgbClr val="000066"/>
              </a:solidFill>
            </a:endParaRPr>
          </a:p>
        </p:txBody>
      </p:sp>
      <p:grpSp>
        <p:nvGrpSpPr>
          <p:cNvPr id="4" name="Group 83"/>
          <p:cNvGrpSpPr>
            <a:grpSpLocks/>
          </p:cNvGrpSpPr>
          <p:nvPr/>
        </p:nvGrpSpPr>
        <p:grpSpPr bwMode="auto">
          <a:xfrm>
            <a:off x="3449638" y="2103438"/>
            <a:ext cx="755650" cy="152400"/>
            <a:chOff x="3449638" y="1647825"/>
            <a:chExt cx="755651" cy="152400"/>
          </a:xfrm>
        </p:grpSpPr>
        <p:sp>
          <p:nvSpPr>
            <p:cNvPr id="166139" name="AutoShape 229"/>
            <p:cNvSpPr>
              <a:spLocks noChangeArrowheads="1"/>
            </p:cNvSpPr>
            <p:nvPr/>
          </p:nvSpPr>
          <p:spPr bwMode="gray">
            <a:xfrm>
              <a:off x="4073526" y="1647825"/>
              <a:ext cx="131763" cy="152400"/>
            </a:xfrm>
            <a:prstGeom prst="diamond">
              <a:avLst/>
            </a:prstGeom>
            <a:solidFill>
              <a:schemeClr val="tx2"/>
            </a:solidFill>
            <a:ln w="9525" algn="ctr">
              <a:noFill/>
              <a:miter lim="800000"/>
              <a:headEnd/>
              <a:tailEnd/>
            </a:ln>
          </p:spPr>
          <p:txBody>
            <a:bodyPr wrap="none" lIns="0" tIns="0" rIns="0" bIns="0" anchor="ctr"/>
            <a:lstStyle/>
            <a:p>
              <a:endParaRPr lang="en-US">
                <a:solidFill>
                  <a:srgbClr val="000066"/>
                </a:solidFill>
              </a:endParaRPr>
            </a:p>
          </p:txBody>
        </p:sp>
        <p:sp>
          <p:nvSpPr>
            <p:cNvPr id="166140" name="Rectangle 230"/>
            <p:cNvSpPr>
              <a:spLocks noChangeArrowheads="1"/>
            </p:cNvSpPr>
            <p:nvPr/>
          </p:nvSpPr>
          <p:spPr bwMode="gray">
            <a:xfrm>
              <a:off x="3449638" y="1647825"/>
              <a:ext cx="690563"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GB" sz="800">
                  <a:solidFill>
                    <a:srgbClr val="FFFFFF"/>
                  </a:solidFill>
                </a:rPr>
                <a:t>CS2 – Map</a:t>
              </a:r>
            </a:p>
          </p:txBody>
        </p:sp>
      </p:grpSp>
      <p:grpSp>
        <p:nvGrpSpPr>
          <p:cNvPr id="5" name="Group 86"/>
          <p:cNvGrpSpPr>
            <a:grpSpLocks/>
          </p:cNvGrpSpPr>
          <p:nvPr/>
        </p:nvGrpSpPr>
        <p:grpSpPr bwMode="auto">
          <a:xfrm>
            <a:off x="2159000" y="2101850"/>
            <a:ext cx="279400" cy="152400"/>
            <a:chOff x="2159000" y="1646238"/>
            <a:chExt cx="279401" cy="152400"/>
          </a:xfrm>
        </p:grpSpPr>
        <p:sp>
          <p:nvSpPr>
            <p:cNvPr id="166137" name="AutoShape 232"/>
            <p:cNvSpPr>
              <a:spLocks noChangeArrowheads="1"/>
            </p:cNvSpPr>
            <p:nvPr/>
          </p:nvSpPr>
          <p:spPr bwMode="gray">
            <a:xfrm>
              <a:off x="2306638" y="1646238"/>
              <a:ext cx="131763" cy="152400"/>
            </a:xfrm>
            <a:prstGeom prst="diamond">
              <a:avLst/>
            </a:prstGeom>
            <a:solidFill>
              <a:schemeClr val="tx2"/>
            </a:solidFill>
            <a:ln w="9525" algn="ctr">
              <a:noFill/>
              <a:miter lim="800000"/>
              <a:headEnd/>
              <a:tailEnd/>
            </a:ln>
          </p:spPr>
          <p:txBody>
            <a:bodyPr wrap="none" lIns="0" tIns="0" rIns="0" bIns="0" anchor="ctr"/>
            <a:lstStyle/>
            <a:p>
              <a:endParaRPr lang="en-US">
                <a:solidFill>
                  <a:srgbClr val="000066"/>
                </a:solidFill>
              </a:endParaRPr>
            </a:p>
          </p:txBody>
        </p:sp>
        <p:sp>
          <p:nvSpPr>
            <p:cNvPr id="166138" name="Rectangle 233"/>
            <p:cNvSpPr>
              <a:spLocks noChangeArrowheads="1"/>
            </p:cNvSpPr>
            <p:nvPr/>
          </p:nvSpPr>
          <p:spPr bwMode="gray">
            <a:xfrm>
              <a:off x="2159000" y="1646238"/>
              <a:ext cx="215900"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GB" sz="800">
                  <a:solidFill>
                    <a:srgbClr val="FFFFFF"/>
                  </a:solidFill>
                </a:rPr>
                <a:t>CS1</a:t>
              </a:r>
            </a:p>
          </p:txBody>
        </p:sp>
      </p:grpSp>
      <p:sp>
        <p:nvSpPr>
          <p:cNvPr id="166099" name="Freeform 234"/>
          <p:cNvSpPr>
            <a:spLocks/>
          </p:cNvSpPr>
          <p:nvPr/>
        </p:nvSpPr>
        <p:spPr bwMode="auto">
          <a:xfrm>
            <a:off x="7739063" y="1647825"/>
            <a:ext cx="217487" cy="703263"/>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w="9525">
            <a:noFill/>
            <a:round/>
            <a:headEnd/>
            <a:tailEnd/>
          </a:ln>
        </p:spPr>
        <p:txBody>
          <a:bodyPr/>
          <a:lstStyle/>
          <a:p>
            <a:endParaRPr lang="en-GB"/>
          </a:p>
        </p:txBody>
      </p:sp>
      <p:grpSp>
        <p:nvGrpSpPr>
          <p:cNvPr id="6" name="Group 90"/>
          <p:cNvGrpSpPr>
            <a:grpSpLocks/>
          </p:cNvGrpSpPr>
          <p:nvPr/>
        </p:nvGrpSpPr>
        <p:grpSpPr bwMode="auto">
          <a:xfrm>
            <a:off x="7092950" y="2101850"/>
            <a:ext cx="1214438" cy="152400"/>
            <a:chOff x="7092950" y="1646238"/>
            <a:chExt cx="1214438" cy="152400"/>
          </a:xfrm>
        </p:grpSpPr>
        <p:sp>
          <p:nvSpPr>
            <p:cNvPr id="166135" name="AutoShape 236"/>
            <p:cNvSpPr>
              <a:spLocks noChangeArrowheads="1"/>
            </p:cNvSpPr>
            <p:nvPr/>
          </p:nvSpPr>
          <p:spPr bwMode="gray">
            <a:xfrm>
              <a:off x="8175625" y="1646238"/>
              <a:ext cx="131763" cy="152400"/>
            </a:xfrm>
            <a:prstGeom prst="diamond">
              <a:avLst/>
            </a:prstGeom>
            <a:solidFill>
              <a:schemeClr val="tx2"/>
            </a:solidFill>
            <a:ln w="9525" algn="ctr">
              <a:noFill/>
              <a:miter lim="800000"/>
              <a:headEnd/>
              <a:tailEnd/>
            </a:ln>
          </p:spPr>
          <p:txBody>
            <a:bodyPr wrap="none" lIns="0" tIns="0" rIns="0" bIns="0" anchor="ctr"/>
            <a:lstStyle/>
            <a:p>
              <a:endParaRPr lang="en-US">
                <a:solidFill>
                  <a:srgbClr val="000066"/>
                </a:solidFill>
              </a:endParaRPr>
            </a:p>
          </p:txBody>
        </p:sp>
        <p:sp>
          <p:nvSpPr>
            <p:cNvPr id="166136" name="Rectangle 237"/>
            <p:cNvSpPr>
              <a:spLocks noChangeArrowheads="1"/>
            </p:cNvSpPr>
            <p:nvPr/>
          </p:nvSpPr>
          <p:spPr bwMode="gray">
            <a:xfrm>
              <a:off x="7092950" y="1646238"/>
              <a:ext cx="1150938"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GB" sz="800">
                  <a:solidFill>
                    <a:srgbClr val="FFFFFF"/>
                  </a:solidFill>
                </a:rPr>
                <a:t>Work pilot</a:t>
              </a:r>
            </a:p>
          </p:txBody>
        </p:sp>
      </p:grpSp>
      <p:sp>
        <p:nvSpPr>
          <p:cNvPr id="166101" name="AutoShape 238"/>
          <p:cNvSpPr>
            <a:spLocks noChangeArrowheads="1"/>
          </p:cNvSpPr>
          <p:nvPr/>
        </p:nvSpPr>
        <p:spPr bwMode="gray">
          <a:xfrm>
            <a:off x="4117975" y="2295525"/>
            <a:ext cx="131763" cy="107950"/>
          </a:xfrm>
          <a:prstGeom prst="triangle">
            <a:avLst>
              <a:gd name="adj" fmla="val 50000"/>
            </a:avLst>
          </a:prstGeom>
          <a:solidFill>
            <a:srgbClr val="FF0000"/>
          </a:solidFill>
          <a:ln w="9525" algn="ctr">
            <a:noFill/>
            <a:miter lim="800000"/>
            <a:headEnd/>
            <a:tailEnd/>
          </a:ln>
        </p:spPr>
        <p:txBody>
          <a:bodyPr wrap="none" lIns="0" tIns="0" rIns="0" bIns="0" anchor="ctr"/>
          <a:lstStyle/>
          <a:p>
            <a:endParaRPr lang="en-US">
              <a:solidFill>
                <a:srgbClr val="000066"/>
              </a:solidFill>
            </a:endParaRPr>
          </a:p>
        </p:txBody>
      </p:sp>
      <p:sp>
        <p:nvSpPr>
          <p:cNvPr id="166102" name="AutoShape 239"/>
          <p:cNvSpPr>
            <a:spLocks noChangeArrowheads="1"/>
          </p:cNvSpPr>
          <p:nvPr/>
        </p:nvSpPr>
        <p:spPr bwMode="gray">
          <a:xfrm>
            <a:off x="5160963" y="2295525"/>
            <a:ext cx="131762" cy="107950"/>
          </a:xfrm>
          <a:prstGeom prst="triangle">
            <a:avLst>
              <a:gd name="adj" fmla="val 50000"/>
            </a:avLst>
          </a:prstGeom>
          <a:solidFill>
            <a:srgbClr val="FF0000"/>
          </a:solidFill>
          <a:ln w="9525" algn="ctr">
            <a:noFill/>
            <a:miter lim="800000"/>
            <a:headEnd/>
            <a:tailEnd/>
          </a:ln>
        </p:spPr>
        <p:txBody>
          <a:bodyPr wrap="none" lIns="0" tIns="0" rIns="0" bIns="0" anchor="ctr"/>
          <a:lstStyle/>
          <a:p>
            <a:endParaRPr lang="en-US">
              <a:solidFill>
                <a:srgbClr val="000066"/>
              </a:solidFill>
            </a:endParaRPr>
          </a:p>
        </p:txBody>
      </p:sp>
      <p:grpSp>
        <p:nvGrpSpPr>
          <p:cNvPr id="7" name="Group 95"/>
          <p:cNvGrpSpPr>
            <a:grpSpLocks/>
          </p:cNvGrpSpPr>
          <p:nvPr/>
        </p:nvGrpSpPr>
        <p:grpSpPr bwMode="auto">
          <a:xfrm>
            <a:off x="6048375" y="2101850"/>
            <a:ext cx="508000" cy="152400"/>
            <a:chOff x="6048375" y="1646238"/>
            <a:chExt cx="508001" cy="152400"/>
          </a:xfrm>
        </p:grpSpPr>
        <p:sp>
          <p:nvSpPr>
            <p:cNvPr id="166133" name="AutoShape 241"/>
            <p:cNvSpPr>
              <a:spLocks noChangeArrowheads="1"/>
            </p:cNvSpPr>
            <p:nvPr/>
          </p:nvSpPr>
          <p:spPr bwMode="gray">
            <a:xfrm>
              <a:off x="6424613" y="1646238"/>
              <a:ext cx="131763" cy="152400"/>
            </a:xfrm>
            <a:prstGeom prst="diamond">
              <a:avLst/>
            </a:prstGeom>
            <a:solidFill>
              <a:schemeClr val="tx2"/>
            </a:solidFill>
            <a:ln w="9525" algn="ctr">
              <a:noFill/>
              <a:miter lim="800000"/>
              <a:headEnd/>
              <a:tailEnd/>
            </a:ln>
          </p:spPr>
          <p:txBody>
            <a:bodyPr wrap="none" lIns="0" tIns="0" rIns="0" bIns="0" anchor="ctr"/>
            <a:lstStyle/>
            <a:p>
              <a:endParaRPr lang="en-US">
                <a:solidFill>
                  <a:srgbClr val="000066"/>
                </a:solidFill>
              </a:endParaRPr>
            </a:p>
          </p:txBody>
        </p:sp>
        <p:sp>
          <p:nvSpPr>
            <p:cNvPr id="166134" name="Rectangle 242"/>
            <p:cNvSpPr>
              <a:spLocks noChangeArrowheads="1"/>
            </p:cNvSpPr>
            <p:nvPr/>
          </p:nvSpPr>
          <p:spPr bwMode="gray">
            <a:xfrm>
              <a:off x="6048375" y="1646238"/>
              <a:ext cx="444500" cy="152400"/>
            </a:xfrm>
            <a:prstGeom prst="rect">
              <a:avLst/>
            </a:prstGeom>
            <a:solidFill>
              <a:schemeClr val="tx2"/>
            </a:solidFill>
            <a:ln w="9525" algn="ctr">
              <a:noFill/>
              <a:miter lim="800000"/>
              <a:headEnd/>
              <a:tailEnd/>
            </a:ln>
          </p:spPr>
          <p:txBody>
            <a:bodyPr wrap="none" lIns="0" tIns="0" rIns="0" bIns="0" anchor="ctr"/>
            <a:lstStyle/>
            <a:p>
              <a:pPr marL="171450" indent="-171450" algn="ctr">
                <a:buSzPct val="130000"/>
                <a:buFont typeface="Symbol" pitchFamily="18" charset="2"/>
                <a:buNone/>
              </a:pPr>
              <a:r>
                <a:rPr lang="en-GB" sz="800">
                  <a:solidFill>
                    <a:srgbClr val="FFFFFF"/>
                  </a:solidFill>
                </a:rPr>
                <a:t>FS2</a:t>
              </a:r>
            </a:p>
          </p:txBody>
        </p:sp>
      </p:grpSp>
      <p:sp>
        <p:nvSpPr>
          <p:cNvPr id="166104" name="AutoShape 243"/>
          <p:cNvSpPr>
            <a:spLocks noChangeArrowheads="1"/>
          </p:cNvSpPr>
          <p:nvPr/>
        </p:nvSpPr>
        <p:spPr bwMode="gray">
          <a:xfrm>
            <a:off x="6456363" y="2295525"/>
            <a:ext cx="131762" cy="107950"/>
          </a:xfrm>
          <a:prstGeom prst="triangle">
            <a:avLst>
              <a:gd name="adj" fmla="val 50000"/>
            </a:avLst>
          </a:prstGeom>
          <a:solidFill>
            <a:srgbClr val="FF0000"/>
          </a:solidFill>
          <a:ln w="9525" algn="ctr">
            <a:noFill/>
            <a:miter lim="800000"/>
            <a:headEnd/>
            <a:tailEnd/>
          </a:ln>
        </p:spPr>
        <p:txBody>
          <a:bodyPr wrap="none" lIns="0" tIns="0" rIns="0" bIns="0" anchor="ctr"/>
          <a:lstStyle/>
          <a:p>
            <a:endParaRPr lang="en-US">
              <a:solidFill>
                <a:srgbClr val="000066"/>
              </a:solidFill>
            </a:endParaRPr>
          </a:p>
        </p:txBody>
      </p:sp>
      <p:sp>
        <p:nvSpPr>
          <p:cNvPr id="166105" name="AutoShape 244"/>
          <p:cNvSpPr>
            <a:spLocks noChangeArrowheads="1"/>
          </p:cNvSpPr>
          <p:nvPr/>
        </p:nvSpPr>
        <p:spPr bwMode="gray">
          <a:xfrm>
            <a:off x="8185150" y="2295525"/>
            <a:ext cx="131763" cy="107950"/>
          </a:xfrm>
          <a:prstGeom prst="triangle">
            <a:avLst>
              <a:gd name="adj" fmla="val 50000"/>
            </a:avLst>
          </a:prstGeom>
          <a:solidFill>
            <a:srgbClr val="FF0000"/>
          </a:solidFill>
          <a:ln w="9525" algn="ctr">
            <a:noFill/>
            <a:miter lim="800000"/>
            <a:headEnd/>
            <a:tailEnd/>
          </a:ln>
        </p:spPr>
        <p:txBody>
          <a:bodyPr wrap="none" lIns="0" tIns="0" rIns="0" bIns="0" anchor="ctr"/>
          <a:lstStyle/>
          <a:p>
            <a:endParaRPr lang="en-US">
              <a:solidFill>
                <a:srgbClr val="000066"/>
              </a:solidFill>
            </a:endParaRPr>
          </a:p>
        </p:txBody>
      </p:sp>
      <p:grpSp>
        <p:nvGrpSpPr>
          <p:cNvPr id="8" name="Group 100"/>
          <p:cNvGrpSpPr>
            <a:grpSpLocks/>
          </p:cNvGrpSpPr>
          <p:nvPr/>
        </p:nvGrpSpPr>
        <p:grpSpPr bwMode="auto">
          <a:xfrm>
            <a:off x="611188" y="1430338"/>
            <a:ext cx="7726362" cy="180975"/>
            <a:chOff x="611188" y="974725"/>
            <a:chExt cx="7726362" cy="180975"/>
          </a:xfrm>
        </p:grpSpPr>
        <p:sp>
          <p:nvSpPr>
            <p:cNvPr id="166123" name="AutoShape 250"/>
            <p:cNvSpPr>
              <a:spLocks noChangeArrowheads="1"/>
            </p:cNvSpPr>
            <p:nvPr/>
          </p:nvSpPr>
          <p:spPr bwMode="auto">
            <a:xfrm>
              <a:off x="611188" y="974725"/>
              <a:ext cx="7632700" cy="180975"/>
            </a:xfrm>
            <a:prstGeom prst="homePlate">
              <a:avLst>
                <a:gd name="adj" fmla="val 0"/>
              </a:avLst>
            </a:prstGeom>
            <a:solidFill>
              <a:srgbClr val="6666FF"/>
            </a:solidFill>
            <a:ln w="19050">
              <a:solidFill>
                <a:schemeClr val="tx1"/>
              </a:solidFill>
              <a:miter lim="800000"/>
              <a:headEnd/>
              <a:tailEnd/>
            </a:ln>
          </p:spPr>
          <p:txBody>
            <a:bodyPr wrap="none" anchor="ctr"/>
            <a:lstStyle/>
            <a:p>
              <a:pPr algn="ctr"/>
              <a:endParaRPr lang="en-US" sz="1000">
                <a:solidFill>
                  <a:srgbClr val="FFFFFF"/>
                </a:solidFill>
              </a:endParaRPr>
            </a:p>
          </p:txBody>
        </p:sp>
        <p:sp>
          <p:nvSpPr>
            <p:cNvPr id="166124" name="AutoShape 251"/>
            <p:cNvSpPr>
              <a:spLocks noChangeArrowheads="1"/>
            </p:cNvSpPr>
            <p:nvPr/>
          </p:nvSpPr>
          <p:spPr bwMode="auto">
            <a:xfrm>
              <a:off x="6443663" y="976313"/>
              <a:ext cx="1800225" cy="176213"/>
            </a:xfrm>
            <a:prstGeom prst="homePlate">
              <a:avLst>
                <a:gd name="adj" fmla="val 0"/>
              </a:avLst>
            </a:prstGeom>
            <a:solidFill>
              <a:schemeClr val="tx1"/>
            </a:solidFill>
            <a:ln w="9525">
              <a:noFill/>
              <a:miter lim="800000"/>
              <a:headEnd/>
              <a:tailEnd/>
            </a:ln>
          </p:spPr>
          <p:txBody>
            <a:bodyPr wrap="none" anchor="ctr"/>
            <a:lstStyle/>
            <a:p>
              <a:pPr algn="ctr"/>
              <a:r>
                <a:rPr lang="en-GB" sz="1000" dirty="0" smtClean="0">
                  <a:solidFill>
                    <a:srgbClr val="FFFFFF"/>
                  </a:solidFill>
                </a:rPr>
                <a:t>Implementation</a:t>
              </a:r>
              <a:endParaRPr lang="en-GB" sz="1000" dirty="0">
                <a:solidFill>
                  <a:srgbClr val="FFFFFF"/>
                </a:solidFill>
              </a:endParaRPr>
            </a:p>
          </p:txBody>
        </p:sp>
        <p:sp>
          <p:nvSpPr>
            <p:cNvPr id="166125" name="AutoShape 252"/>
            <p:cNvSpPr>
              <a:spLocks noChangeArrowheads="1"/>
            </p:cNvSpPr>
            <p:nvPr/>
          </p:nvSpPr>
          <p:spPr bwMode="gray">
            <a:xfrm>
              <a:off x="8158163" y="974725"/>
              <a:ext cx="179387" cy="179388"/>
            </a:xfrm>
            <a:prstGeom prst="diamond">
              <a:avLst/>
            </a:prstGeom>
            <a:solidFill>
              <a:schemeClr val="tx1"/>
            </a:solidFill>
            <a:ln w="12700" algn="ctr">
              <a:solidFill>
                <a:schemeClr val="tx1"/>
              </a:solidFill>
              <a:miter lim="800000"/>
              <a:headEnd/>
              <a:tailEnd/>
            </a:ln>
          </p:spPr>
          <p:txBody>
            <a:bodyPr wrap="none" lIns="0" tIns="0" rIns="0" bIns="0" anchor="ctr"/>
            <a:lstStyle/>
            <a:p>
              <a:endParaRPr lang="en-US">
                <a:solidFill>
                  <a:srgbClr val="000066"/>
                </a:solidFill>
              </a:endParaRPr>
            </a:p>
          </p:txBody>
        </p:sp>
        <p:sp>
          <p:nvSpPr>
            <p:cNvPr id="166126" name="Rectangle 253"/>
            <p:cNvSpPr>
              <a:spLocks noChangeArrowheads="1"/>
            </p:cNvSpPr>
            <p:nvPr/>
          </p:nvSpPr>
          <p:spPr bwMode="auto">
            <a:xfrm>
              <a:off x="8139113" y="977900"/>
              <a:ext cx="104775" cy="173038"/>
            </a:xfrm>
            <a:prstGeom prst="rect">
              <a:avLst/>
            </a:prstGeom>
            <a:solidFill>
              <a:schemeClr val="tx1"/>
            </a:solidFill>
            <a:ln w="9525">
              <a:noFill/>
              <a:miter lim="800000"/>
              <a:headEnd/>
              <a:tailEnd/>
            </a:ln>
          </p:spPr>
          <p:txBody>
            <a:bodyPr wrap="none" anchor="ctr"/>
            <a:lstStyle/>
            <a:p>
              <a:endParaRPr lang="en-US">
                <a:solidFill>
                  <a:srgbClr val="000066"/>
                </a:solidFill>
              </a:endParaRPr>
            </a:p>
          </p:txBody>
        </p:sp>
        <p:sp>
          <p:nvSpPr>
            <p:cNvPr id="166127" name="AutoShape 254"/>
            <p:cNvSpPr>
              <a:spLocks noChangeArrowheads="1"/>
            </p:cNvSpPr>
            <p:nvPr/>
          </p:nvSpPr>
          <p:spPr bwMode="gray">
            <a:xfrm>
              <a:off x="6376988" y="974725"/>
              <a:ext cx="179387" cy="179388"/>
            </a:xfrm>
            <a:prstGeom prst="diamond">
              <a:avLst/>
            </a:prstGeom>
            <a:solidFill>
              <a:srgbClr val="6666FF"/>
            </a:solidFill>
            <a:ln w="12700" algn="ctr">
              <a:solidFill>
                <a:schemeClr val="tx1"/>
              </a:solidFill>
              <a:miter lim="800000"/>
              <a:headEnd/>
              <a:tailEnd/>
            </a:ln>
          </p:spPr>
          <p:txBody>
            <a:bodyPr wrap="none" lIns="0" tIns="0" rIns="0" bIns="0" anchor="ctr"/>
            <a:lstStyle/>
            <a:p>
              <a:endParaRPr lang="en-US">
                <a:solidFill>
                  <a:srgbClr val="000066"/>
                </a:solidFill>
              </a:endParaRPr>
            </a:p>
          </p:txBody>
        </p:sp>
        <p:sp>
          <p:nvSpPr>
            <p:cNvPr id="166128" name="AutoShape 255"/>
            <p:cNvSpPr>
              <a:spLocks noChangeArrowheads="1"/>
            </p:cNvSpPr>
            <p:nvPr/>
          </p:nvSpPr>
          <p:spPr bwMode="auto">
            <a:xfrm>
              <a:off x="4140200" y="976313"/>
              <a:ext cx="2327275" cy="176213"/>
            </a:xfrm>
            <a:prstGeom prst="homePlate">
              <a:avLst>
                <a:gd name="adj" fmla="val 0"/>
              </a:avLst>
            </a:prstGeom>
            <a:solidFill>
              <a:srgbClr val="6666FF"/>
            </a:solidFill>
            <a:ln w="9525">
              <a:noFill/>
              <a:miter lim="800000"/>
              <a:headEnd/>
              <a:tailEnd/>
            </a:ln>
          </p:spPr>
          <p:txBody>
            <a:bodyPr wrap="none" anchor="ctr"/>
            <a:lstStyle/>
            <a:p>
              <a:pPr algn="ctr"/>
              <a:r>
                <a:rPr lang="en-GB" sz="1000">
                  <a:solidFill>
                    <a:srgbClr val="FFFFFF"/>
                  </a:solidFill>
                </a:rPr>
                <a:t>Future State</a:t>
              </a:r>
            </a:p>
          </p:txBody>
        </p:sp>
        <p:sp>
          <p:nvSpPr>
            <p:cNvPr id="166129" name="AutoShape 256"/>
            <p:cNvSpPr>
              <a:spLocks noChangeArrowheads="1"/>
            </p:cNvSpPr>
            <p:nvPr/>
          </p:nvSpPr>
          <p:spPr bwMode="gray">
            <a:xfrm>
              <a:off x="4065588" y="974725"/>
              <a:ext cx="179387" cy="179388"/>
            </a:xfrm>
            <a:prstGeom prst="diamond">
              <a:avLst/>
            </a:prstGeom>
            <a:solidFill>
              <a:srgbClr val="6666FF"/>
            </a:solidFill>
            <a:ln w="12700" algn="ctr">
              <a:solidFill>
                <a:schemeClr val="tx1"/>
              </a:solidFill>
              <a:miter lim="800000"/>
              <a:headEnd/>
              <a:tailEnd/>
            </a:ln>
          </p:spPr>
          <p:txBody>
            <a:bodyPr wrap="none" lIns="0" tIns="0" rIns="0" bIns="0" anchor="ctr"/>
            <a:lstStyle/>
            <a:p>
              <a:endParaRPr lang="en-US">
                <a:solidFill>
                  <a:srgbClr val="000066"/>
                </a:solidFill>
              </a:endParaRPr>
            </a:p>
          </p:txBody>
        </p:sp>
        <p:sp>
          <p:nvSpPr>
            <p:cNvPr id="166130" name="AutoShape 257"/>
            <p:cNvSpPr>
              <a:spLocks noChangeArrowheads="1"/>
            </p:cNvSpPr>
            <p:nvPr/>
          </p:nvSpPr>
          <p:spPr bwMode="auto">
            <a:xfrm>
              <a:off x="2047875" y="976313"/>
              <a:ext cx="2106612" cy="176213"/>
            </a:xfrm>
            <a:prstGeom prst="homePlate">
              <a:avLst>
                <a:gd name="adj" fmla="val 0"/>
              </a:avLst>
            </a:prstGeom>
            <a:solidFill>
              <a:srgbClr val="6666FF"/>
            </a:solidFill>
            <a:ln w="9525">
              <a:noFill/>
              <a:miter lim="800000"/>
              <a:headEnd/>
              <a:tailEnd/>
            </a:ln>
          </p:spPr>
          <p:txBody>
            <a:bodyPr wrap="none" anchor="ctr"/>
            <a:lstStyle/>
            <a:p>
              <a:pPr algn="ctr"/>
              <a:r>
                <a:rPr lang="en-GB" sz="1000">
                  <a:solidFill>
                    <a:srgbClr val="FFFFFF"/>
                  </a:solidFill>
                </a:rPr>
                <a:t>Current State</a:t>
              </a:r>
            </a:p>
          </p:txBody>
        </p:sp>
        <p:sp>
          <p:nvSpPr>
            <p:cNvPr id="166131" name="AutoShape 258"/>
            <p:cNvSpPr>
              <a:spLocks noChangeArrowheads="1"/>
            </p:cNvSpPr>
            <p:nvPr/>
          </p:nvSpPr>
          <p:spPr bwMode="gray">
            <a:xfrm>
              <a:off x="1968500" y="974725"/>
              <a:ext cx="179387" cy="179388"/>
            </a:xfrm>
            <a:prstGeom prst="diamond">
              <a:avLst/>
            </a:prstGeom>
            <a:solidFill>
              <a:srgbClr val="6666FF"/>
            </a:solidFill>
            <a:ln w="9525" algn="ctr">
              <a:solidFill>
                <a:schemeClr val="tx1"/>
              </a:solidFill>
              <a:miter lim="800000"/>
              <a:headEnd/>
              <a:tailEnd/>
            </a:ln>
          </p:spPr>
          <p:txBody>
            <a:bodyPr wrap="none" lIns="0" tIns="0" rIns="0" bIns="0" anchor="ctr"/>
            <a:lstStyle/>
            <a:p>
              <a:endParaRPr lang="en-US">
                <a:solidFill>
                  <a:srgbClr val="000066"/>
                </a:solidFill>
              </a:endParaRPr>
            </a:p>
          </p:txBody>
        </p:sp>
        <p:sp>
          <p:nvSpPr>
            <p:cNvPr id="166132" name="AutoShape 259"/>
            <p:cNvSpPr>
              <a:spLocks noChangeArrowheads="1"/>
            </p:cNvSpPr>
            <p:nvPr/>
          </p:nvSpPr>
          <p:spPr bwMode="auto">
            <a:xfrm>
              <a:off x="611188" y="976313"/>
              <a:ext cx="1439862" cy="176213"/>
            </a:xfrm>
            <a:prstGeom prst="homePlate">
              <a:avLst>
                <a:gd name="adj" fmla="val 0"/>
              </a:avLst>
            </a:prstGeom>
            <a:solidFill>
              <a:srgbClr val="6666FF"/>
            </a:solidFill>
            <a:ln w="9525">
              <a:noFill/>
              <a:miter lim="800000"/>
              <a:headEnd/>
              <a:tailEnd/>
            </a:ln>
          </p:spPr>
          <p:txBody>
            <a:bodyPr wrap="none" anchor="ctr"/>
            <a:lstStyle/>
            <a:p>
              <a:pPr algn="ctr"/>
              <a:r>
                <a:rPr lang="en-GB" sz="1000">
                  <a:solidFill>
                    <a:srgbClr val="FFFFFF"/>
                  </a:solidFill>
                </a:rPr>
                <a:t>Mobilisation</a:t>
              </a:r>
            </a:p>
          </p:txBody>
        </p:sp>
      </p:grpSp>
      <p:sp>
        <p:nvSpPr>
          <p:cNvPr id="166107" name="AutoShape 225"/>
          <p:cNvSpPr>
            <a:spLocks noChangeArrowheads="1"/>
          </p:cNvSpPr>
          <p:nvPr/>
        </p:nvSpPr>
        <p:spPr bwMode="gray">
          <a:xfrm>
            <a:off x="7091363" y="2103438"/>
            <a:ext cx="144462" cy="144462"/>
          </a:xfrm>
          <a:prstGeom prst="diamond">
            <a:avLst/>
          </a:prstGeom>
          <a:solidFill>
            <a:srgbClr val="99CC33"/>
          </a:solidFill>
          <a:ln w="9525" algn="ctr">
            <a:solidFill>
              <a:srgbClr val="000066"/>
            </a:solidFill>
            <a:miter lim="800000"/>
            <a:headEnd/>
            <a:tailEnd/>
          </a:ln>
        </p:spPr>
        <p:txBody>
          <a:bodyPr wrap="none" lIns="0" tIns="0" rIns="0" bIns="0" anchor="ctr"/>
          <a:lstStyle/>
          <a:p>
            <a:endParaRPr lang="en-US">
              <a:solidFill>
                <a:srgbClr val="000066"/>
              </a:solidFill>
            </a:endParaRPr>
          </a:p>
        </p:txBody>
      </p:sp>
      <p:sp>
        <p:nvSpPr>
          <p:cNvPr id="166108" name="AutoShape 287"/>
          <p:cNvSpPr>
            <a:spLocks/>
          </p:cNvSpPr>
          <p:nvPr/>
        </p:nvSpPr>
        <p:spPr bwMode="auto">
          <a:xfrm>
            <a:off x="539750" y="3524250"/>
            <a:ext cx="3384550" cy="696838"/>
          </a:xfrm>
          <a:prstGeom prst="borderCallout2">
            <a:avLst>
              <a:gd name="adj1" fmla="val 13926"/>
              <a:gd name="adj2" fmla="val 102250"/>
              <a:gd name="adj3" fmla="val 13926"/>
              <a:gd name="adj4" fmla="val 107130"/>
              <a:gd name="adj5" fmla="val -144486"/>
              <a:gd name="adj6" fmla="val 112056"/>
            </a:avLst>
          </a:prstGeom>
          <a:noFill/>
          <a:ln w="19050" algn="ctr">
            <a:solidFill>
              <a:schemeClr val="tx2"/>
            </a:solidFill>
            <a:miter lim="800000"/>
            <a:headEnd/>
            <a:tailEnd type="triangle" w="med" len="med"/>
          </a:ln>
        </p:spPr>
        <p:txBody>
          <a:bodyPr/>
          <a:lstStyle/>
          <a:p>
            <a:pPr marL="171450" indent="-171450">
              <a:spcAft>
                <a:spcPct val="30000"/>
              </a:spcAft>
              <a:buFont typeface="Wingdings" panose="05000000000000000000" pitchFamily="2" charset="2"/>
              <a:buChar char="§"/>
            </a:pPr>
            <a:r>
              <a:rPr lang="en-GB" sz="1200" dirty="0">
                <a:solidFill>
                  <a:srgbClr val="000066"/>
                </a:solidFill>
              </a:rPr>
              <a:t>Anticipate what quick wins could be tested during the Work Pilot</a:t>
            </a:r>
          </a:p>
          <a:p>
            <a:pPr marL="171450" indent="-171450">
              <a:spcAft>
                <a:spcPct val="30000"/>
              </a:spcAft>
              <a:buFont typeface="Wingdings" panose="05000000000000000000" pitchFamily="2" charset="2"/>
              <a:buChar char="§"/>
            </a:pPr>
            <a:r>
              <a:rPr lang="en-GB" sz="1200" dirty="0">
                <a:solidFill>
                  <a:srgbClr val="000066"/>
                </a:solidFill>
              </a:rPr>
              <a:t>Plan the logistics of the set up</a:t>
            </a:r>
          </a:p>
        </p:txBody>
      </p:sp>
      <p:sp>
        <p:nvSpPr>
          <p:cNvPr id="166109" name="AutoShape 288"/>
          <p:cNvSpPr>
            <a:spLocks/>
          </p:cNvSpPr>
          <p:nvPr/>
        </p:nvSpPr>
        <p:spPr bwMode="auto">
          <a:xfrm>
            <a:off x="1042988" y="2714173"/>
            <a:ext cx="2881312" cy="666408"/>
          </a:xfrm>
          <a:prstGeom prst="borderCallout2">
            <a:avLst>
              <a:gd name="adj1" fmla="val 12972"/>
              <a:gd name="adj2" fmla="val -2644"/>
              <a:gd name="adj3" fmla="val 12972"/>
              <a:gd name="adj4" fmla="val -4023"/>
              <a:gd name="adj5" fmla="val -19458"/>
              <a:gd name="adj6" fmla="val -5454"/>
            </a:avLst>
          </a:prstGeom>
          <a:noFill/>
          <a:ln w="19050" algn="ctr">
            <a:solidFill>
              <a:schemeClr val="tx2"/>
            </a:solidFill>
            <a:miter lim="800000"/>
            <a:headEnd/>
            <a:tailEnd type="triangle" w="med" len="med"/>
          </a:ln>
        </p:spPr>
        <p:txBody>
          <a:bodyPr/>
          <a:lstStyle/>
          <a:p>
            <a:pPr>
              <a:spcAft>
                <a:spcPts val="0"/>
              </a:spcAft>
            </a:pPr>
            <a:r>
              <a:rPr lang="en-GB" sz="1200" dirty="0">
                <a:solidFill>
                  <a:srgbClr val="000066"/>
                </a:solidFill>
              </a:rPr>
              <a:t>Highlight the needs to run a Work Pilot and engage with the </a:t>
            </a:r>
            <a:endParaRPr lang="en-GB" sz="1200" dirty="0" smtClean="0">
              <a:solidFill>
                <a:srgbClr val="000066"/>
              </a:solidFill>
            </a:endParaRPr>
          </a:p>
          <a:p>
            <a:pPr>
              <a:spcAft>
                <a:spcPts val="0"/>
              </a:spcAft>
            </a:pPr>
            <a:r>
              <a:rPr lang="en-GB" sz="1200" dirty="0" smtClean="0">
                <a:solidFill>
                  <a:srgbClr val="000066"/>
                </a:solidFill>
              </a:rPr>
              <a:t>Sponsor </a:t>
            </a:r>
            <a:r>
              <a:rPr lang="en-GB" sz="1200" dirty="0">
                <a:solidFill>
                  <a:srgbClr val="000066"/>
                </a:solidFill>
              </a:rPr>
              <a:t>to free up resources</a:t>
            </a:r>
          </a:p>
        </p:txBody>
      </p:sp>
      <p:sp>
        <p:nvSpPr>
          <p:cNvPr id="166110" name="Oval 289"/>
          <p:cNvSpPr>
            <a:spLocks noChangeArrowheads="1"/>
          </p:cNvSpPr>
          <p:nvPr/>
        </p:nvSpPr>
        <p:spPr bwMode="auto">
          <a:xfrm>
            <a:off x="3447826" y="3005821"/>
            <a:ext cx="287337" cy="287338"/>
          </a:xfrm>
          <a:prstGeom prst="ellipse">
            <a:avLst/>
          </a:prstGeom>
          <a:solidFill>
            <a:schemeClr val="accent3"/>
          </a:solidFill>
          <a:ln w="9525">
            <a:solidFill>
              <a:schemeClr val="tx1"/>
            </a:solidFill>
            <a:round/>
            <a:headEnd/>
            <a:tailEnd/>
          </a:ln>
        </p:spPr>
        <p:txBody>
          <a:bodyPr wrap="none" anchor="ctr"/>
          <a:lstStyle/>
          <a:p>
            <a:pPr algn="ctr"/>
            <a:r>
              <a:rPr lang="en-GB" sz="1600" dirty="0">
                <a:solidFill>
                  <a:schemeClr val="bg1"/>
                </a:solidFill>
              </a:rPr>
              <a:t>1</a:t>
            </a:r>
          </a:p>
        </p:txBody>
      </p:sp>
      <p:sp>
        <p:nvSpPr>
          <p:cNvPr id="166111" name="Oval 290"/>
          <p:cNvSpPr>
            <a:spLocks noChangeArrowheads="1"/>
          </p:cNvSpPr>
          <p:nvPr/>
        </p:nvSpPr>
        <p:spPr bwMode="auto">
          <a:xfrm>
            <a:off x="3447826" y="3813175"/>
            <a:ext cx="287337" cy="287338"/>
          </a:xfrm>
          <a:prstGeom prst="ellipse">
            <a:avLst/>
          </a:prstGeom>
          <a:solidFill>
            <a:schemeClr val="accent3"/>
          </a:solidFill>
          <a:ln w="9525">
            <a:solidFill>
              <a:schemeClr val="tx1"/>
            </a:solidFill>
            <a:round/>
            <a:headEnd/>
            <a:tailEnd/>
          </a:ln>
        </p:spPr>
        <p:txBody>
          <a:bodyPr wrap="none" anchor="ctr"/>
          <a:lstStyle/>
          <a:p>
            <a:pPr algn="ctr"/>
            <a:r>
              <a:rPr lang="en-GB" sz="1600">
                <a:solidFill>
                  <a:schemeClr val="bg1"/>
                </a:solidFill>
              </a:rPr>
              <a:t>2</a:t>
            </a:r>
          </a:p>
        </p:txBody>
      </p:sp>
      <p:sp>
        <p:nvSpPr>
          <p:cNvPr id="166112" name="AutoShape 291"/>
          <p:cNvSpPr>
            <a:spLocks/>
          </p:cNvSpPr>
          <p:nvPr/>
        </p:nvSpPr>
        <p:spPr bwMode="auto">
          <a:xfrm>
            <a:off x="539750" y="4389438"/>
            <a:ext cx="4535488" cy="1122362"/>
          </a:xfrm>
          <a:prstGeom prst="borderCallout2">
            <a:avLst>
              <a:gd name="adj1" fmla="val 8352"/>
              <a:gd name="adj2" fmla="val 101681"/>
              <a:gd name="adj3" fmla="val 8352"/>
              <a:gd name="adj4" fmla="val 106546"/>
              <a:gd name="adj5" fmla="val -165568"/>
              <a:gd name="adj6" fmla="val 112052"/>
            </a:avLst>
          </a:prstGeom>
          <a:noFill/>
          <a:ln w="19050" algn="ctr">
            <a:solidFill>
              <a:schemeClr val="tx2"/>
            </a:solidFill>
            <a:miter lim="800000"/>
            <a:headEnd/>
            <a:tailEnd type="triangle" w="med" len="med"/>
          </a:ln>
        </p:spPr>
        <p:txBody>
          <a:bodyPr/>
          <a:lstStyle/>
          <a:p>
            <a:pPr marL="171450" indent="-171450">
              <a:spcAft>
                <a:spcPct val="30000"/>
              </a:spcAft>
              <a:buFont typeface="Wingdings" panose="05000000000000000000" pitchFamily="2" charset="2"/>
              <a:buChar char="§"/>
            </a:pPr>
            <a:r>
              <a:rPr lang="en-GB" sz="1200">
                <a:solidFill>
                  <a:srgbClr val="000066"/>
                </a:solidFill>
              </a:rPr>
              <a:t>Scope which part of the realistic future state process could be tested in the Work Pilot</a:t>
            </a:r>
          </a:p>
          <a:p>
            <a:pPr marL="171450" indent="-171450">
              <a:spcAft>
                <a:spcPct val="30000"/>
              </a:spcAft>
              <a:buFont typeface="Wingdings" panose="05000000000000000000" pitchFamily="2" charset="2"/>
              <a:buChar char="§"/>
            </a:pPr>
            <a:r>
              <a:rPr lang="en-GB" sz="1200">
                <a:solidFill>
                  <a:srgbClr val="000066"/>
                </a:solidFill>
              </a:rPr>
              <a:t>Identify the key resources needed to run the Work Pilot and define the roles &amp; responsibilities</a:t>
            </a:r>
          </a:p>
          <a:p>
            <a:pPr marL="171450" indent="-171450">
              <a:spcAft>
                <a:spcPct val="30000"/>
              </a:spcAft>
              <a:buFont typeface="Wingdings" panose="05000000000000000000" pitchFamily="2" charset="2"/>
              <a:buChar char="§"/>
            </a:pPr>
            <a:r>
              <a:rPr lang="en-GB" sz="1200">
                <a:solidFill>
                  <a:srgbClr val="000066"/>
                </a:solidFill>
              </a:rPr>
              <a:t>Organise the logistics of the Work Pilot</a:t>
            </a:r>
          </a:p>
        </p:txBody>
      </p:sp>
      <p:sp>
        <p:nvSpPr>
          <p:cNvPr id="166113" name="Oval 292"/>
          <p:cNvSpPr>
            <a:spLocks noChangeArrowheads="1"/>
          </p:cNvSpPr>
          <p:nvPr/>
        </p:nvSpPr>
        <p:spPr bwMode="auto">
          <a:xfrm>
            <a:off x="4643438" y="5080000"/>
            <a:ext cx="287337" cy="287338"/>
          </a:xfrm>
          <a:prstGeom prst="ellipse">
            <a:avLst/>
          </a:prstGeom>
          <a:solidFill>
            <a:schemeClr val="accent3"/>
          </a:solidFill>
          <a:ln w="9525">
            <a:solidFill>
              <a:schemeClr val="tx1"/>
            </a:solidFill>
            <a:round/>
            <a:headEnd/>
            <a:tailEnd/>
          </a:ln>
        </p:spPr>
        <p:txBody>
          <a:bodyPr wrap="none" anchor="ctr"/>
          <a:lstStyle/>
          <a:p>
            <a:pPr algn="ctr"/>
            <a:r>
              <a:rPr lang="en-GB" sz="1600">
                <a:solidFill>
                  <a:schemeClr val="bg1"/>
                </a:solidFill>
              </a:rPr>
              <a:t>3</a:t>
            </a:r>
          </a:p>
        </p:txBody>
      </p:sp>
      <p:sp>
        <p:nvSpPr>
          <p:cNvPr id="166114" name="Line 293"/>
          <p:cNvSpPr>
            <a:spLocks noChangeShapeType="1"/>
          </p:cNvSpPr>
          <p:nvPr/>
        </p:nvSpPr>
        <p:spPr bwMode="auto">
          <a:xfrm>
            <a:off x="755650" y="2511425"/>
            <a:ext cx="215900" cy="0"/>
          </a:xfrm>
          <a:prstGeom prst="line">
            <a:avLst/>
          </a:prstGeom>
          <a:noFill/>
          <a:ln w="57150">
            <a:solidFill>
              <a:schemeClr val="hlink"/>
            </a:solidFill>
            <a:round/>
            <a:headEnd type="diamond" w="med" len="med"/>
            <a:tailEnd type="diamond" w="med" len="med"/>
          </a:ln>
        </p:spPr>
        <p:txBody>
          <a:bodyPr/>
          <a:lstStyle/>
          <a:p>
            <a:endParaRPr lang="en-GB"/>
          </a:p>
        </p:txBody>
      </p:sp>
      <p:sp>
        <p:nvSpPr>
          <p:cNvPr id="166115" name="Line 294"/>
          <p:cNvSpPr>
            <a:spLocks noChangeShapeType="1"/>
          </p:cNvSpPr>
          <p:nvPr/>
        </p:nvSpPr>
        <p:spPr bwMode="auto">
          <a:xfrm>
            <a:off x="3924300" y="2511425"/>
            <a:ext cx="863600" cy="0"/>
          </a:xfrm>
          <a:prstGeom prst="line">
            <a:avLst/>
          </a:prstGeom>
          <a:noFill/>
          <a:ln w="57150">
            <a:solidFill>
              <a:schemeClr val="hlink"/>
            </a:solidFill>
            <a:round/>
            <a:headEnd type="diamond" w="med" len="med"/>
            <a:tailEnd type="diamond" w="med" len="med"/>
          </a:ln>
        </p:spPr>
        <p:txBody>
          <a:bodyPr/>
          <a:lstStyle/>
          <a:p>
            <a:endParaRPr lang="en-GB"/>
          </a:p>
        </p:txBody>
      </p:sp>
      <p:sp>
        <p:nvSpPr>
          <p:cNvPr id="166116" name="Line 295"/>
          <p:cNvSpPr>
            <a:spLocks noChangeShapeType="1"/>
          </p:cNvSpPr>
          <p:nvPr/>
        </p:nvSpPr>
        <p:spPr bwMode="auto">
          <a:xfrm>
            <a:off x="5292725" y="2511425"/>
            <a:ext cx="792163" cy="0"/>
          </a:xfrm>
          <a:prstGeom prst="line">
            <a:avLst/>
          </a:prstGeom>
          <a:noFill/>
          <a:ln w="57150">
            <a:solidFill>
              <a:schemeClr val="hlink"/>
            </a:solidFill>
            <a:round/>
            <a:headEnd type="diamond" w="med" len="med"/>
            <a:tailEnd type="diamond" w="med" len="med"/>
          </a:ln>
        </p:spPr>
        <p:txBody>
          <a:bodyPr/>
          <a:lstStyle/>
          <a:p>
            <a:endParaRPr lang="en-GB"/>
          </a:p>
        </p:txBody>
      </p:sp>
      <p:sp>
        <p:nvSpPr>
          <p:cNvPr id="166117" name="Line 297"/>
          <p:cNvSpPr>
            <a:spLocks noChangeShapeType="1"/>
          </p:cNvSpPr>
          <p:nvPr/>
        </p:nvSpPr>
        <p:spPr bwMode="auto">
          <a:xfrm>
            <a:off x="6516688" y="2516188"/>
            <a:ext cx="647700" cy="0"/>
          </a:xfrm>
          <a:prstGeom prst="line">
            <a:avLst/>
          </a:prstGeom>
          <a:noFill/>
          <a:ln w="57150">
            <a:solidFill>
              <a:schemeClr val="hlink"/>
            </a:solidFill>
            <a:round/>
            <a:headEnd type="diamond" w="med" len="med"/>
            <a:tailEnd type="diamond" w="med" len="med"/>
          </a:ln>
        </p:spPr>
        <p:txBody>
          <a:bodyPr/>
          <a:lstStyle/>
          <a:p>
            <a:endParaRPr lang="en-GB"/>
          </a:p>
        </p:txBody>
      </p:sp>
      <p:sp>
        <p:nvSpPr>
          <p:cNvPr id="166118" name="AutoShape 298"/>
          <p:cNvSpPr>
            <a:spLocks/>
          </p:cNvSpPr>
          <p:nvPr/>
        </p:nvSpPr>
        <p:spPr bwMode="auto">
          <a:xfrm>
            <a:off x="539750" y="5757863"/>
            <a:ext cx="5616575" cy="503237"/>
          </a:xfrm>
          <a:prstGeom prst="borderCallout2">
            <a:avLst>
              <a:gd name="adj1" fmla="val 18750"/>
              <a:gd name="adj2" fmla="val 101356"/>
              <a:gd name="adj3" fmla="val 18750"/>
              <a:gd name="adj4" fmla="val 107435"/>
              <a:gd name="adj5" fmla="val -654359"/>
              <a:gd name="adj6" fmla="val 113509"/>
            </a:avLst>
          </a:prstGeom>
          <a:noFill/>
          <a:ln w="19050" algn="ctr">
            <a:solidFill>
              <a:schemeClr val="tx2"/>
            </a:solidFill>
            <a:miter lim="800000"/>
            <a:headEnd/>
            <a:tailEnd type="triangle" w="med" len="med"/>
          </a:ln>
        </p:spPr>
        <p:txBody>
          <a:bodyPr/>
          <a:lstStyle/>
          <a:p>
            <a:pPr marL="171450" indent="-171450">
              <a:spcAft>
                <a:spcPct val="30000"/>
              </a:spcAft>
              <a:buFont typeface="Wingdings" panose="05000000000000000000" pitchFamily="2" charset="2"/>
              <a:buChar char="§"/>
            </a:pPr>
            <a:r>
              <a:rPr lang="en-GB" sz="1200">
                <a:solidFill>
                  <a:srgbClr val="000066"/>
                </a:solidFill>
              </a:rPr>
              <a:t>Confirm resources, location and initial set-up of the Work Pilot</a:t>
            </a:r>
          </a:p>
          <a:p>
            <a:pPr marL="171450" indent="-171450">
              <a:spcAft>
                <a:spcPct val="30000"/>
              </a:spcAft>
              <a:buFont typeface="Wingdings" panose="05000000000000000000" pitchFamily="2" charset="2"/>
              <a:buChar char="§"/>
            </a:pPr>
            <a:r>
              <a:rPr lang="en-GB" sz="1200">
                <a:solidFill>
                  <a:srgbClr val="000066"/>
                </a:solidFill>
              </a:rPr>
              <a:t>Prepare kick off workshop with initial Work Pilot team</a:t>
            </a:r>
          </a:p>
        </p:txBody>
      </p:sp>
      <p:sp>
        <p:nvSpPr>
          <p:cNvPr id="166119" name="Oval 299"/>
          <p:cNvSpPr>
            <a:spLocks noChangeArrowheads="1"/>
          </p:cNvSpPr>
          <p:nvPr/>
        </p:nvSpPr>
        <p:spPr bwMode="auto">
          <a:xfrm>
            <a:off x="5795963" y="5900738"/>
            <a:ext cx="287337" cy="287337"/>
          </a:xfrm>
          <a:prstGeom prst="ellipse">
            <a:avLst/>
          </a:prstGeom>
          <a:solidFill>
            <a:schemeClr val="accent3"/>
          </a:solidFill>
          <a:ln w="9525">
            <a:solidFill>
              <a:schemeClr val="tx1"/>
            </a:solidFill>
            <a:round/>
            <a:headEnd/>
            <a:tailEnd/>
          </a:ln>
        </p:spPr>
        <p:txBody>
          <a:bodyPr wrap="none" anchor="ctr"/>
          <a:lstStyle/>
          <a:p>
            <a:pPr algn="ctr"/>
            <a:r>
              <a:rPr lang="en-GB" sz="1600">
                <a:solidFill>
                  <a:schemeClr val="bg1"/>
                </a:solidFill>
              </a:rPr>
              <a:t>4</a:t>
            </a:r>
          </a:p>
        </p:txBody>
      </p:sp>
      <p:sp>
        <p:nvSpPr>
          <p:cNvPr id="166120" name="AutoShape 300"/>
          <p:cNvSpPr>
            <a:spLocks/>
          </p:cNvSpPr>
          <p:nvPr/>
        </p:nvSpPr>
        <p:spPr bwMode="auto">
          <a:xfrm>
            <a:off x="7235825" y="2947988"/>
            <a:ext cx="1512888" cy="649287"/>
          </a:xfrm>
          <a:prstGeom prst="borderCallout2">
            <a:avLst>
              <a:gd name="adj1" fmla="val 17602"/>
              <a:gd name="adj2" fmla="val -5037"/>
              <a:gd name="adj3" fmla="val 17602"/>
              <a:gd name="adj4" fmla="val -5144"/>
              <a:gd name="adj5" fmla="val -51102"/>
              <a:gd name="adj6" fmla="val -5352"/>
            </a:avLst>
          </a:prstGeom>
          <a:solidFill>
            <a:schemeClr val="bg1"/>
          </a:solidFill>
          <a:ln w="19050" algn="ctr">
            <a:solidFill>
              <a:schemeClr val="accent1"/>
            </a:solidFill>
            <a:miter lim="800000"/>
            <a:headEnd/>
            <a:tailEnd type="triangle" w="med" len="med"/>
          </a:ln>
        </p:spPr>
        <p:txBody>
          <a:bodyPr/>
          <a:lstStyle/>
          <a:p>
            <a:pPr>
              <a:spcAft>
                <a:spcPct val="30000"/>
              </a:spcAft>
            </a:pPr>
            <a:r>
              <a:rPr lang="en-GB" sz="1200" dirty="0">
                <a:solidFill>
                  <a:srgbClr val="000066"/>
                </a:solidFill>
              </a:rPr>
              <a:t>Kick off </a:t>
            </a:r>
            <a:endParaRPr lang="en-GB" sz="1200" dirty="0" smtClean="0">
              <a:solidFill>
                <a:srgbClr val="000066"/>
              </a:solidFill>
            </a:endParaRPr>
          </a:p>
          <a:p>
            <a:pPr>
              <a:spcAft>
                <a:spcPct val="30000"/>
              </a:spcAft>
            </a:pPr>
            <a:r>
              <a:rPr lang="en-GB" sz="1200" dirty="0" smtClean="0">
                <a:solidFill>
                  <a:srgbClr val="000066"/>
                </a:solidFill>
              </a:rPr>
              <a:t>Work </a:t>
            </a:r>
            <a:r>
              <a:rPr lang="en-GB" sz="1200" dirty="0">
                <a:solidFill>
                  <a:srgbClr val="000066"/>
                </a:solidFill>
              </a:rPr>
              <a:t>Pilot</a:t>
            </a:r>
          </a:p>
        </p:txBody>
      </p:sp>
      <p:sp>
        <p:nvSpPr>
          <p:cNvPr id="166121" name="Oval 301"/>
          <p:cNvSpPr>
            <a:spLocks noChangeArrowheads="1"/>
          </p:cNvSpPr>
          <p:nvPr/>
        </p:nvSpPr>
        <p:spPr bwMode="auto">
          <a:xfrm>
            <a:off x="8243888" y="3149490"/>
            <a:ext cx="287338" cy="287337"/>
          </a:xfrm>
          <a:prstGeom prst="ellipse">
            <a:avLst/>
          </a:prstGeom>
          <a:solidFill>
            <a:schemeClr val="accent3"/>
          </a:solidFill>
          <a:ln w="9525">
            <a:solidFill>
              <a:schemeClr val="tx1"/>
            </a:solidFill>
            <a:round/>
            <a:headEnd/>
            <a:tailEnd/>
          </a:ln>
        </p:spPr>
        <p:txBody>
          <a:bodyPr wrap="none" anchor="ctr"/>
          <a:lstStyle/>
          <a:p>
            <a:pPr algn="ctr"/>
            <a:r>
              <a:rPr lang="en-GB" sz="1600">
                <a:solidFill>
                  <a:schemeClr val="bg1"/>
                </a:solidFill>
              </a:rPr>
              <a:t>5</a:t>
            </a:r>
          </a:p>
        </p:txBody>
      </p:sp>
      <p:sp>
        <p:nvSpPr>
          <p:cNvPr id="166122" name="Rectangle 302"/>
          <p:cNvSpPr>
            <a:spLocks noChangeArrowheads="1"/>
          </p:cNvSpPr>
          <p:nvPr/>
        </p:nvSpPr>
        <p:spPr bwMode="auto">
          <a:xfrm>
            <a:off x="7235825" y="3668713"/>
            <a:ext cx="1511300" cy="2809875"/>
          </a:xfrm>
          <a:prstGeom prst="rect">
            <a:avLst/>
          </a:prstGeom>
          <a:solidFill>
            <a:schemeClr val="accent3"/>
          </a:solidFill>
          <a:ln w="12700" cap="rnd">
            <a:noFill/>
            <a:miter lim="800000"/>
            <a:headEnd/>
            <a:tailEnd/>
          </a:ln>
        </p:spPr>
        <p:txBody>
          <a:bodyPr lIns="72000" rIns="36000" anchor="ctr"/>
          <a:lstStyle/>
          <a:p>
            <a:pPr eaLnBrk="0" hangingPunct="0">
              <a:spcBef>
                <a:spcPts val="600"/>
              </a:spcBef>
            </a:pPr>
            <a:r>
              <a:rPr lang="en-GB" sz="1600" b="0" dirty="0">
                <a:solidFill>
                  <a:schemeClr val="bg1"/>
                </a:solidFill>
              </a:rPr>
              <a:t>Starting the Work Pilot the week following the last work-shop is critical:</a:t>
            </a:r>
          </a:p>
          <a:p>
            <a:pPr eaLnBrk="0" hangingPunct="0">
              <a:spcBef>
                <a:spcPts val="600"/>
              </a:spcBef>
            </a:pPr>
            <a:r>
              <a:rPr lang="en-GB" sz="1600" b="0" dirty="0" smtClean="0">
                <a:solidFill>
                  <a:schemeClr val="bg1"/>
                </a:solidFill>
              </a:rPr>
              <a:t>You </a:t>
            </a:r>
            <a:r>
              <a:rPr lang="en-GB" sz="1600" b="0" dirty="0">
                <a:solidFill>
                  <a:schemeClr val="bg1"/>
                </a:solidFill>
              </a:rPr>
              <a:t>will benefit from the momentum built up with the team</a:t>
            </a:r>
          </a:p>
        </p:txBody>
      </p:sp>
    </p:spTree>
    <p:extLst>
      <p:ext uri="{BB962C8B-B14F-4D97-AF65-F5344CB8AC3E}">
        <p14:creationId xmlns:p14="http://schemas.microsoft.com/office/powerpoint/2010/main" val="29044761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5" name="Rectangle 2"/>
          <p:cNvSpPr>
            <a:spLocks noGrp="1" noChangeArrowheads="1"/>
          </p:cNvSpPr>
          <p:nvPr>
            <p:ph type="title"/>
          </p:nvPr>
        </p:nvSpPr>
        <p:spPr/>
        <p:txBody>
          <a:bodyPr/>
          <a:lstStyle/>
          <a:p>
            <a:pPr defTabSz="844550" eaLnBrk="1" hangingPunct="1"/>
            <a:r>
              <a:rPr lang="en-GB" sz="2400" smtClean="0"/>
              <a:t>Logistics of setting up a Work Pilot</a:t>
            </a:r>
            <a:br>
              <a:rPr lang="en-GB" sz="2400" smtClean="0"/>
            </a:br>
            <a:r>
              <a:rPr lang="en-GB" altLang="en-GB" sz="1800" b="1" smtClean="0">
                <a:solidFill>
                  <a:srgbClr val="99CC33"/>
                </a:solidFill>
                <a:cs typeface="Arial" pitchFamily="34" charset="0"/>
              </a:rPr>
              <a:t>Things that need to be considered</a:t>
            </a:r>
          </a:p>
        </p:txBody>
      </p:sp>
      <p:sp>
        <p:nvSpPr>
          <p:cNvPr id="166916" name="Slide Number Placeholder 4"/>
          <p:cNvSpPr>
            <a:spLocks noGrp="1"/>
          </p:cNvSpPr>
          <p:nvPr>
            <p:ph type="sldNum" sz="quarter" idx="11"/>
          </p:nvPr>
        </p:nvSpPr>
        <p:spPr>
          <a:noFill/>
        </p:spPr>
        <p:txBody>
          <a:bodyPr/>
          <a:lstStyle/>
          <a:p>
            <a:fld id="{8378419C-AF56-455E-844A-2F42E2AED845}" type="slidenum">
              <a:rPr lang="en-GB" altLang="en-GB"/>
              <a:pPr/>
              <a:t>22</a:t>
            </a:fld>
            <a:endParaRPr lang="en-GB" altLang="en-GB"/>
          </a:p>
        </p:txBody>
      </p:sp>
      <p:sp>
        <p:nvSpPr>
          <p:cNvPr id="166917" name="Rectangle 3"/>
          <p:cNvSpPr>
            <a:spLocks noGrp="1" noChangeArrowheads="1"/>
          </p:cNvSpPr>
          <p:nvPr>
            <p:ph type="body" idx="4294967295"/>
          </p:nvPr>
        </p:nvSpPr>
        <p:spPr>
          <a:xfrm>
            <a:off x="361950" y="1287463"/>
            <a:ext cx="5613400" cy="5046662"/>
          </a:xfrm>
          <a:solidFill>
            <a:schemeClr val="bg1"/>
          </a:solidFill>
          <a:ln>
            <a:noFill/>
          </a:ln>
        </p:spPr>
        <p:txBody>
          <a:bodyPr lIns="72000" tIns="36000" rIns="72000" bIns="36000" anchor="t" anchorCtr="0"/>
          <a:lstStyle/>
          <a:p>
            <a:pPr eaLnBrk="1" hangingPunct="1">
              <a:lnSpc>
                <a:spcPct val="100000"/>
              </a:lnSpc>
              <a:spcAft>
                <a:spcPts val="600"/>
              </a:spcAft>
              <a:buSzPct val="90000"/>
            </a:pPr>
            <a:r>
              <a:rPr lang="en-GB" sz="1600" b="1" dirty="0" smtClean="0">
                <a:solidFill>
                  <a:schemeClr val="accent1"/>
                </a:solidFill>
              </a:rPr>
              <a:t>Team and resources</a:t>
            </a:r>
          </a:p>
          <a:p>
            <a:pPr marL="261938" lvl="1" indent="-261938" eaLnBrk="1" hangingPunct="1">
              <a:lnSpc>
                <a:spcPct val="100000"/>
              </a:lnSpc>
              <a:spcAft>
                <a:spcPts val="600"/>
              </a:spcAft>
              <a:buSzPct val="100000"/>
              <a:buFont typeface="Wingdings" panose="05000000000000000000" pitchFamily="2" charset="2"/>
              <a:buChar char="§"/>
            </a:pPr>
            <a:r>
              <a:rPr lang="en-GB" sz="1400" dirty="0" smtClean="0">
                <a:solidFill>
                  <a:schemeClr val="accent1"/>
                </a:solidFill>
              </a:rPr>
              <a:t>Identify team leader(s) and team members (how many, from which department and who)</a:t>
            </a:r>
          </a:p>
          <a:p>
            <a:pPr marL="261938" lvl="1" indent="-261938" eaLnBrk="1" hangingPunct="1">
              <a:lnSpc>
                <a:spcPct val="100000"/>
              </a:lnSpc>
              <a:spcAft>
                <a:spcPts val="600"/>
              </a:spcAft>
              <a:buSzPct val="100000"/>
              <a:buFont typeface="Wingdings" panose="05000000000000000000" pitchFamily="2" charset="2"/>
              <a:buChar char="§"/>
            </a:pPr>
            <a:r>
              <a:rPr lang="en-GB" sz="1400" dirty="0" smtClean="0">
                <a:solidFill>
                  <a:schemeClr val="accent1"/>
                </a:solidFill>
              </a:rPr>
              <a:t>Agree availability and duration</a:t>
            </a:r>
          </a:p>
          <a:p>
            <a:pPr marL="261938" lvl="1" indent="-261938" eaLnBrk="1" hangingPunct="1">
              <a:lnSpc>
                <a:spcPct val="100000"/>
              </a:lnSpc>
              <a:spcAft>
                <a:spcPts val="600"/>
              </a:spcAft>
              <a:buSzPct val="100000"/>
              <a:buFont typeface="Wingdings" panose="05000000000000000000" pitchFamily="2" charset="2"/>
              <a:buChar char="§"/>
            </a:pPr>
            <a:r>
              <a:rPr lang="en-GB" sz="1400" dirty="0" smtClean="0">
                <a:solidFill>
                  <a:schemeClr val="accent1"/>
                </a:solidFill>
              </a:rPr>
              <a:t>Job roles &amp; responsibilities</a:t>
            </a:r>
          </a:p>
          <a:p>
            <a:pPr marL="261938" lvl="1" indent="-261938" eaLnBrk="1" hangingPunct="1">
              <a:lnSpc>
                <a:spcPct val="100000"/>
              </a:lnSpc>
              <a:spcAft>
                <a:spcPts val="600"/>
              </a:spcAft>
              <a:buSzPct val="100000"/>
              <a:buFont typeface="Wingdings" panose="05000000000000000000" pitchFamily="2" charset="2"/>
              <a:buChar char="§"/>
            </a:pPr>
            <a:r>
              <a:rPr lang="en-GB" sz="1400" dirty="0" smtClean="0">
                <a:solidFill>
                  <a:schemeClr val="accent1"/>
                </a:solidFill>
              </a:rPr>
              <a:t>Simple team structure</a:t>
            </a:r>
          </a:p>
          <a:p>
            <a:pPr eaLnBrk="1" hangingPunct="1">
              <a:lnSpc>
                <a:spcPct val="100000"/>
              </a:lnSpc>
              <a:spcBef>
                <a:spcPts val="1200"/>
              </a:spcBef>
              <a:spcAft>
                <a:spcPts val="600"/>
              </a:spcAft>
              <a:buSzPct val="90000"/>
            </a:pPr>
            <a:r>
              <a:rPr lang="en-GB" sz="1600" b="1" dirty="0" smtClean="0">
                <a:solidFill>
                  <a:schemeClr val="accent1"/>
                </a:solidFill>
              </a:rPr>
              <a:t>Logistics and location</a:t>
            </a:r>
          </a:p>
          <a:p>
            <a:pPr marL="261938" lvl="1" indent="-261938" eaLnBrk="1" hangingPunct="1">
              <a:lnSpc>
                <a:spcPct val="100000"/>
              </a:lnSpc>
              <a:spcAft>
                <a:spcPts val="600"/>
              </a:spcAft>
              <a:buSzPct val="100000"/>
              <a:buFont typeface="Wingdings" panose="05000000000000000000" pitchFamily="2" charset="2"/>
              <a:buChar char="§"/>
            </a:pPr>
            <a:r>
              <a:rPr lang="en-GB" sz="1400" dirty="0">
                <a:solidFill>
                  <a:schemeClr val="accent1"/>
                </a:solidFill>
              </a:rPr>
              <a:t>Location, desks &amp; chairs, PC, software licences, </a:t>
            </a:r>
          </a:p>
          <a:p>
            <a:pPr marL="261938" lvl="1" indent="-261938" eaLnBrk="1" hangingPunct="1">
              <a:lnSpc>
                <a:spcPct val="100000"/>
              </a:lnSpc>
              <a:spcAft>
                <a:spcPts val="600"/>
              </a:spcAft>
              <a:buSzPct val="100000"/>
              <a:buFont typeface="Wingdings" panose="05000000000000000000" pitchFamily="2" charset="2"/>
              <a:buChar char="§"/>
            </a:pPr>
            <a:r>
              <a:rPr lang="en-GB" sz="1400" dirty="0">
                <a:solidFill>
                  <a:schemeClr val="accent1"/>
                </a:solidFill>
              </a:rPr>
              <a:t>Flip charts, visual boards &amp; posters…</a:t>
            </a:r>
          </a:p>
          <a:p>
            <a:pPr marL="261938" lvl="1" indent="-261938" eaLnBrk="1" hangingPunct="1">
              <a:lnSpc>
                <a:spcPct val="100000"/>
              </a:lnSpc>
              <a:spcAft>
                <a:spcPts val="600"/>
              </a:spcAft>
              <a:buSzPct val="100000"/>
              <a:buFont typeface="Wingdings" panose="05000000000000000000" pitchFamily="2" charset="2"/>
              <a:buChar char="§"/>
            </a:pPr>
            <a:r>
              <a:rPr lang="en-GB" sz="1400" dirty="0">
                <a:solidFill>
                  <a:schemeClr val="accent1"/>
                </a:solidFill>
              </a:rPr>
              <a:t>Unit(s), physical location(s)</a:t>
            </a:r>
          </a:p>
          <a:p>
            <a:pPr eaLnBrk="1" hangingPunct="1">
              <a:lnSpc>
                <a:spcPct val="100000"/>
              </a:lnSpc>
              <a:spcBef>
                <a:spcPts val="1200"/>
              </a:spcBef>
              <a:spcAft>
                <a:spcPts val="600"/>
              </a:spcAft>
              <a:buSzPct val="90000"/>
            </a:pPr>
            <a:r>
              <a:rPr lang="en-GB" sz="1600" b="1" dirty="0" smtClean="0">
                <a:solidFill>
                  <a:schemeClr val="accent1"/>
                </a:solidFill>
              </a:rPr>
              <a:t>Performance management</a:t>
            </a:r>
          </a:p>
          <a:p>
            <a:pPr marL="261938" lvl="1" indent="-261938" eaLnBrk="1" hangingPunct="1">
              <a:lnSpc>
                <a:spcPct val="100000"/>
              </a:lnSpc>
              <a:spcAft>
                <a:spcPts val="600"/>
              </a:spcAft>
              <a:buSzPct val="100000"/>
              <a:buFont typeface="Wingdings" panose="05000000000000000000" pitchFamily="2" charset="2"/>
              <a:buChar char="§"/>
            </a:pPr>
            <a:r>
              <a:rPr lang="en-GB" sz="1400" dirty="0" smtClean="0">
                <a:solidFill>
                  <a:schemeClr val="accent1"/>
                </a:solidFill>
              </a:rPr>
              <a:t>Clear goal and outcomes </a:t>
            </a:r>
            <a:endParaRPr lang="en-GB" sz="1400" dirty="0">
              <a:solidFill>
                <a:schemeClr val="accent1"/>
              </a:solidFill>
            </a:endParaRPr>
          </a:p>
          <a:p>
            <a:pPr marL="261938" lvl="1" indent="-261938" eaLnBrk="1" hangingPunct="1">
              <a:lnSpc>
                <a:spcPct val="100000"/>
              </a:lnSpc>
              <a:spcAft>
                <a:spcPts val="600"/>
              </a:spcAft>
              <a:buSzPct val="100000"/>
              <a:buFont typeface="Wingdings" panose="05000000000000000000" pitchFamily="2" charset="2"/>
              <a:buChar char="§"/>
            </a:pPr>
            <a:r>
              <a:rPr lang="en-GB" sz="1400" dirty="0">
                <a:solidFill>
                  <a:schemeClr val="accent1"/>
                </a:solidFill>
              </a:rPr>
              <a:t>Key Performance Indicators with agreed targets</a:t>
            </a:r>
            <a:endParaRPr lang="en-GB" dirty="0">
              <a:solidFill>
                <a:schemeClr val="accent1"/>
              </a:solidFill>
            </a:endParaRPr>
          </a:p>
          <a:p>
            <a:pPr eaLnBrk="1" hangingPunct="1">
              <a:lnSpc>
                <a:spcPct val="100000"/>
              </a:lnSpc>
              <a:spcBef>
                <a:spcPts val="1200"/>
              </a:spcBef>
              <a:spcAft>
                <a:spcPts val="600"/>
              </a:spcAft>
              <a:buSzPct val="90000"/>
            </a:pPr>
            <a:r>
              <a:rPr lang="en-GB" sz="1600" b="1" dirty="0" smtClean="0">
                <a:solidFill>
                  <a:schemeClr val="accent1"/>
                </a:solidFill>
              </a:rPr>
              <a:t>Defined process &amp; products</a:t>
            </a:r>
          </a:p>
          <a:p>
            <a:pPr marL="261938" lvl="1" indent="-261938" eaLnBrk="1" hangingPunct="1">
              <a:lnSpc>
                <a:spcPct val="100000"/>
              </a:lnSpc>
              <a:spcAft>
                <a:spcPts val="600"/>
              </a:spcAft>
              <a:buSzPct val="100000"/>
              <a:buFont typeface="Wingdings" panose="05000000000000000000" pitchFamily="2" charset="2"/>
              <a:buChar char="§"/>
            </a:pPr>
            <a:r>
              <a:rPr lang="en-GB" sz="1400" dirty="0">
                <a:solidFill>
                  <a:schemeClr val="accent1"/>
                </a:solidFill>
              </a:rPr>
              <a:t>Realistic future state </a:t>
            </a:r>
            <a:r>
              <a:rPr lang="en-GB" sz="1400" dirty="0" smtClean="0">
                <a:solidFill>
                  <a:schemeClr val="accent1"/>
                </a:solidFill>
              </a:rPr>
              <a:t>process</a:t>
            </a:r>
          </a:p>
          <a:p>
            <a:pPr marL="261938" lvl="1" indent="-261938" eaLnBrk="1" hangingPunct="1">
              <a:lnSpc>
                <a:spcPct val="100000"/>
              </a:lnSpc>
              <a:spcAft>
                <a:spcPts val="600"/>
              </a:spcAft>
              <a:buSzPct val="100000"/>
              <a:buFont typeface="Wingdings" panose="05000000000000000000" pitchFamily="2" charset="2"/>
              <a:buChar char="§"/>
            </a:pPr>
            <a:r>
              <a:rPr lang="en-GB" sz="1400" dirty="0" smtClean="0">
                <a:solidFill>
                  <a:schemeClr val="accent1"/>
                </a:solidFill>
              </a:rPr>
              <a:t>Agree customer demand by products used in the pilot (e.g. real cases)</a:t>
            </a:r>
            <a:endParaRPr lang="en-GB" sz="1400" dirty="0">
              <a:solidFill>
                <a:schemeClr val="accent1"/>
              </a:solidFill>
            </a:endParaRPr>
          </a:p>
        </p:txBody>
      </p:sp>
      <p:pic>
        <p:nvPicPr>
          <p:cNvPr id="166918" name="Picture 5" descr="chemistry"/>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351814" y="1311275"/>
            <a:ext cx="2447925" cy="4973638"/>
          </a:xfrm>
          <a:prstGeom prst="rect">
            <a:avLst/>
          </a:prstGeom>
          <a:noFill/>
          <a:ln w="9525">
            <a:noFill/>
            <a:miter lim="800000"/>
            <a:headEnd/>
            <a:tailEnd/>
          </a:ln>
        </p:spPr>
      </p:pic>
    </p:spTree>
    <p:extLst>
      <p:ext uri="{BB962C8B-B14F-4D97-AF65-F5344CB8AC3E}">
        <p14:creationId xmlns:p14="http://schemas.microsoft.com/office/powerpoint/2010/main" val="23665425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Levers to initiate a Continuous Improvement culture</a:t>
            </a:r>
            <a:endParaRPr lang="en-US" dirty="0"/>
          </a:p>
        </p:txBody>
      </p:sp>
      <p:sp>
        <p:nvSpPr>
          <p:cNvPr id="3" name="Footer Placeholder 2"/>
          <p:cNvSpPr>
            <a:spLocks noGrp="1"/>
          </p:cNvSpPr>
          <p:nvPr>
            <p:ph type="ftr" sz="quarter" idx="10"/>
          </p:nvPr>
        </p:nvSpPr>
        <p:spPr/>
        <p:txBody>
          <a:bodyPr/>
          <a:lstStyle/>
          <a:p>
            <a:pPr>
              <a:defRPr/>
            </a:pPr>
            <a:r>
              <a:rPr lang="en-GB" altLang="en-GB" smtClean="0"/>
              <a:t>Lean Workshops</a:t>
            </a:r>
            <a:endParaRPr lang="en-GB" altLang="en-GB"/>
          </a:p>
        </p:txBody>
      </p:sp>
      <p:sp>
        <p:nvSpPr>
          <p:cNvPr id="4" name="Slide Number Placeholder 3"/>
          <p:cNvSpPr>
            <a:spLocks noGrp="1"/>
          </p:cNvSpPr>
          <p:nvPr>
            <p:ph type="sldNum" sz="quarter" idx="11"/>
          </p:nvPr>
        </p:nvSpPr>
        <p:spPr/>
        <p:txBody>
          <a:bodyPr/>
          <a:lstStyle/>
          <a:p>
            <a:pPr>
              <a:defRPr/>
            </a:pPr>
            <a:fld id="{52E1F56E-0AD8-4EA9-9BCA-27C227E9B0E9}" type="slidenum">
              <a:rPr lang="en-GB" altLang="en-GB" smtClean="0"/>
              <a:pPr>
                <a:defRPr/>
              </a:pPr>
              <a:t>23</a:t>
            </a:fld>
            <a:endParaRPr lang="en-GB" altLang="en-GB"/>
          </a:p>
        </p:txBody>
      </p:sp>
      <p:sp>
        <p:nvSpPr>
          <p:cNvPr id="5" name="Rectangle 4"/>
          <p:cNvSpPr/>
          <p:nvPr/>
        </p:nvSpPr>
        <p:spPr bwMode="auto">
          <a:xfrm>
            <a:off x="3867150" y="1174750"/>
            <a:ext cx="4949825" cy="1700213"/>
          </a:xfrm>
          <a:prstGeom prst="rect">
            <a:avLst/>
          </a:prstGeom>
          <a:noFill/>
          <a:ln w="12700">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lIns="108000" tIns="108000" rIns="108000" bIns="108000" anchor="ctr"/>
          <a:lstStyle/>
          <a:p>
            <a:pPr marL="176213" indent="-176213" fontAlgn="auto">
              <a:spcBef>
                <a:spcPts val="600"/>
              </a:spcBef>
              <a:spcAft>
                <a:spcPts val="0"/>
              </a:spcAft>
              <a:buFont typeface="Arial" pitchFamily="34" charset="0"/>
              <a:buChar char="•"/>
              <a:defRPr/>
            </a:pPr>
            <a:r>
              <a:rPr lang="en-GB" sz="2000" kern="0" dirty="0">
                <a:solidFill>
                  <a:srgbClr val="000066"/>
                </a:solidFill>
              </a:rPr>
              <a:t>Leadership engagement</a:t>
            </a:r>
          </a:p>
          <a:p>
            <a:pPr marL="176213" indent="-176213" fontAlgn="auto">
              <a:spcBef>
                <a:spcPts val="600"/>
              </a:spcBef>
              <a:spcAft>
                <a:spcPts val="0"/>
              </a:spcAft>
              <a:buFont typeface="Arial" pitchFamily="34" charset="0"/>
              <a:buChar char="•"/>
              <a:defRPr/>
            </a:pPr>
            <a:r>
              <a:rPr lang="en-GB" sz="2000" kern="0" dirty="0">
                <a:solidFill>
                  <a:srgbClr val="000066"/>
                </a:solidFill>
              </a:rPr>
              <a:t>Strategic Alignment</a:t>
            </a:r>
          </a:p>
          <a:p>
            <a:pPr marL="176213" indent="-176213" fontAlgn="auto">
              <a:spcBef>
                <a:spcPts val="600"/>
              </a:spcBef>
              <a:spcAft>
                <a:spcPts val="0"/>
              </a:spcAft>
              <a:buFont typeface="Arial" pitchFamily="34" charset="0"/>
              <a:buChar char="•"/>
              <a:defRPr/>
            </a:pPr>
            <a:r>
              <a:rPr lang="en-GB" sz="2000" kern="0" dirty="0">
                <a:solidFill>
                  <a:srgbClr val="000066"/>
                </a:solidFill>
              </a:rPr>
              <a:t>Governance</a:t>
            </a:r>
          </a:p>
          <a:p>
            <a:pPr marL="176213" indent="-176213" fontAlgn="auto">
              <a:spcBef>
                <a:spcPts val="600"/>
              </a:spcBef>
              <a:spcAft>
                <a:spcPts val="0"/>
              </a:spcAft>
              <a:buFont typeface="Arial" pitchFamily="34" charset="0"/>
              <a:buChar char="•"/>
              <a:defRPr/>
            </a:pPr>
            <a:r>
              <a:rPr lang="en-GB" sz="2000" kern="0" dirty="0">
                <a:solidFill>
                  <a:srgbClr val="000066"/>
                </a:solidFill>
              </a:rPr>
              <a:t>Resourcing</a:t>
            </a:r>
          </a:p>
        </p:txBody>
      </p:sp>
      <p:sp>
        <p:nvSpPr>
          <p:cNvPr id="6" name="Rectangle 5"/>
          <p:cNvSpPr/>
          <p:nvPr/>
        </p:nvSpPr>
        <p:spPr bwMode="auto">
          <a:xfrm>
            <a:off x="3867150" y="2957513"/>
            <a:ext cx="4949825" cy="1701800"/>
          </a:xfrm>
          <a:prstGeom prst="rect">
            <a:avLst/>
          </a:prstGeom>
          <a:noFill/>
          <a:ln w="12700">
            <a:solidFill>
              <a:schemeClr val="accent3"/>
            </a:solidFill>
            <a:headEnd/>
            <a:tailEnd/>
          </a:ln>
          <a:effectLst/>
        </p:spPr>
        <p:style>
          <a:lnRef idx="1">
            <a:schemeClr val="accent1"/>
          </a:lnRef>
          <a:fillRef idx="3">
            <a:schemeClr val="accent1"/>
          </a:fillRef>
          <a:effectRef idx="2">
            <a:schemeClr val="accent1"/>
          </a:effectRef>
          <a:fontRef idx="minor">
            <a:schemeClr val="lt1"/>
          </a:fontRef>
        </p:style>
        <p:txBody>
          <a:bodyPr lIns="108000" tIns="108000" rIns="108000" bIns="108000" anchor="ctr"/>
          <a:lstStyle/>
          <a:p>
            <a:pPr marL="176213" indent="-176213" fontAlgn="auto">
              <a:spcBef>
                <a:spcPts val="600"/>
              </a:spcBef>
              <a:spcAft>
                <a:spcPts val="0"/>
              </a:spcAft>
              <a:buFont typeface="Arial" pitchFamily="34" charset="0"/>
              <a:buChar char="•"/>
              <a:defRPr/>
            </a:pPr>
            <a:r>
              <a:rPr lang="en-GB" sz="2000" kern="0" dirty="0">
                <a:solidFill>
                  <a:srgbClr val="000066"/>
                </a:solidFill>
              </a:rPr>
              <a:t>Process management</a:t>
            </a:r>
          </a:p>
          <a:p>
            <a:pPr marL="176213" indent="-176213" fontAlgn="auto">
              <a:spcBef>
                <a:spcPts val="600"/>
              </a:spcBef>
              <a:spcAft>
                <a:spcPts val="0"/>
              </a:spcAft>
              <a:buFont typeface="Arial" pitchFamily="34" charset="0"/>
              <a:buChar char="•"/>
              <a:defRPr/>
            </a:pPr>
            <a:r>
              <a:rPr lang="en-GB" sz="2000" kern="0" dirty="0">
                <a:solidFill>
                  <a:srgbClr val="000066"/>
                </a:solidFill>
              </a:rPr>
              <a:t>Measurement &amp; Benefits</a:t>
            </a:r>
          </a:p>
          <a:p>
            <a:pPr marL="176213" indent="-176213" fontAlgn="auto">
              <a:spcBef>
                <a:spcPts val="600"/>
              </a:spcBef>
              <a:spcAft>
                <a:spcPts val="0"/>
              </a:spcAft>
              <a:buFont typeface="Arial" pitchFamily="34" charset="0"/>
              <a:buChar char="•"/>
              <a:defRPr/>
            </a:pPr>
            <a:r>
              <a:rPr lang="en-GB" sz="2000" kern="0" dirty="0">
                <a:solidFill>
                  <a:srgbClr val="000066"/>
                </a:solidFill>
              </a:rPr>
              <a:t>Customer Voice</a:t>
            </a:r>
          </a:p>
          <a:p>
            <a:pPr marL="176213" indent="-176213" fontAlgn="auto">
              <a:spcBef>
                <a:spcPts val="600"/>
              </a:spcBef>
              <a:spcAft>
                <a:spcPts val="0"/>
              </a:spcAft>
              <a:buFont typeface="Arial" pitchFamily="34" charset="0"/>
              <a:buChar char="•"/>
              <a:defRPr/>
            </a:pPr>
            <a:r>
              <a:rPr lang="en-GB" sz="2000" kern="0" dirty="0">
                <a:solidFill>
                  <a:srgbClr val="000066"/>
                </a:solidFill>
              </a:rPr>
              <a:t>Methods and Tools</a:t>
            </a:r>
          </a:p>
        </p:txBody>
      </p:sp>
      <p:sp>
        <p:nvSpPr>
          <p:cNvPr id="7" name="Rectangle 6"/>
          <p:cNvSpPr/>
          <p:nvPr/>
        </p:nvSpPr>
        <p:spPr bwMode="auto">
          <a:xfrm>
            <a:off x="3867150" y="4778376"/>
            <a:ext cx="4949825" cy="1700212"/>
          </a:xfrm>
          <a:prstGeom prst="rect">
            <a:avLst/>
          </a:prstGeom>
          <a:noFill/>
          <a:ln w="12700">
            <a:solidFill>
              <a:schemeClr val="accent2"/>
            </a:solidFill>
            <a:headEnd/>
            <a:tailEnd/>
          </a:ln>
          <a:effectLst/>
        </p:spPr>
        <p:style>
          <a:lnRef idx="1">
            <a:schemeClr val="accent1"/>
          </a:lnRef>
          <a:fillRef idx="3">
            <a:schemeClr val="accent1"/>
          </a:fillRef>
          <a:effectRef idx="2">
            <a:schemeClr val="accent1"/>
          </a:effectRef>
          <a:fontRef idx="minor">
            <a:schemeClr val="lt1"/>
          </a:fontRef>
        </p:style>
        <p:txBody>
          <a:bodyPr lIns="108000" tIns="108000" rIns="108000" bIns="108000" anchor="ctr"/>
          <a:lstStyle/>
          <a:p>
            <a:pPr marL="176213" indent="-176213" fontAlgn="auto">
              <a:spcBef>
                <a:spcPts val="600"/>
              </a:spcBef>
              <a:spcAft>
                <a:spcPts val="0"/>
              </a:spcAft>
              <a:buFont typeface="Arial" pitchFamily="34" charset="0"/>
              <a:buChar char="•"/>
              <a:defRPr/>
            </a:pPr>
            <a:r>
              <a:rPr lang="en-GB" sz="2000" kern="0" dirty="0">
                <a:solidFill>
                  <a:srgbClr val="000066"/>
                </a:solidFill>
              </a:rPr>
              <a:t>Roles &amp; Responsibilities</a:t>
            </a:r>
          </a:p>
          <a:p>
            <a:pPr marL="176213" indent="-176213" fontAlgn="auto">
              <a:spcBef>
                <a:spcPts val="600"/>
              </a:spcBef>
              <a:spcAft>
                <a:spcPts val="0"/>
              </a:spcAft>
              <a:buFont typeface="Arial" pitchFamily="34" charset="0"/>
              <a:buChar char="•"/>
              <a:defRPr/>
            </a:pPr>
            <a:r>
              <a:rPr lang="en-GB" sz="2000" kern="0" dirty="0">
                <a:solidFill>
                  <a:srgbClr val="000066"/>
                </a:solidFill>
              </a:rPr>
              <a:t>Performance Alignment</a:t>
            </a:r>
          </a:p>
          <a:p>
            <a:pPr marL="176213" indent="-176213" fontAlgn="auto">
              <a:spcBef>
                <a:spcPts val="600"/>
              </a:spcBef>
              <a:spcAft>
                <a:spcPts val="0"/>
              </a:spcAft>
              <a:buFont typeface="Arial" pitchFamily="34" charset="0"/>
              <a:buChar char="•"/>
              <a:defRPr/>
            </a:pPr>
            <a:r>
              <a:rPr lang="en-GB" sz="2000" kern="0" dirty="0">
                <a:solidFill>
                  <a:srgbClr val="000066"/>
                </a:solidFill>
              </a:rPr>
              <a:t>Capability and Learning</a:t>
            </a:r>
          </a:p>
          <a:p>
            <a:pPr marL="176213" indent="-176213" fontAlgn="auto">
              <a:spcBef>
                <a:spcPts val="600"/>
              </a:spcBef>
              <a:spcAft>
                <a:spcPts val="0"/>
              </a:spcAft>
              <a:buFont typeface="Arial" pitchFamily="34" charset="0"/>
              <a:buChar char="•"/>
              <a:defRPr/>
            </a:pPr>
            <a:r>
              <a:rPr lang="en-GB" sz="2000" kern="0" dirty="0">
                <a:solidFill>
                  <a:srgbClr val="000066"/>
                </a:solidFill>
              </a:rPr>
              <a:t>Communication</a:t>
            </a:r>
          </a:p>
        </p:txBody>
      </p:sp>
      <p:sp>
        <p:nvSpPr>
          <p:cNvPr id="8" name="AutoShape 11"/>
          <p:cNvSpPr>
            <a:spLocks noChangeArrowheads="1"/>
          </p:cNvSpPr>
          <p:nvPr/>
        </p:nvSpPr>
        <p:spPr bwMode="auto">
          <a:xfrm>
            <a:off x="361950" y="1174750"/>
            <a:ext cx="2322512" cy="1700213"/>
          </a:xfrm>
          <a:prstGeom prst="homePlate">
            <a:avLst>
              <a:gd name="adj" fmla="val 41319"/>
            </a:avLst>
          </a:prstGeom>
          <a:solidFill>
            <a:srgbClr val="001D59"/>
          </a:solidFill>
          <a:ln w="19050" algn="ctr">
            <a:solidFill>
              <a:schemeClr val="accent1">
                <a:lumMod val="75000"/>
              </a:schemeClr>
            </a:solidFill>
            <a:miter lim="800000"/>
            <a:headEnd type="none" w="sm" len="sm"/>
            <a:tailEnd/>
          </a:ln>
          <a:effectLst>
            <a:outerShdw blurRad="50800" dist="38100" dir="2700000" algn="tl" rotWithShape="0">
              <a:prstClr val="black">
                <a:alpha val="40000"/>
              </a:prstClr>
            </a:outerShdw>
          </a:effectLst>
        </p:spPr>
        <p:txBody>
          <a:bodyPr lIns="72000" tIns="72000" rIns="72000" bIns="72000" anchor="ctr"/>
          <a:lstStyle/>
          <a:p>
            <a:pPr>
              <a:defRPr/>
            </a:pPr>
            <a:r>
              <a:rPr lang="en-GB" sz="2400" b="1" dirty="0">
                <a:solidFill>
                  <a:srgbClr val="FFFFFF"/>
                </a:solidFill>
                <a:latin typeface="Arial" charset="0"/>
              </a:rPr>
              <a:t>The Right Projects</a:t>
            </a:r>
          </a:p>
        </p:txBody>
      </p:sp>
      <p:sp>
        <p:nvSpPr>
          <p:cNvPr id="9" name="AutoShape 15"/>
          <p:cNvSpPr>
            <a:spLocks noChangeArrowheads="1"/>
          </p:cNvSpPr>
          <p:nvPr/>
        </p:nvSpPr>
        <p:spPr bwMode="auto">
          <a:xfrm>
            <a:off x="361950" y="2955925"/>
            <a:ext cx="2322512" cy="1703388"/>
          </a:xfrm>
          <a:prstGeom prst="homePlate">
            <a:avLst>
              <a:gd name="adj" fmla="val 39360"/>
            </a:avLst>
          </a:prstGeom>
          <a:solidFill>
            <a:schemeClr val="accent1">
              <a:lumMod val="40000"/>
              <a:lumOff val="60000"/>
            </a:schemeClr>
          </a:solidFill>
          <a:ln w="19050" algn="ctr">
            <a:solidFill>
              <a:schemeClr val="accent1">
                <a:lumMod val="40000"/>
                <a:lumOff val="60000"/>
              </a:schemeClr>
            </a:solidFill>
            <a:miter lim="800000"/>
            <a:headEnd type="none" w="sm" len="sm"/>
            <a:tailEnd/>
          </a:ln>
          <a:effectLst>
            <a:outerShdw blurRad="50800" dist="38100" dir="2700000" algn="tl" rotWithShape="0">
              <a:prstClr val="black">
                <a:alpha val="40000"/>
              </a:prstClr>
            </a:outerShdw>
          </a:effectLst>
        </p:spPr>
        <p:txBody>
          <a:bodyPr lIns="72000" tIns="72000" rIns="72000" bIns="72000" anchor="ctr"/>
          <a:lstStyle/>
          <a:p>
            <a:pPr>
              <a:defRPr/>
            </a:pPr>
            <a:r>
              <a:rPr lang="en-GB" sz="2400" b="1" dirty="0">
                <a:solidFill>
                  <a:srgbClr val="FFFFFF"/>
                </a:solidFill>
                <a:latin typeface="+mn-lt"/>
              </a:rPr>
              <a:t>The Right Approach</a:t>
            </a:r>
          </a:p>
        </p:txBody>
      </p:sp>
      <p:sp>
        <p:nvSpPr>
          <p:cNvPr id="10" name="AutoShape 19"/>
          <p:cNvSpPr>
            <a:spLocks noChangeArrowheads="1"/>
          </p:cNvSpPr>
          <p:nvPr/>
        </p:nvSpPr>
        <p:spPr bwMode="auto">
          <a:xfrm>
            <a:off x="361950" y="4778375"/>
            <a:ext cx="2322512" cy="1700213"/>
          </a:xfrm>
          <a:prstGeom prst="homePlate">
            <a:avLst>
              <a:gd name="adj" fmla="val 41683"/>
            </a:avLst>
          </a:prstGeom>
          <a:solidFill>
            <a:schemeClr val="accent2"/>
          </a:solidFill>
          <a:ln>
            <a:noFill/>
            <a:headEnd type="none" w="sm" len="sm"/>
            <a:tailEn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72000" tIns="72000" rIns="72000" bIns="72000" anchor="ctr"/>
          <a:lstStyle/>
          <a:p>
            <a:pPr fontAlgn="auto">
              <a:spcBef>
                <a:spcPts val="0"/>
              </a:spcBef>
              <a:spcAft>
                <a:spcPts val="0"/>
              </a:spcAft>
              <a:defRPr/>
            </a:pPr>
            <a:r>
              <a:rPr lang="en-GB" sz="2400" b="1" kern="0" dirty="0">
                <a:solidFill>
                  <a:srgbClr val="FFFFFF"/>
                </a:solidFill>
              </a:rPr>
              <a:t>The Right People</a:t>
            </a:r>
          </a:p>
        </p:txBody>
      </p:sp>
      <p:sp>
        <p:nvSpPr>
          <p:cNvPr id="14" name="AutoShape 11"/>
          <p:cNvSpPr>
            <a:spLocks noChangeArrowheads="1"/>
          </p:cNvSpPr>
          <p:nvPr/>
        </p:nvSpPr>
        <p:spPr bwMode="auto">
          <a:xfrm>
            <a:off x="2941376" y="1174750"/>
            <a:ext cx="784463" cy="1700213"/>
          </a:xfrm>
          <a:prstGeom prst="rect">
            <a:avLst/>
          </a:prstGeom>
          <a:solidFill>
            <a:srgbClr val="001D59"/>
          </a:solidFill>
          <a:ln w="19050" algn="ctr">
            <a:solidFill>
              <a:schemeClr val="accent1">
                <a:lumMod val="75000"/>
              </a:schemeClr>
            </a:solidFill>
            <a:miter lim="800000"/>
            <a:headEnd type="none" w="sm" len="sm"/>
            <a:tailEnd/>
          </a:ln>
          <a:effectLst>
            <a:outerShdw blurRad="50800" dist="38100" dir="2700000" algn="tl" rotWithShape="0">
              <a:prstClr val="black">
                <a:alpha val="40000"/>
              </a:prstClr>
            </a:outerShdw>
          </a:effectLst>
        </p:spPr>
        <p:txBody>
          <a:bodyPr vert="vert270" lIns="72000" tIns="72000" rIns="72000" bIns="72000" anchor="ctr"/>
          <a:lstStyle/>
          <a:p>
            <a:pPr algn="ctr">
              <a:defRPr/>
            </a:pPr>
            <a:r>
              <a:rPr lang="en-US" dirty="0">
                <a:solidFill>
                  <a:srgbClr val="FFFFFF"/>
                </a:solidFill>
              </a:rPr>
              <a:t>Leadership &amp; alignment</a:t>
            </a:r>
            <a:endParaRPr lang="en-GB" b="1" dirty="0">
              <a:solidFill>
                <a:srgbClr val="FFFFFF"/>
              </a:solidFill>
              <a:latin typeface="Arial" charset="0"/>
            </a:endParaRPr>
          </a:p>
        </p:txBody>
      </p:sp>
      <p:sp>
        <p:nvSpPr>
          <p:cNvPr id="15" name="AutoShape 15"/>
          <p:cNvSpPr>
            <a:spLocks noChangeArrowheads="1"/>
          </p:cNvSpPr>
          <p:nvPr/>
        </p:nvSpPr>
        <p:spPr bwMode="auto">
          <a:xfrm>
            <a:off x="2941376" y="2955925"/>
            <a:ext cx="784463" cy="1703388"/>
          </a:xfrm>
          <a:prstGeom prst="rect">
            <a:avLst/>
          </a:prstGeom>
          <a:solidFill>
            <a:schemeClr val="accent1">
              <a:lumMod val="40000"/>
              <a:lumOff val="60000"/>
            </a:schemeClr>
          </a:solidFill>
          <a:ln w="19050" algn="ctr">
            <a:solidFill>
              <a:schemeClr val="accent1">
                <a:lumMod val="40000"/>
                <a:lumOff val="60000"/>
              </a:schemeClr>
            </a:solidFill>
            <a:miter lim="800000"/>
            <a:headEnd type="none" w="sm" len="sm"/>
            <a:tailEnd/>
          </a:ln>
          <a:effectLst>
            <a:outerShdw blurRad="50800" dist="38100" dir="2700000" algn="tl" rotWithShape="0">
              <a:prstClr val="black">
                <a:alpha val="40000"/>
              </a:prstClr>
            </a:outerShdw>
          </a:effectLst>
        </p:spPr>
        <p:txBody>
          <a:bodyPr vert="vert270" lIns="72000" tIns="72000" rIns="72000" bIns="72000" anchor="ctr"/>
          <a:lstStyle/>
          <a:p>
            <a:pPr algn="ctr">
              <a:spcAft>
                <a:spcPct val="10000"/>
              </a:spcAft>
            </a:pPr>
            <a:r>
              <a:rPr lang="en-US" dirty="0">
                <a:solidFill>
                  <a:srgbClr val="FFFFFF"/>
                </a:solidFill>
              </a:rPr>
              <a:t>Operational delivery</a:t>
            </a:r>
          </a:p>
        </p:txBody>
      </p:sp>
      <p:sp>
        <p:nvSpPr>
          <p:cNvPr id="16" name="AutoShape 19"/>
          <p:cNvSpPr>
            <a:spLocks noChangeArrowheads="1"/>
          </p:cNvSpPr>
          <p:nvPr/>
        </p:nvSpPr>
        <p:spPr bwMode="auto">
          <a:xfrm>
            <a:off x="2941376" y="4778375"/>
            <a:ext cx="784463" cy="1700213"/>
          </a:xfrm>
          <a:prstGeom prst="rect">
            <a:avLst/>
          </a:prstGeom>
          <a:solidFill>
            <a:schemeClr val="accent2"/>
          </a:solidFill>
          <a:ln>
            <a:noFill/>
            <a:headEnd type="none" w="sm" len="sm"/>
            <a:tailEn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72000" tIns="72000" rIns="72000" bIns="72000" anchor="ctr"/>
          <a:lstStyle/>
          <a:p>
            <a:pPr algn="ctr">
              <a:spcAft>
                <a:spcPct val="10000"/>
              </a:spcAft>
            </a:pPr>
            <a:r>
              <a:rPr lang="en-US" dirty="0">
                <a:solidFill>
                  <a:srgbClr val="FFFFFF"/>
                </a:solidFill>
              </a:rPr>
              <a:t>People and </a:t>
            </a:r>
            <a:r>
              <a:rPr lang="en-US" dirty="0" err="1">
                <a:solidFill>
                  <a:srgbClr val="FFFFFF"/>
                </a:solidFill>
              </a:rPr>
              <a:t>behaviours</a:t>
            </a:r>
            <a:endParaRPr lang="en-US" u="sng" dirty="0">
              <a:solidFill>
                <a:srgbClr val="FFFFFF"/>
              </a:solidFill>
            </a:endParaRPr>
          </a:p>
        </p:txBody>
      </p:sp>
    </p:spTree>
    <p:extLst>
      <p:ext uri="{BB962C8B-B14F-4D97-AF65-F5344CB8AC3E}">
        <p14:creationId xmlns:p14="http://schemas.microsoft.com/office/powerpoint/2010/main" val="29863479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ChangeArrowheads="1"/>
          </p:cNvSpPr>
          <p:nvPr>
            <p:ph type="title"/>
          </p:nvPr>
        </p:nvSpPr>
        <p:spPr/>
        <p:txBody>
          <a:bodyPr/>
          <a:lstStyle/>
          <a:p>
            <a:pPr eaLnBrk="1" hangingPunct="1"/>
            <a:r>
              <a:rPr lang="en-GB" sz="2400" dirty="0" smtClean="0"/>
              <a:t>Success factors to run the work pilot</a:t>
            </a:r>
            <a:br>
              <a:rPr lang="en-GB" sz="2400" dirty="0" smtClean="0"/>
            </a:br>
            <a:r>
              <a:rPr lang="en-GB" altLang="en-GB" sz="1800" b="1" dirty="0" smtClean="0">
                <a:solidFill>
                  <a:srgbClr val="99CC33"/>
                </a:solidFill>
                <a:cs typeface="Arial" pitchFamily="34" charset="0"/>
              </a:rPr>
              <a:t>Using the 3 Levers model to set up the work pilot</a:t>
            </a:r>
          </a:p>
        </p:txBody>
      </p:sp>
      <p:sp>
        <p:nvSpPr>
          <p:cNvPr id="167939" name="Slide Number Placeholder 5"/>
          <p:cNvSpPr>
            <a:spLocks noGrp="1"/>
          </p:cNvSpPr>
          <p:nvPr>
            <p:ph type="sldNum" sz="quarter" idx="11"/>
          </p:nvPr>
        </p:nvSpPr>
        <p:spPr>
          <a:noFill/>
        </p:spPr>
        <p:txBody>
          <a:bodyPr/>
          <a:lstStyle/>
          <a:p>
            <a:fld id="{5A38E3A2-0D88-4B52-A6D2-2DF395F8C4C4}" type="slidenum">
              <a:rPr lang="en-GB" altLang="en-GB"/>
              <a:pPr/>
              <a:t>24</a:t>
            </a:fld>
            <a:endParaRPr lang="en-GB" altLang="en-GB"/>
          </a:p>
        </p:txBody>
      </p:sp>
      <p:sp>
        <p:nvSpPr>
          <p:cNvPr id="167940" name="Rectangle 27"/>
          <p:cNvSpPr>
            <a:spLocks noChangeArrowheads="1"/>
          </p:cNvSpPr>
          <p:nvPr/>
        </p:nvSpPr>
        <p:spPr bwMode="auto">
          <a:xfrm>
            <a:off x="6038850" y="1095375"/>
            <a:ext cx="2359025" cy="5345113"/>
          </a:xfrm>
          <a:prstGeom prst="rect">
            <a:avLst/>
          </a:prstGeom>
          <a:solidFill>
            <a:schemeClr val="bg1">
              <a:lumMod val="85000"/>
            </a:schemeClr>
          </a:solidFill>
          <a:ln w="19050">
            <a:solidFill>
              <a:schemeClr val="bg1"/>
            </a:solidFill>
            <a:miter lim="800000"/>
            <a:headEnd/>
            <a:tailEnd/>
          </a:ln>
        </p:spPr>
        <p:txBody>
          <a:bodyPr wrap="none"/>
          <a:lstStyle/>
          <a:p>
            <a:pPr algn="ctr"/>
            <a:endParaRPr lang="en-US" b="0">
              <a:solidFill>
                <a:srgbClr val="000066"/>
              </a:solidFill>
            </a:endParaRPr>
          </a:p>
        </p:txBody>
      </p:sp>
      <p:sp>
        <p:nvSpPr>
          <p:cNvPr id="167941" name="Rectangle 25"/>
          <p:cNvSpPr>
            <a:spLocks noChangeArrowheads="1"/>
          </p:cNvSpPr>
          <p:nvPr/>
        </p:nvSpPr>
        <p:spPr bwMode="auto">
          <a:xfrm>
            <a:off x="3402013" y="1095375"/>
            <a:ext cx="2359025" cy="5345113"/>
          </a:xfrm>
          <a:prstGeom prst="rect">
            <a:avLst/>
          </a:prstGeom>
          <a:solidFill>
            <a:schemeClr val="bg1">
              <a:lumMod val="85000"/>
            </a:schemeClr>
          </a:solidFill>
          <a:ln w="19050">
            <a:solidFill>
              <a:schemeClr val="bg1"/>
            </a:solidFill>
            <a:miter lim="800000"/>
            <a:headEnd/>
            <a:tailEnd/>
          </a:ln>
        </p:spPr>
        <p:txBody>
          <a:bodyPr wrap="none"/>
          <a:lstStyle/>
          <a:p>
            <a:pPr algn="ctr"/>
            <a:endParaRPr lang="en-US" b="0">
              <a:solidFill>
                <a:srgbClr val="000066"/>
              </a:solidFill>
            </a:endParaRPr>
          </a:p>
        </p:txBody>
      </p:sp>
      <p:sp>
        <p:nvSpPr>
          <p:cNvPr id="167942" name="Oval 26"/>
          <p:cNvSpPr>
            <a:spLocks noChangeArrowheads="1"/>
          </p:cNvSpPr>
          <p:nvPr/>
        </p:nvSpPr>
        <p:spPr bwMode="blackWhite">
          <a:xfrm>
            <a:off x="3194050" y="3173413"/>
            <a:ext cx="2774950" cy="1239837"/>
          </a:xfrm>
          <a:prstGeom prst="ellipse">
            <a:avLst/>
          </a:prstGeom>
          <a:solidFill>
            <a:schemeClr val="bg1"/>
          </a:solidFill>
          <a:ln w="12700">
            <a:noFill/>
            <a:round/>
            <a:headEnd/>
            <a:tailEnd/>
          </a:ln>
        </p:spPr>
        <p:txBody>
          <a:bodyPr lIns="87086" tIns="45044" rIns="87086" bIns="45044" anchor="ctr"/>
          <a:lstStyle/>
          <a:p>
            <a:pPr algn="ctr" defTabSz="954088" eaLnBrk="0" hangingPunct="0">
              <a:lnSpc>
                <a:spcPct val="95000"/>
              </a:lnSpc>
            </a:pPr>
            <a:endParaRPr lang="de-DE" sz="1400">
              <a:solidFill>
                <a:srgbClr val="FFFFFF"/>
              </a:solidFill>
              <a:latin typeface="Verdana" pitchFamily="34" charset="0"/>
            </a:endParaRPr>
          </a:p>
        </p:txBody>
      </p:sp>
      <p:sp>
        <p:nvSpPr>
          <p:cNvPr id="167943" name="Rectangle 24"/>
          <p:cNvSpPr>
            <a:spLocks noChangeArrowheads="1"/>
          </p:cNvSpPr>
          <p:nvPr/>
        </p:nvSpPr>
        <p:spPr bwMode="auto">
          <a:xfrm>
            <a:off x="695325" y="1095375"/>
            <a:ext cx="2359025" cy="5345113"/>
          </a:xfrm>
          <a:prstGeom prst="rect">
            <a:avLst/>
          </a:prstGeom>
          <a:solidFill>
            <a:schemeClr val="bg1">
              <a:lumMod val="85000"/>
            </a:schemeClr>
          </a:solidFill>
          <a:ln w="19050">
            <a:solidFill>
              <a:schemeClr val="bg1"/>
            </a:solidFill>
            <a:miter lim="800000"/>
            <a:headEnd/>
            <a:tailEnd/>
          </a:ln>
        </p:spPr>
        <p:txBody>
          <a:bodyPr wrap="none"/>
          <a:lstStyle/>
          <a:p>
            <a:pPr algn="ctr"/>
            <a:endParaRPr lang="en-US" b="0">
              <a:solidFill>
                <a:srgbClr val="000066"/>
              </a:solidFill>
            </a:endParaRPr>
          </a:p>
        </p:txBody>
      </p:sp>
      <p:sp>
        <p:nvSpPr>
          <p:cNvPr id="167944" name="Oval 7"/>
          <p:cNvSpPr>
            <a:spLocks noChangeArrowheads="1"/>
          </p:cNvSpPr>
          <p:nvPr/>
        </p:nvSpPr>
        <p:spPr bwMode="blackWhite">
          <a:xfrm>
            <a:off x="3479800" y="3297238"/>
            <a:ext cx="2190750" cy="979487"/>
          </a:xfrm>
          <a:prstGeom prst="ellipse">
            <a:avLst/>
          </a:prstGeom>
          <a:solidFill>
            <a:schemeClr val="tx1"/>
          </a:solidFill>
          <a:ln w="12700">
            <a:noFill/>
            <a:round/>
            <a:headEnd/>
            <a:tailEnd/>
          </a:ln>
        </p:spPr>
        <p:txBody>
          <a:bodyPr lIns="87086" tIns="45044" rIns="87086" bIns="45044" anchor="ctr"/>
          <a:lstStyle/>
          <a:p>
            <a:pPr algn="ctr" defTabSz="954088" eaLnBrk="0" hangingPunct="0">
              <a:lnSpc>
                <a:spcPct val="95000"/>
              </a:lnSpc>
            </a:pPr>
            <a:r>
              <a:rPr lang="de-DE" sz="1400">
                <a:solidFill>
                  <a:srgbClr val="FFFFFF"/>
                </a:solidFill>
                <a:latin typeface="Verdana" pitchFamily="34" charset="0"/>
              </a:rPr>
              <a:t>Work Pilot</a:t>
            </a:r>
          </a:p>
        </p:txBody>
      </p:sp>
      <p:cxnSp>
        <p:nvCxnSpPr>
          <p:cNvPr id="167945" name="AutoShape 16"/>
          <p:cNvCxnSpPr>
            <a:cxnSpLocks noChangeShapeType="1"/>
            <a:stCxn id="167960" idx="3"/>
            <a:endCxn id="167944" idx="1"/>
          </p:cNvCxnSpPr>
          <p:nvPr/>
        </p:nvCxnSpPr>
        <p:spPr bwMode="auto">
          <a:xfrm>
            <a:off x="2814638" y="2665413"/>
            <a:ext cx="985837" cy="776287"/>
          </a:xfrm>
          <a:prstGeom prst="curvedConnector2">
            <a:avLst/>
          </a:prstGeom>
          <a:noFill/>
          <a:ln w="9525">
            <a:solidFill>
              <a:srgbClr val="003366"/>
            </a:solidFill>
            <a:round/>
            <a:headEnd/>
            <a:tailEnd type="triangle" w="med" len="med"/>
          </a:ln>
        </p:spPr>
      </p:cxnSp>
      <p:cxnSp>
        <p:nvCxnSpPr>
          <p:cNvPr id="167946" name="AutoShape 17"/>
          <p:cNvCxnSpPr>
            <a:cxnSpLocks noChangeShapeType="1"/>
            <a:stCxn id="167972" idx="3"/>
            <a:endCxn id="167944" idx="3"/>
          </p:cNvCxnSpPr>
          <p:nvPr/>
        </p:nvCxnSpPr>
        <p:spPr bwMode="auto">
          <a:xfrm flipV="1">
            <a:off x="2814638" y="4132263"/>
            <a:ext cx="985837" cy="793750"/>
          </a:xfrm>
          <a:prstGeom prst="curvedConnector2">
            <a:avLst/>
          </a:prstGeom>
          <a:noFill/>
          <a:ln w="9525">
            <a:solidFill>
              <a:srgbClr val="003366"/>
            </a:solidFill>
            <a:round/>
            <a:headEnd/>
            <a:tailEnd type="triangle" w="med" len="med"/>
          </a:ln>
        </p:spPr>
      </p:cxnSp>
      <p:cxnSp>
        <p:nvCxnSpPr>
          <p:cNvPr id="167947" name="AutoShape 18"/>
          <p:cNvCxnSpPr>
            <a:cxnSpLocks noChangeShapeType="1"/>
            <a:stCxn id="167974" idx="1"/>
            <a:endCxn id="167944" idx="5"/>
          </p:cNvCxnSpPr>
          <p:nvPr/>
        </p:nvCxnSpPr>
        <p:spPr bwMode="auto">
          <a:xfrm rot="10800000">
            <a:off x="5349875" y="4132263"/>
            <a:ext cx="950913" cy="793750"/>
          </a:xfrm>
          <a:prstGeom prst="curvedConnector2">
            <a:avLst/>
          </a:prstGeom>
          <a:noFill/>
          <a:ln w="9525">
            <a:solidFill>
              <a:srgbClr val="003366"/>
            </a:solidFill>
            <a:round/>
            <a:headEnd/>
            <a:tailEnd type="triangle" w="med" len="med"/>
          </a:ln>
        </p:spPr>
      </p:cxnSp>
      <p:cxnSp>
        <p:nvCxnSpPr>
          <p:cNvPr id="167948" name="AutoShape 19"/>
          <p:cNvCxnSpPr>
            <a:cxnSpLocks noChangeShapeType="1"/>
            <a:stCxn id="167964" idx="1"/>
            <a:endCxn id="167944" idx="7"/>
          </p:cNvCxnSpPr>
          <p:nvPr/>
        </p:nvCxnSpPr>
        <p:spPr bwMode="auto">
          <a:xfrm rot="10800000" flipV="1">
            <a:off x="5349875" y="2665413"/>
            <a:ext cx="950913" cy="776287"/>
          </a:xfrm>
          <a:prstGeom prst="curvedConnector2">
            <a:avLst/>
          </a:prstGeom>
          <a:noFill/>
          <a:ln w="9525">
            <a:solidFill>
              <a:srgbClr val="003366"/>
            </a:solidFill>
            <a:round/>
            <a:headEnd/>
            <a:tailEnd type="triangle" w="med" len="med"/>
          </a:ln>
        </p:spPr>
      </p:cxnSp>
      <p:cxnSp>
        <p:nvCxnSpPr>
          <p:cNvPr id="167949" name="AutoShape 20"/>
          <p:cNvCxnSpPr>
            <a:cxnSpLocks noChangeShapeType="1"/>
            <a:stCxn id="167968" idx="2"/>
            <a:endCxn id="167944" idx="0"/>
          </p:cNvCxnSpPr>
          <p:nvPr/>
        </p:nvCxnSpPr>
        <p:spPr bwMode="auto">
          <a:xfrm>
            <a:off x="4568599" y="2703513"/>
            <a:ext cx="6576" cy="593725"/>
          </a:xfrm>
          <a:prstGeom prst="straightConnector1">
            <a:avLst/>
          </a:prstGeom>
          <a:noFill/>
          <a:ln w="9525">
            <a:solidFill>
              <a:srgbClr val="003366"/>
            </a:solidFill>
            <a:round/>
            <a:headEnd/>
            <a:tailEnd type="triangle" w="med" len="med"/>
          </a:ln>
        </p:spPr>
      </p:cxnSp>
      <p:cxnSp>
        <p:nvCxnSpPr>
          <p:cNvPr id="167950" name="AutoShape 21"/>
          <p:cNvCxnSpPr>
            <a:cxnSpLocks noChangeShapeType="1"/>
            <a:stCxn id="167961" idx="0"/>
            <a:endCxn id="167944" idx="4"/>
          </p:cNvCxnSpPr>
          <p:nvPr/>
        </p:nvCxnSpPr>
        <p:spPr bwMode="auto">
          <a:xfrm flipV="1">
            <a:off x="4572000" y="4276725"/>
            <a:ext cx="3175" cy="473075"/>
          </a:xfrm>
          <a:prstGeom prst="straightConnector1">
            <a:avLst/>
          </a:prstGeom>
          <a:noFill/>
          <a:ln w="9525">
            <a:solidFill>
              <a:srgbClr val="003366"/>
            </a:solidFill>
            <a:round/>
            <a:headEnd/>
            <a:tailEnd type="triangle" w="med" len="med"/>
          </a:ln>
        </p:spPr>
      </p:cxnSp>
      <p:cxnSp>
        <p:nvCxnSpPr>
          <p:cNvPr id="167951" name="AutoShape 22"/>
          <p:cNvCxnSpPr>
            <a:cxnSpLocks noChangeShapeType="1"/>
            <a:stCxn id="167970" idx="3"/>
            <a:endCxn id="167944" idx="2"/>
          </p:cNvCxnSpPr>
          <p:nvPr/>
        </p:nvCxnSpPr>
        <p:spPr bwMode="auto">
          <a:xfrm flipV="1">
            <a:off x="2814638" y="3787775"/>
            <a:ext cx="665162" cy="4763"/>
          </a:xfrm>
          <a:prstGeom prst="straightConnector1">
            <a:avLst/>
          </a:prstGeom>
          <a:noFill/>
          <a:ln w="9525">
            <a:solidFill>
              <a:srgbClr val="003366"/>
            </a:solidFill>
            <a:round/>
            <a:headEnd/>
            <a:tailEnd type="triangle" w="med" len="med"/>
          </a:ln>
        </p:spPr>
      </p:cxnSp>
      <p:cxnSp>
        <p:nvCxnSpPr>
          <p:cNvPr id="167952" name="AutoShape 23"/>
          <p:cNvCxnSpPr>
            <a:cxnSpLocks noChangeShapeType="1"/>
            <a:stCxn id="167966" idx="1"/>
            <a:endCxn id="167944" idx="6"/>
          </p:cNvCxnSpPr>
          <p:nvPr/>
        </p:nvCxnSpPr>
        <p:spPr bwMode="auto">
          <a:xfrm rot="10800000">
            <a:off x="5670550" y="3787775"/>
            <a:ext cx="630238" cy="4763"/>
          </a:xfrm>
          <a:prstGeom prst="straightConnector1">
            <a:avLst/>
          </a:prstGeom>
          <a:noFill/>
          <a:ln w="9525">
            <a:solidFill>
              <a:srgbClr val="003366"/>
            </a:solidFill>
            <a:round/>
            <a:headEnd/>
            <a:tailEnd type="triangle" w="med" len="med"/>
          </a:ln>
        </p:spPr>
      </p:cxnSp>
      <p:sp>
        <p:nvSpPr>
          <p:cNvPr id="167953" name="AutoShape 30"/>
          <p:cNvSpPr>
            <a:spLocks noChangeArrowheads="1"/>
          </p:cNvSpPr>
          <p:nvPr/>
        </p:nvSpPr>
        <p:spPr bwMode="auto">
          <a:xfrm>
            <a:off x="695325" y="1095375"/>
            <a:ext cx="2359025" cy="533400"/>
          </a:xfrm>
          <a:prstGeom prst="flowChartOffpageConnector">
            <a:avLst/>
          </a:prstGeom>
          <a:solidFill>
            <a:schemeClr val="accent3"/>
          </a:solidFill>
          <a:ln w="19050" algn="ctr">
            <a:solidFill>
              <a:srgbClr val="FFFFFF"/>
            </a:solidFill>
            <a:miter lim="800000"/>
            <a:headEnd type="none" w="sm" len="sm"/>
            <a:tailEnd/>
          </a:ln>
        </p:spPr>
        <p:txBody>
          <a:bodyPr lIns="72000" tIns="72000" rIns="72000" bIns="72000"/>
          <a:lstStyle/>
          <a:p>
            <a:pPr algn="ctr">
              <a:spcAft>
                <a:spcPct val="10000"/>
              </a:spcAft>
            </a:pPr>
            <a:r>
              <a:rPr lang="en-US" sz="1400" dirty="0" smtClean="0">
                <a:solidFill>
                  <a:srgbClr val="FFFFFF"/>
                </a:solidFill>
              </a:rPr>
              <a:t>Operational delivery</a:t>
            </a:r>
            <a:endParaRPr lang="en-US" sz="1400" dirty="0">
              <a:solidFill>
                <a:srgbClr val="FFFFFF"/>
              </a:solidFill>
            </a:endParaRPr>
          </a:p>
        </p:txBody>
      </p:sp>
      <p:sp>
        <p:nvSpPr>
          <p:cNvPr id="167954" name="AutoShape 31"/>
          <p:cNvSpPr>
            <a:spLocks noChangeArrowheads="1"/>
          </p:cNvSpPr>
          <p:nvPr/>
        </p:nvSpPr>
        <p:spPr bwMode="auto">
          <a:xfrm>
            <a:off x="3402013" y="1095375"/>
            <a:ext cx="2359025" cy="533400"/>
          </a:xfrm>
          <a:prstGeom prst="flowChartOffpageConnector">
            <a:avLst/>
          </a:prstGeom>
          <a:solidFill>
            <a:schemeClr val="accent1"/>
          </a:solidFill>
          <a:ln w="19050" algn="ctr">
            <a:solidFill>
              <a:srgbClr val="FFFFFF"/>
            </a:solidFill>
            <a:miter lim="800000"/>
            <a:headEnd type="none" w="sm" len="sm"/>
            <a:tailEnd/>
          </a:ln>
        </p:spPr>
        <p:txBody>
          <a:bodyPr lIns="72000" tIns="72000" rIns="72000" bIns="72000"/>
          <a:lstStyle/>
          <a:p>
            <a:pPr algn="ctr">
              <a:lnSpc>
                <a:spcPct val="90000"/>
              </a:lnSpc>
              <a:spcAft>
                <a:spcPct val="10000"/>
              </a:spcAft>
            </a:pPr>
            <a:r>
              <a:rPr lang="en-US" sz="1400" dirty="0">
                <a:solidFill>
                  <a:srgbClr val="FFFFFF"/>
                </a:solidFill>
              </a:rPr>
              <a:t>Leadership </a:t>
            </a:r>
            <a:r>
              <a:rPr lang="en-US" sz="1400" dirty="0" smtClean="0">
                <a:solidFill>
                  <a:srgbClr val="FFFFFF"/>
                </a:solidFill>
              </a:rPr>
              <a:t>&amp; alignment</a:t>
            </a:r>
            <a:endParaRPr lang="en-US" sz="1400" u="sng" dirty="0">
              <a:solidFill>
                <a:srgbClr val="FFFFFF"/>
              </a:solidFill>
            </a:endParaRPr>
          </a:p>
        </p:txBody>
      </p:sp>
      <p:sp>
        <p:nvSpPr>
          <p:cNvPr id="167955" name="AutoShape 32"/>
          <p:cNvSpPr>
            <a:spLocks noChangeArrowheads="1"/>
          </p:cNvSpPr>
          <p:nvPr/>
        </p:nvSpPr>
        <p:spPr bwMode="auto">
          <a:xfrm>
            <a:off x="6038850" y="1095375"/>
            <a:ext cx="2359025" cy="533400"/>
          </a:xfrm>
          <a:prstGeom prst="flowChartOffpageConnector">
            <a:avLst/>
          </a:prstGeom>
          <a:solidFill>
            <a:srgbClr val="92D400"/>
          </a:solidFill>
          <a:ln w="19050" algn="ctr">
            <a:solidFill>
              <a:srgbClr val="FFFFFF"/>
            </a:solidFill>
            <a:miter lim="800000"/>
            <a:headEnd type="none" w="sm" len="sm"/>
            <a:tailEnd/>
          </a:ln>
        </p:spPr>
        <p:txBody>
          <a:bodyPr lIns="72000" tIns="72000" rIns="72000" bIns="72000"/>
          <a:lstStyle/>
          <a:p>
            <a:pPr algn="ctr">
              <a:spcAft>
                <a:spcPct val="10000"/>
              </a:spcAft>
            </a:pPr>
            <a:r>
              <a:rPr lang="en-US" sz="1400" dirty="0" smtClean="0">
                <a:solidFill>
                  <a:srgbClr val="FFFFFF"/>
                </a:solidFill>
              </a:rPr>
              <a:t>People and </a:t>
            </a:r>
            <a:r>
              <a:rPr lang="en-US" sz="1400" dirty="0" err="1" smtClean="0">
                <a:solidFill>
                  <a:srgbClr val="FFFFFF"/>
                </a:solidFill>
              </a:rPr>
              <a:t>behaviours</a:t>
            </a:r>
            <a:endParaRPr lang="en-US" sz="1400" u="sng" dirty="0">
              <a:solidFill>
                <a:srgbClr val="FFFFFF"/>
              </a:solidFill>
            </a:endParaRPr>
          </a:p>
        </p:txBody>
      </p:sp>
      <p:sp>
        <p:nvSpPr>
          <p:cNvPr id="167956" name="Text Box 41"/>
          <p:cNvSpPr txBox="1">
            <a:spLocks noChangeArrowheads="1"/>
          </p:cNvSpPr>
          <p:nvPr/>
        </p:nvSpPr>
        <p:spPr bwMode="auto">
          <a:xfrm>
            <a:off x="835025" y="5973763"/>
            <a:ext cx="2081213" cy="368300"/>
          </a:xfrm>
          <a:prstGeom prst="rect">
            <a:avLst/>
          </a:prstGeom>
          <a:noFill/>
          <a:ln w="9525">
            <a:noFill/>
            <a:miter lim="800000"/>
            <a:headEnd/>
            <a:tailEnd/>
          </a:ln>
        </p:spPr>
        <p:txBody>
          <a:bodyPr>
            <a:spAutoFit/>
          </a:bodyPr>
          <a:lstStyle/>
          <a:p>
            <a:r>
              <a:rPr lang="en-US" sz="1000" b="0" dirty="0">
                <a:solidFill>
                  <a:srgbClr val="000066"/>
                </a:solidFill>
              </a:rPr>
              <a:t>“Customer Voice” will be covered within “Measurement”</a:t>
            </a:r>
            <a:endParaRPr lang="en-GB" sz="1000" b="0" dirty="0">
              <a:solidFill>
                <a:srgbClr val="000066"/>
              </a:solidFill>
            </a:endParaRPr>
          </a:p>
        </p:txBody>
      </p:sp>
      <p:sp>
        <p:nvSpPr>
          <p:cNvPr id="167957" name="Text Box 47"/>
          <p:cNvSpPr txBox="1">
            <a:spLocks noChangeArrowheads="1"/>
          </p:cNvSpPr>
          <p:nvPr/>
        </p:nvSpPr>
        <p:spPr bwMode="auto">
          <a:xfrm>
            <a:off x="3540125" y="5973763"/>
            <a:ext cx="2082800" cy="368300"/>
          </a:xfrm>
          <a:prstGeom prst="rect">
            <a:avLst/>
          </a:prstGeom>
          <a:noFill/>
          <a:ln w="9525">
            <a:noFill/>
            <a:miter lim="800000"/>
            <a:headEnd/>
            <a:tailEnd/>
          </a:ln>
        </p:spPr>
        <p:txBody>
          <a:bodyPr>
            <a:spAutoFit/>
          </a:bodyPr>
          <a:lstStyle/>
          <a:p>
            <a:r>
              <a:rPr lang="en-US" sz="1000" b="0">
                <a:solidFill>
                  <a:srgbClr val="000066"/>
                </a:solidFill>
              </a:rPr>
              <a:t>Full time “Resourcing” provided with a dedicated Work Pilot team</a:t>
            </a:r>
            <a:endParaRPr lang="en-GB" sz="1000" b="0">
              <a:solidFill>
                <a:srgbClr val="000066"/>
              </a:solidFill>
            </a:endParaRPr>
          </a:p>
        </p:txBody>
      </p:sp>
      <p:sp>
        <p:nvSpPr>
          <p:cNvPr id="167959" name="Rectangle 33"/>
          <p:cNvSpPr>
            <a:spLocks noChangeArrowheads="1"/>
          </p:cNvSpPr>
          <p:nvPr/>
        </p:nvSpPr>
        <p:spPr bwMode="auto">
          <a:xfrm>
            <a:off x="873125" y="2073275"/>
            <a:ext cx="1943100" cy="252000"/>
          </a:xfrm>
          <a:prstGeom prst="rect">
            <a:avLst/>
          </a:prstGeom>
          <a:solidFill>
            <a:schemeClr val="accent3"/>
          </a:solidFill>
          <a:ln w="9525">
            <a:noFill/>
            <a:miter lim="800000"/>
            <a:headEnd/>
            <a:tailEnd/>
          </a:ln>
        </p:spPr>
        <p:txBody>
          <a:bodyPr wrap="none"/>
          <a:lstStyle/>
          <a:p>
            <a:pPr algn="ctr"/>
            <a:r>
              <a:rPr lang="en-US" sz="1100" dirty="0">
                <a:solidFill>
                  <a:schemeClr val="bg1"/>
                </a:solidFill>
              </a:rPr>
              <a:t>End to end management</a:t>
            </a:r>
            <a:endParaRPr lang="en-GB" sz="1100" dirty="0">
              <a:solidFill>
                <a:schemeClr val="bg1"/>
              </a:solidFill>
            </a:endParaRPr>
          </a:p>
        </p:txBody>
      </p:sp>
      <p:sp>
        <p:nvSpPr>
          <p:cNvPr id="167960" name="Rectangle 15"/>
          <p:cNvSpPr>
            <a:spLocks noChangeArrowheads="1"/>
          </p:cNvSpPr>
          <p:nvPr/>
        </p:nvSpPr>
        <p:spPr bwMode="blackWhite">
          <a:xfrm>
            <a:off x="869950" y="2316163"/>
            <a:ext cx="1944688" cy="698500"/>
          </a:xfrm>
          <a:prstGeom prst="rect">
            <a:avLst/>
          </a:prstGeom>
          <a:solidFill>
            <a:schemeClr val="bg1"/>
          </a:solidFill>
          <a:ln w="12700">
            <a:noFill/>
            <a:miter lim="800000"/>
            <a:headEnd/>
            <a:tailEnd/>
          </a:ln>
        </p:spPr>
        <p:txBody>
          <a:bodyPr lIns="87086" tIns="45044" rIns="87086" bIns="45044" anchor="ctr"/>
          <a:lstStyle/>
          <a:p>
            <a:pPr marL="85725" indent="-85725" algn="ctr" defTabSz="954088" eaLnBrk="0" hangingPunct="0">
              <a:lnSpc>
                <a:spcPct val="95000"/>
              </a:lnSpc>
            </a:pPr>
            <a:r>
              <a:rPr lang="de-DE" sz="1200" b="0" dirty="0" smtClean="0">
                <a:solidFill>
                  <a:srgbClr val="000066"/>
                </a:solidFill>
              </a:rPr>
              <a:t>Shared and agreed Future </a:t>
            </a:r>
            <a:r>
              <a:rPr lang="de-DE" sz="1200" b="0" dirty="0">
                <a:solidFill>
                  <a:srgbClr val="000066"/>
                </a:solidFill>
              </a:rPr>
              <a:t>State Process</a:t>
            </a:r>
          </a:p>
        </p:txBody>
      </p:sp>
      <p:sp>
        <p:nvSpPr>
          <p:cNvPr id="167961" name="Rectangle 37"/>
          <p:cNvSpPr>
            <a:spLocks noChangeArrowheads="1"/>
          </p:cNvSpPr>
          <p:nvPr/>
        </p:nvSpPr>
        <p:spPr bwMode="auto">
          <a:xfrm>
            <a:off x="3600450" y="4749800"/>
            <a:ext cx="1943100" cy="252000"/>
          </a:xfrm>
          <a:prstGeom prst="rect">
            <a:avLst/>
          </a:prstGeom>
          <a:solidFill>
            <a:srgbClr val="002776"/>
          </a:solidFill>
          <a:ln w="9525">
            <a:noFill/>
            <a:miter lim="800000"/>
            <a:headEnd/>
            <a:tailEnd/>
          </a:ln>
        </p:spPr>
        <p:txBody>
          <a:bodyPr wrap="none"/>
          <a:lstStyle/>
          <a:p>
            <a:pPr algn="ctr"/>
            <a:r>
              <a:rPr lang="en-US" sz="1100">
                <a:solidFill>
                  <a:schemeClr val="bg1"/>
                </a:solidFill>
              </a:rPr>
              <a:t>Governance</a:t>
            </a:r>
            <a:endParaRPr lang="en-GB" sz="1100">
              <a:solidFill>
                <a:schemeClr val="bg1"/>
              </a:solidFill>
            </a:endParaRPr>
          </a:p>
        </p:txBody>
      </p:sp>
      <p:sp>
        <p:nvSpPr>
          <p:cNvPr id="167962" name="Rectangle 8"/>
          <p:cNvSpPr>
            <a:spLocks noChangeArrowheads="1"/>
          </p:cNvSpPr>
          <p:nvPr/>
        </p:nvSpPr>
        <p:spPr bwMode="blackWhite">
          <a:xfrm>
            <a:off x="3597049" y="4992688"/>
            <a:ext cx="1943100" cy="698500"/>
          </a:xfrm>
          <a:prstGeom prst="rect">
            <a:avLst/>
          </a:prstGeom>
          <a:solidFill>
            <a:schemeClr val="bg1"/>
          </a:solidFill>
          <a:ln w="12700">
            <a:noFill/>
            <a:miter lim="800000"/>
            <a:headEnd/>
            <a:tailEnd/>
          </a:ln>
        </p:spPr>
        <p:txBody>
          <a:bodyPr lIns="87086" tIns="45044" rIns="87086" bIns="45044" anchor="ctr"/>
          <a:lstStyle/>
          <a:p>
            <a:pPr marL="85725" indent="-85725" algn="ctr" defTabSz="954088" eaLnBrk="0" hangingPunct="0">
              <a:lnSpc>
                <a:spcPct val="95000"/>
              </a:lnSpc>
            </a:pPr>
            <a:r>
              <a:rPr lang="de-DE" sz="1200" b="0">
                <a:solidFill>
                  <a:srgbClr val="000066"/>
                </a:solidFill>
              </a:rPr>
              <a:t>Escalation process for problem solving and progress reporting</a:t>
            </a:r>
          </a:p>
        </p:txBody>
      </p:sp>
      <p:sp>
        <p:nvSpPr>
          <p:cNvPr id="167963" name="Rectangle 38"/>
          <p:cNvSpPr>
            <a:spLocks noChangeArrowheads="1"/>
          </p:cNvSpPr>
          <p:nvPr/>
        </p:nvSpPr>
        <p:spPr bwMode="auto">
          <a:xfrm>
            <a:off x="6303963" y="2073275"/>
            <a:ext cx="1943100" cy="252000"/>
          </a:xfrm>
          <a:prstGeom prst="rect">
            <a:avLst/>
          </a:prstGeom>
          <a:solidFill>
            <a:srgbClr val="92D400"/>
          </a:solidFill>
          <a:ln w="9525">
            <a:noFill/>
            <a:miter lim="800000"/>
            <a:headEnd/>
            <a:tailEnd/>
          </a:ln>
        </p:spPr>
        <p:txBody>
          <a:bodyPr wrap="none"/>
          <a:lstStyle/>
          <a:p>
            <a:pPr algn="ctr"/>
            <a:r>
              <a:rPr lang="en-US" sz="1100">
                <a:solidFill>
                  <a:schemeClr val="bg1"/>
                </a:solidFill>
              </a:rPr>
              <a:t>Roles &amp; Responsibilities</a:t>
            </a:r>
            <a:endParaRPr lang="en-GB" sz="1100">
              <a:solidFill>
                <a:schemeClr val="bg1"/>
              </a:solidFill>
            </a:endParaRPr>
          </a:p>
        </p:txBody>
      </p:sp>
      <p:sp>
        <p:nvSpPr>
          <p:cNvPr id="167964" name="Rectangle 9"/>
          <p:cNvSpPr>
            <a:spLocks noChangeArrowheads="1"/>
          </p:cNvSpPr>
          <p:nvPr/>
        </p:nvSpPr>
        <p:spPr bwMode="blackWhite">
          <a:xfrm>
            <a:off x="6300788" y="2316163"/>
            <a:ext cx="1944687" cy="698500"/>
          </a:xfrm>
          <a:prstGeom prst="rect">
            <a:avLst/>
          </a:prstGeom>
          <a:solidFill>
            <a:schemeClr val="bg1"/>
          </a:solidFill>
          <a:ln w="9525">
            <a:noFill/>
            <a:miter lim="800000"/>
            <a:headEnd/>
            <a:tailEnd/>
          </a:ln>
        </p:spPr>
        <p:txBody>
          <a:bodyPr lIns="87086" tIns="45044" rIns="87086" bIns="45044" anchor="ctr"/>
          <a:lstStyle/>
          <a:p>
            <a:pPr marL="85725" indent="-85725" algn="ctr" defTabSz="954088" eaLnBrk="0" hangingPunct="0">
              <a:lnSpc>
                <a:spcPct val="95000"/>
              </a:lnSpc>
            </a:pPr>
            <a:r>
              <a:rPr lang="de-DE" sz="1200" b="0">
                <a:solidFill>
                  <a:srgbClr val="000066"/>
                </a:solidFill>
              </a:rPr>
              <a:t>Definition of new Roles &amp; Resp. aligned with the new process</a:t>
            </a:r>
          </a:p>
        </p:txBody>
      </p:sp>
      <p:sp>
        <p:nvSpPr>
          <p:cNvPr id="167965" name="Rectangle 39"/>
          <p:cNvSpPr>
            <a:spLocks noChangeArrowheads="1"/>
          </p:cNvSpPr>
          <p:nvPr/>
        </p:nvSpPr>
        <p:spPr bwMode="auto">
          <a:xfrm>
            <a:off x="6303963" y="3200400"/>
            <a:ext cx="1943100" cy="252000"/>
          </a:xfrm>
          <a:prstGeom prst="rect">
            <a:avLst/>
          </a:prstGeom>
          <a:solidFill>
            <a:srgbClr val="92D400"/>
          </a:solidFill>
          <a:ln w="9525">
            <a:noFill/>
            <a:miter lim="800000"/>
            <a:headEnd/>
            <a:tailEnd/>
          </a:ln>
        </p:spPr>
        <p:txBody>
          <a:bodyPr wrap="none"/>
          <a:lstStyle/>
          <a:p>
            <a:pPr algn="ctr"/>
            <a:r>
              <a:rPr lang="en-US" sz="1100">
                <a:solidFill>
                  <a:schemeClr val="bg1"/>
                </a:solidFill>
              </a:rPr>
              <a:t>Capability &amp; Learning</a:t>
            </a:r>
            <a:endParaRPr lang="en-GB" sz="1100">
              <a:solidFill>
                <a:schemeClr val="bg1"/>
              </a:solidFill>
            </a:endParaRPr>
          </a:p>
        </p:txBody>
      </p:sp>
      <p:sp>
        <p:nvSpPr>
          <p:cNvPr id="167966" name="Rectangle 10"/>
          <p:cNvSpPr>
            <a:spLocks noChangeArrowheads="1"/>
          </p:cNvSpPr>
          <p:nvPr/>
        </p:nvSpPr>
        <p:spPr bwMode="blackWhite">
          <a:xfrm>
            <a:off x="6300788" y="3443288"/>
            <a:ext cx="1944687" cy="698500"/>
          </a:xfrm>
          <a:prstGeom prst="rect">
            <a:avLst/>
          </a:prstGeom>
          <a:solidFill>
            <a:schemeClr val="bg1"/>
          </a:solidFill>
          <a:ln w="9525">
            <a:noFill/>
            <a:miter lim="800000"/>
            <a:headEnd/>
            <a:tailEnd/>
          </a:ln>
        </p:spPr>
        <p:txBody>
          <a:bodyPr lIns="87086" tIns="45044" rIns="87086" bIns="45044" anchor="ctr"/>
          <a:lstStyle/>
          <a:p>
            <a:pPr marL="85725" indent="-85725" algn="ctr" defTabSz="954088" eaLnBrk="0" hangingPunct="0">
              <a:lnSpc>
                <a:spcPct val="95000"/>
              </a:lnSpc>
            </a:pPr>
            <a:r>
              <a:rPr lang="de-DE" sz="1200" b="0">
                <a:solidFill>
                  <a:srgbClr val="000066"/>
                </a:solidFill>
              </a:rPr>
              <a:t>Development of Skills Matrix and cross-training</a:t>
            </a:r>
          </a:p>
        </p:txBody>
      </p:sp>
      <p:sp>
        <p:nvSpPr>
          <p:cNvPr id="167967" name="Rectangle 36"/>
          <p:cNvSpPr>
            <a:spLocks noChangeArrowheads="1"/>
          </p:cNvSpPr>
          <p:nvPr/>
        </p:nvSpPr>
        <p:spPr bwMode="auto">
          <a:xfrm>
            <a:off x="3600450" y="1762125"/>
            <a:ext cx="1943100" cy="252000"/>
          </a:xfrm>
          <a:prstGeom prst="rect">
            <a:avLst/>
          </a:prstGeom>
          <a:solidFill>
            <a:srgbClr val="002776"/>
          </a:solidFill>
          <a:ln w="9525">
            <a:noFill/>
            <a:miter lim="800000"/>
            <a:headEnd/>
            <a:tailEnd/>
          </a:ln>
        </p:spPr>
        <p:txBody>
          <a:bodyPr wrap="none"/>
          <a:lstStyle/>
          <a:p>
            <a:pPr algn="ctr"/>
            <a:r>
              <a:rPr lang="en-US" sz="1100">
                <a:solidFill>
                  <a:schemeClr val="bg1"/>
                </a:solidFill>
              </a:rPr>
              <a:t>Leadership Engagement</a:t>
            </a:r>
            <a:endParaRPr lang="en-GB" sz="1100">
              <a:solidFill>
                <a:schemeClr val="bg1"/>
              </a:solidFill>
            </a:endParaRPr>
          </a:p>
        </p:txBody>
      </p:sp>
      <p:sp>
        <p:nvSpPr>
          <p:cNvPr id="167968" name="Rectangle 13"/>
          <p:cNvSpPr>
            <a:spLocks noChangeArrowheads="1"/>
          </p:cNvSpPr>
          <p:nvPr/>
        </p:nvSpPr>
        <p:spPr bwMode="blackWhite">
          <a:xfrm>
            <a:off x="3597049" y="2006600"/>
            <a:ext cx="1943100" cy="696913"/>
          </a:xfrm>
          <a:prstGeom prst="rect">
            <a:avLst/>
          </a:prstGeom>
          <a:solidFill>
            <a:schemeClr val="bg1"/>
          </a:solidFill>
          <a:ln w="12700">
            <a:noFill/>
            <a:miter lim="800000"/>
            <a:headEnd/>
            <a:tailEnd/>
          </a:ln>
        </p:spPr>
        <p:txBody>
          <a:bodyPr lIns="87086" tIns="45044" rIns="87086" bIns="45044" anchor="ctr"/>
          <a:lstStyle/>
          <a:p>
            <a:pPr marL="85725" indent="-85725" algn="ctr" defTabSz="954088" eaLnBrk="0" hangingPunct="0">
              <a:lnSpc>
                <a:spcPct val="95000"/>
              </a:lnSpc>
            </a:pPr>
            <a:r>
              <a:rPr lang="de-DE" sz="1200" b="0" dirty="0">
                <a:solidFill>
                  <a:srgbClr val="000066"/>
                </a:solidFill>
              </a:rPr>
              <a:t>Regular management reviews at the new work place</a:t>
            </a:r>
          </a:p>
        </p:txBody>
      </p:sp>
      <p:sp>
        <p:nvSpPr>
          <p:cNvPr id="167969" name="Rectangle 34"/>
          <p:cNvSpPr>
            <a:spLocks noChangeArrowheads="1"/>
          </p:cNvSpPr>
          <p:nvPr/>
        </p:nvSpPr>
        <p:spPr bwMode="auto">
          <a:xfrm>
            <a:off x="873125" y="3200400"/>
            <a:ext cx="1943100" cy="252000"/>
          </a:xfrm>
          <a:prstGeom prst="rect">
            <a:avLst/>
          </a:prstGeom>
          <a:solidFill>
            <a:schemeClr val="accent3"/>
          </a:solidFill>
          <a:ln w="9525">
            <a:noFill/>
            <a:miter lim="800000"/>
            <a:headEnd/>
            <a:tailEnd/>
          </a:ln>
        </p:spPr>
        <p:txBody>
          <a:bodyPr wrap="none"/>
          <a:lstStyle/>
          <a:p>
            <a:pPr algn="ctr"/>
            <a:r>
              <a:rPr lang="en-US" sz="1100" dirty="0" smtClean="0">
                <a:solidFill>
                  <a:schemeClr val="bg1"/>
                </a:solidFill>
              </a:rPr>
              <a:t>Performance measures</a:t>
            </a:r>
            <a:endParaRPr lang="en-GB" sz="1100" dirty="0">
              <a:solidFill>
                <a:schemeClr val="bg1"/>
              </a:solidFill>
            </a:endParaRPr>
          </a:p>
        </p:txBody>
      </p:sp>
      <p:sp>
        <p:nvSpPr>
          <p:cNvPr id="167970" name="Rectangle 14"/>
          <p:cNvSpPr>
            <a:spLocks noChangeArrowheads="1"/>
          </p:cNvSpPr>
          <p:nvPr/>
        </p:nvSpPr>
        <p:spPr bwMode="blackWhite">
          <a:xfrm>
            <a:off x="869950" y="3443288"/>
            <a:ext cx="1944688" cy="698500"/>
          </a:xfrm>
          <a:prstGeom prst="rect">
            <a:avLst/>
          </a:prstGeom>
          <a:solidFill>
            <a:schemeClr val="bg1"/>
          </a:solidFill>
          <a:ln w="12700">
            <a:noFill/>
            <a:miter lim="800000"/>
            <a:headEnd/>
            <a:tailEnd/>
          </a:ln>
        </p:spPr>
        <p:txBody>
          <a:bodyPr lIns="87086" tIns="45044" rIns="87086" bIns="45044" anchor="ctr"/>
          <a:lstStyle/>
          <a:p>
            <a:pPr marL="85725" indent="-85725" algn="ctr" defTabSz="954088" eaLnBrk="0" hangingPunct="0">
              <a:lnSpc>
                <a:spcPct val="95000"/>
              </a:lnSpc>
            </a:pPr>
            <a:r>
              <a:rPr lang="de-DE" sz="1200" b="0" dirty="0" smtClean="0">
                <a:solidFill>
                  <a:srgbClr val="000066"/>
                </a:solidFill>
              </a:rPr>
              <a:t>Clear and defined KPI on which the team can act</a:t>
            </a:r>
            <a:endParaRPr lang="de-DE" sz="1200" b="0" dirty="0">
              <a:solidFill>
                <a:srgbClr val="000066"/>
              </a:solidFill>
            </a:endParaRPr>
          </a:p>
        </p:txBody>
      </p:sp>
      <p:sp>
        <p:nvSpPr>
          <p:cNvPr id="167971" name="Rectangle 35"/>
          <p:cNvSpPr>
            <a:spLocks noChangeArrowheads="1"/>
          </p:cNvSpPr>
          <p:nvPr/>
        </p:nvSpPr>
        <p:spPr bwMode="auto">
          <a:xfrm>
            <a:off x="873125" y="4333875"/>
            <a:ext cx="1943100" cy="252000"/>
          </a:xfrm>
          <a:prstGeom prst="rect">
            <a:avLst/>
          </a:prstGeom>
          <a:solidFill>
            <a:schemeClr val="accent3"/>
          </a:solidFill>
          <a:ln w="9525">
            <a:noFill/>
            <a:miter lim="800000"/>
            <a:headEnd/>
            <a:tailEnd/>
          </a:ln>
        </p:spPr>
        <p:txBody>
          <a:bodyPr wrap="none"/>
          <a:lstStyle/>
          <a:p>
            <a:pPr algn="ctr"/>
            <a:r>
              <a:rPr lang="en-US" sz="1100">
                <a:solidFill>
                  <a:schemeClr val="bg1"/>
                </a:solidFill>
              </a:rPr>
              <a:t>Methods and tools</a:t>
            </a:r>
            <a:endParaRPr lang="en-GB" sz="1100">
              <a:solidFill>
                <a:schemeClr val="bg1"/>
              </a:solidFill>
            </a:endParaRPr>
          </a:p>
        </p:txBody>
      </p:sp>
      <p:sp>
        <p:nvSpPr>
          <p:cNvPr id="167972" name="Rectangle 11"/>
          <p:cNvSpPr>
            <a:spLocks noChangeArrowheads="1"/>
          </p:cNvSpPr>
          <p:nvPr/>
        </p:nvSpPr>
        <p:spPr bwMode="blackWhite">
          <a:xfrm>
            <a:off x="869950" y="4576763"/>
            <a:ext cx="1944688" cy="698500"/>
          </a:xfrm>
          <a:prstGeom prst="rect">
            <a:avLst/>
          </a:prstGeom>
          <a:solidFill>
            <a:schemeClr val="bg1"/>
          </a:solidFill>
          <a:ln w="12700">
            <a:noFill/>
            <a:miter lim="800000"/>
            <a:headEnd/>
            <a:tailEnd/>
          </a:ln>
        </p:spPr>
        <p:txBody>
          <a:bodyPr lIns="87086" tIns="45044" rIns="87086" bIns="45044" anchor="ctr"/>
          <a:lstStyle/>
          <a:p>
            <a:pPr marL="85725" indent="-85725" algn="ctr" defTabSz="954088" eaLnBrk="0" hangingPunct="0">
              <a:lnSpc>
                <a:spcPct val="95000"/>
              </a:lnSpc>
            </a:pPr>
            <a:r>
              <a:rPr lang="de-DE" sz="1200" b="0" dirty="0">
                <a:solidFill>
                  <a:srgbClr val="000066"/>
                </a:solidFill>
              </a:rPr>
              <a:t>Lean Work Place, </a:t>
            </a:r>
            <a:endParaRPr lang="de-DE" sz="1200" b="0" dirty="0" smtClean="0">
              <a:solidFill>
                <a:srgbClr val="000066"/>
              </a:solidFill>
            </a:endParaRPr>
          </a:p>
          <a:p>
            <a:pPr marL="85725" indent="-85725" algn="ctr" defTabSz="954088" eaLnBrk="0" hangingPunct="0">
              <a:lnSpc>
                <a:spcPct val="95000"/>
              </a:lnSpc>
            </a:pPr>
            <a:r>
              <a:rPr lang="de-DE" sz="1200" b="0" dirty="0" smtClean="0">
                <a:solidFill>
                  <a:srgbClr val="000066"/>
                </a:solidFill>
              </a:rPr>
              <a:t>Visual </a:t>
            </a:r>
            <a:r>
              <a:rPr lang="de-DE" sz="1200" b="0" dirty="0">
                <a:solidFill>
                  <a:srgbClr val="000066"/>
                </a:solidFill>
              </a:rPr>
              <a:t>Management, </a:t>
            </a:r>
            <a:endParaRPr lang="de-DE" sz="1200" b="0" dirty="0" smtClean="0">
              <a:solidFill>
                <a:srgbClr val="000066"/>
              </a:solidFill>
            </a:endParaRPr>
          </a:p>
          <a:p>
            <a:pPr marL="85725" indent="-85725" algn="ctr" defTabSz="954088" eaLnBrk="0" hangingPunct="0">
              <a:lnSpc>
                <a:spcPct val="95000"/>
              </a:lnSpc>
            </a:pPr>
            <a:r>
              <a:rPr lang="de-DE" sz="1200" b="0" dirty="0" smtClean="0">
                <a:solidFill>
                  <a:srgbClr val="000066"/>
                </a:solidFill>
              </a:rPr>
              <a:t>and </a:t>
            </a:r>
            <a:r>
              <a:rPr lang="de-DE" sz="1200" b="0" dirty="0">
                <a:solidFill>
                  <a:srgbClr val="000066"/>
                </a:solidFill>
              </a:rPr>
              <a:t>Problem Solving</a:t>
            </a:r>
          </a:p>
        </p:txBody>
      </p:sp>
      <p:sp>
        <p:nvSpPr>
          <p:cNvPr id="167973" name="Rectangle 40"/>
          <p:cNvSpPr>
            <a:spLocks noChangeArrowheads="1"/>
          </p:cNvSpPr>
          <p:nvPr/>
        </p:nvSpPr>
        <p:spPr bwMode="auto">
          <a:xfrm>
            <a:off x="6303963" y="4333875"/>
            <a:ext cx="1943100" cy="252000"/>
          </a:xfrm>
          <a:prstGeom prst="rect">
            <a:avLst/>
          </a:prstGeom>
          <a:solidFill>
            <a:srgbClr val="92D400"/>
          </a:solidFill>
          <a:ln w="9525">
            <a:noFill/>
            <a:miter lim="800000"/>
            <a:headEnd/>
            <a:tailEnd/>
          </a:ln>
        </p:spPr>
        <p:txBody>
          <a:bodyPr wrap="none"/>
          <a:lstStyle/>
          <a:p>
            <a:pPr algn="ctr"/>
            <a:r>
              <a:rPr lang="en-US" sz="1000" dirty="0" smtClean="0">
                <a:solidFill>
                  <a:schemeClr val="bg1"/>
                </a:solidFill>
              </a:rPr>
              <a:t>Mindset &amp; behaviors</a:t>
            </a:r>
            <a:endParaRPr lang="en-GB" sz="1000" dirty="0">
              <a:solidFill>
                <a:schemeClr val="bg1"/>
              </a:solidFill>
            </a:endParaRPr>
          </a:p>
        </p:txBody>
      </p:sp>
      <p:sp>
        <p:nvSpPr>
          <p:cNvPr id="167974" name="Rectangle 12"/>
          <p:cNvSpPr>
            <a:spLocks noChangeArrowheads="1"/>
          </p:cNvSpPr>
          <p:nvPr/>
        </p:nvSpPr>
        <p:spPr bwMode="blackWhite">
          <a:xfrm>
            <a:off x="6300788" y="4576763"/>
            <a:ext cx="1944687" cy="698500"/>
          </a:xfrm>
          <a:prstGeom prst="rect">
            <a:avLst/>
          </a:prstGeom>
          <a:solidFill>
            <a:schemeClr val="bg1"/>
          </a:solidFill>
          <a:ln w="9525">
            <a:noFill/>
            <a:miter lim="800000"/>
            <a:headEnd/>
            <a:tailEnd/>
          </a:ln>
        </p:spPr>
        <p:txBody>
          <a:bodyPr lIns="87086" tIns="45044" rIns="87086" bIns="45044" anchor="ctr"/>
          <a:lstStyle/>
          <a:p>
            <a:pPr marL="85725" indent="-85725" algn="ctr" defTabSz="954088" eaLnBrk="0" hangingPunct="0">
              <a:lnSpc>
                <a:spcPct val="95000"/>
              </a:lnSpc>
            </a:pPr>
            <a:r>
              <a:rPr lang="de-DE" sz="1200" b="0">
                <a:solidFill>
                  <a:srgbClr val="000066"/>
                </a:solidFill>
              </a:rPr>
              <a:t>New ways of working introduced with Daily Management routine</a:t>
            </a:r>
          </a:p>
        </p:txBody>
      </p:sp>
    </p:spTree>
    <p:extLst>
      <p:ext uri="{BB962C8B-B14F-4D97-AF65-F5344CB8AC3E}">
        <p14:creationId xmlns:p14="http://schemas.microsoft.com/office/powerpoint/2010/main" val="9094236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Title 1"/>
          <p:cNvSpPr>
            <a:spLocks noGrp="1"/>
          </p:cNvSpPr>
          <p:nvPr>
            <p:ph type="title"/>
          </p:nvPr>
        </p:nvSpPr>
        <p:spPr/>
        <p:txBody>
          <a:bodyPr/>
          <a:lstStyle/>
          <a:p>
            <a:r>
              <a:rPr lang="en-GB" dirty="0" smtClean="0"/>
              <a:t>Simulation Pilot Round</a:t>
            </a:r>
            <a:br>
              <a:rPr lang="en-GB" dirty="0" smtClean="0"/>
            </a:br>
            <a:r>
              <a:rPr lang="en-GB" sz="1800" b="1" dirty="0" smtClean="0">
                <a:solidFill>
                  <a:srgbClr val="92D050"/>
                </a:solidFill>
              </a:rPr>
              <a:t>Implement your future state design and run the final round</a:t>
            </a:r>
          </a:p>
        </p:txBody>
      </p:sp>
      <p:sp>
        <p:nvSpPr>
          <p:cNvPr id="147459" name="Slide Number Placeholder 4"/>
          <p:cNvSpPr>
            <a:spLocks noGrp="1"/>
          </p:cNvSpPr>
          <p:nvPr>
            <p:ph type="sldNum" sz="quarter" idx="11"/>
          </p:nvPr>
        </p:nvSpPr>
        <p:spPr>
          <a:noFill/>
        </p:spPr>
        <p:txBody>
          <a:bodyPr/>
          <a:lstStyle/>
          <a:p>
            <a:fld id="{70245211-6640-42EF-9181-CD4261E082AC}" type="slidenum">
              <a:rPr lang="en-GB" altLang="en-GB"/>
              <a:pPr/>
              <a:t>25</a:t>
            </a:fld>
            <a:endParaRPr lang="en-GB" altLang="en-GB"/>
          </a:p>
        </p:txBody>
      </p:sp>
      <p:sp>
        <p:nvSpPr>
          <p:cNvPr id="147460" name="Rectangle 2"/>
          <p:cNvSpPr>
            <a:spLocks noChangeArrowheads="1"/>
          </p:cNvSpPr>
          <p:nvPr/>
        </p:nvSpPr>
        <p:spPr bwMode="auto">
          <a:xfrm>
            <a:off x="1889125" y="1481138"/>
            <a:ext cx="5672138" cy="3868737"/>
          </a:xfrm>
          <a:prstGeom prst="rect">
            <a:avLst/>
          </a:prstGeom>
          <a:solidFill>
            <a:srgbClr val="E5E5CB"/>
          </a:solidFill>
          <a:ln w="0" algn="ctr">
            <a:noFill/>
            <a:miter lim="800000"/>
            <a:headEnd/>
            <a:tailEnd/>
          </a:ln>
        </p:spPr>
        <p:txBody>
          <a:bodyPr wrap="none" lIns="0" tIns="0" rIns="0" bIns="0" anchor="ctr"/>
          <a:lstStyle/>
          <a:p>
            <a:endParaRPr lang="en-US" b="0">
              <a:solidFill>
                <a:srgbClr val="FFFFFF"/>
              </a:solidFill>
            </a:endParaRPr>
          </a:p>
        </p:txBody>
      </p:sp>
      <p:sp>
        <p:nvSpPr>
          <p:cNvPr id="147461" name="Rectangle 16"/>
          <p:cNvSpPr>
            <a:spLocks noChangeArrowheads="1"/>
          </p:cNvSpPr>
          <p:nvPr/>
        </p:nvSpPr>
        <p:spPr bwMode="auto">
          <a:xfrm>
            <a:off x="1989138" y="1579563"/>
            <a:ext cx="5472112" cy="3671887"/>
          </a:xfrm>
          <a:prstGeom prst="rect">
            <a:avLst/>
          </a:prstGeom>
          <a:solidFill>
            <a:srgbClr val="FFFFFF"/>
          </a:solidFill>
          <a:ln w="9525">
            <a:solidFill>
              <a:srgbClr val="000066"/>
            </a:solidFill>
            <a:miter lim="800000"/>
            <a:headEnd/>
            <a:tailEnd/>
          </a:ln>
        </p:spPr>
        <p:txBody>
          <a:bodyPr lIns="180000" tIns="0" rIns="108000" bIns="0" anchor="ctr"/>
          <a:lstStyle/>
          <a:p>
            <a:pPr marL="265113" indent="-265113">
              <a:spcAft>
                <a:spcPct val="25000"/>
              </a:spcAft>
              <a:buFont typeface="Wingdings" pitchFamily="2" charset="2"/>
              <a:buNone/>
            </a:pPr>
            <a:endParaRPr lang="en-US" b="0">
              <a:solidFill>
                <a:srgbClr val="002776"/>
              </a:solidFill>
            </a:endParaRPr>
          </a:p>
        </p:txBody>
      </p:sp>
      <p:pic>
        <p:nvPicPr>
          <p:cNvPr id="147462" name="Picture 9" descr="chronomete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099050" y="3124200"/>
            <a:ext cx="1831975" cy="1930400"/>
          </a:xfrm>
          <a:prstGeom prst="rect">
            <a:avLst/>
          </a:prstGeom>
          <a:noFill/>
          <a:ln w="9525">
            <a:noFill/>
            <a:miter lim="800000"/>
            <a:headEnd/>
            <a:tailEnd/>
          </a:ln>
        </p:spPr>
      </p:pic>
      <p:pic>
        <p:nvPicPr>
          <p:cNvPr id="147463" name="Picture 15"/>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51113" y="3084513"/>
            <a:ext cx="2035175" cy="1944687"/>
          </a:xfrm>
          <a:prstGeom prst="rect">
            <a:avLst/>
          </a:prstGeom>
          <a:noFill/>
          <a:ln w="9525">
            <a:noFill/>
            <a:miter lim="800000"/>
            <a:headEnd/>
            <a:tailEnd/>
          </a:ln>
        </p:spPr>
      </p:pic>
      <p:sp>
        <p:nvSpPr>
          <p:cNvPr id="28" name="TextBox 14"/>
          <p:cNvSpPr txBox="1">
            <a:spLocks noChangeArrowheads="1"/>
          </p:cNvSpPr>
          <p:nvPr/>
        </p:nvSpPr>
        <p:spPr bwMode="auto">
          <a:xfrm>
            <a:off x="5268913" y="2709863"/>
            <a:ext cx="1390650" cy="368300"/>
          </a:xfrm>
          <a:prstGeom prst="rect">
            <a:avLst/>
          </a:prstGeom>
          <a:noFill/>
          <a:ln w="9525">
            <a:noFill/>
            <a:miter lim="800000"/>
            <a:headEnd/>
            <a:tailEnd/>
          </a:ln>
        </p:spPr>
        <p:txBody>
          <a:bodyPr wrap="none">
            <a:spAutoFit/>
          </a:bodyPr>
          <a:lstStyle/>
          <a:p>
            <a:pPr fontAlgn="auto">
              <a:spcBef>
                <a:spcPts val="0"/>
              </a:spcBef>
              <a:spcAft>
                <a:spcPts val="0"/>
              </a:spcAft>
              <a:defRPr/>
            </a:pPr>
            <a:r>
              <a:rPr lang="en-GB" kern="0" dirty="0" smtClean="0">
                <a:solidFill>
                  <a:srgbClr val="92D050"/>
                </a:solidFill>
              </a:rPr>
              <a:t>20 </a:t>
            </a:r>
            <a:r>
              <a:rPr lang="en-GB" kern="0" dirty="0">
                <a:solidFill>
                  <a:srgbClr val="92D050"/>
                </a:solidFill>
              </a:rPr>
              <a:t>minutes</a:t>
            </a:r>
          </a:p>
        </p:txBody>
      </p:sp>
      <p:sp>
        <p:nvSpPr>
          <p:cNvPr id="147465" name="Content Placeholder 5"/>
          <p:cNvSpPr>
            <a:spLocks/>
          </p:cNvSpPr>
          <p:nvPr/>
        </p:nvSpPr>
        <p:spPr bwMode="auto">
          <a:xfrm flipH="1">
            <a:off x="2124075" y="1341438"/>
            <a:ext cx="4968875" cy="4878387"/>
          </a:xfrm>
          <a:prstGeom prst="rect">
            <a:avLst/>
          </a:prstGeom>
          <a:noFill/>
          <a:ln w="9525">
            <a:noFill/>
            <a:miter lim="800000"/>
            <a:headEnd/>
            <a:tailEnd/>
          </a:ln>
        </p:spPr>
        <p:txBody>
          <a:bodyPr/>
          <a:lstStyle/>
          <a:p>
            <a:pPr marL="382588" indent="-342900" algn="ctr" defTabSz="844550" eaLnBrk="0" hangingPunct="0">
              <a:spcBef>
                <a:spcPts val="700"/>
              </a:spcBef>
              <a:buClr>
                <a:schemeClr val="tx1"/>
              </a:buClr>
              <a:buSzPct val="100000"/>
              <a:buFont typeface="Arial" pitchFamily="34" charset="0"/>
              <a:buNone/>
            </a:pPr>
            <a:endParaRPr lang="en-GB" altLang="zh-CN" dirty="0">
              <a:ea typeface="SimSun" pitchFamily="2" charset="-122"/>
            </a:endParaRPr>
          </a:p>
          <a:p>
            <a:pPr marL="382588" indent="-342900" algn="ctr" defTabSz="844550" eaLnBrk="0" hangingPunct="0">
              <a:spcBef>
                <a:spcPts val="700"/>
              </a:spcBef>
              <a:buClr>
                <a:schemeClr val="tx1"/>
              </a:buClr>
              <a:buSzPct val="100000"/>
              <a:buFont typeface="Arial" pitchFamily="34" charset="0"/>
              <a:buNone/>
            </a:pPr>
            <a:r>
              <a:rPr lang="en-GB" altLang="zh-CN" sz="2400" dirty="0">
                <a:solidFill>
                  <a:srgbClr val="000066"/>
                </a:solidFill>
                <a:ea typeface="SimSun" pitchFamily="2" charset="-122"/>
              </a:rPr>
              <a:t>Run Simulation Pilots </a:t>
            </a:r>
            <a:endParaRPr lang="en-GB" altLang="zh-CN" sz="1500" dirty="0">
              <a:ea typeface="SimSun" pitchFamily="2" charset="-122"/>
            </a:endParaRPr>
          </a:p>
          <a:p>
            <a:pPr marL="382588" indent="-342900" defTabSz="844550" eaLnBrk="0" hangingPunct="0">
              <a:spcBef>
                <a:spcPts val="700"/>
              </a:spcBef>
              <a:buClr>
                <a:schemeClr val="tx1"/>
              </a:buClr>
              <a:buSzPct val="100000"/>
              <a:buFont typeface="Arial" pitchFamily="34" charset="0"/>
              <a:buChar char="•"/>
            </a:pPr>
            <a:endParaRPr lang="en-GB" altLang="zh-CN" sz="1500" dirty="0">
              <a:ea typeface="SimSun" pitchFamily="2" charset="-122"/>
            </a:endParaRPr>
          </a:p>
          <a:p>
            <a:pPr marL="382588" indent="-342900" defTabSz="844550" eaLnBrk="0" hangingPunct="0">
              <a:spcBef>
                <a:spcPts val="700"/>
              </a:spcBef>
              <a:buClr>
                <a:schemeClr val="tx1"/>
              </a:buClr>
              <a:buSzPct val="100000"/>
              <a:buFont typeface="Arial" pitchFamily="34" charset="0"/>
              <a:buNone/>
            </a:pPr>
            <a:endParaRPr lang="en-GB" altLang="zh-CN" sz="1500" dirty="0">
              <a:ea typeface="SimSun" pitchFamily="2" charset="-122"/>
            </a:endParaRPr>
          </a:p>
        </p:txBody>
      </p:sp>
      <p:sp>
        <p:nvSpPr>
          <p:cNvPr id="11" name="Rectangle 10"/>
          <p:cNvSpPr/>
          <p:nvPr/>
        </p:nvSpPr>
        <p:spPr>
          <a:xfrm>
            <a:off x="21772" y="36286"/>
            <a:ext cx="9072000" cy="6768000"/>
          </a:xfrm>
          <a:prstGeom prst="rect">
            <a:avLst/>
          </a:prstGeom>
          <a:noFill/>
          <a:ln w="1079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26943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6434" name="Title 1"/>
          <p:cNvSpPr>
            <a:spLocks noGrp="1"/>
          </p:cNvSpPr>
          <p:nvPr>
            <p:ph type="title"/>
          </p:nvPr>
        </p:nvSpPr>
        <p:spPr/>
        <p:txBody>
          <a:bodyPr/>
          <a:lstStyle/>
          <a:p>
            <a:pPr eaLnBrk="1" hangingPunct="1"/>
            <a:r>
              <a:rPr lang="en-GB" sz="2400" dirty="0" smtClean="0"/>
              <a:t>Agenda</a:t>
            </a:r>
            <a:r>
              <a:rPr lang="en-GB" dirty="0" smtClean="0"/>
              <a:t/>
            </a:r>
            <a:br>
              <a:rPr lang="en-GB" dirty="0" smtClean="0"/>
            </a:br>
            <a:r>
              <a:rPr lang="en-GB" sz="1800" b="1" dirty="0" smtClean="0">
                <a:solidFill>
                  <a:schemeClr val="bg1"/>
                </a:solidFill>
                <a:cs typeface="Arial" pitchFamily="34" charset="0"/>
              </a:rPr>
              <a:t>Day 4 – Future State 2 &amp; Work Pilot</a:t>
            </a:r>
            <a:endParaRPr lang="en-GB" sz="1800" dirty="0" smtClean="0">
              <a:solidFill>
                <a:schemeClr val="bg1"/>
              </a:solidFill>
            </a:endParaRPr>
          </a:p>
        </p:txBody>
      </p:sp>
      <p:sp>
        <p:nvSpPr>
          <p:cNvPr id="146435" name="Slide Number Placeholder 4"/>
          <p:cNvSpPr>
            <a:spLocks noGrp="1"/>
          </p:cNvSpPr>
          <p:nvPr>
            <p:ph type="sldNum" sz="quarter" idx="11"/>
          </p:nvPr>
        </p:nvSpPr>
        <p:spPr>
          <a:noFill/>
        </p:spPr>
        <p:txBody>
          <a:bodyPr/>
          <a:lstStyle/>
          <a:p>
            <a:fld id="{82D34DDB-D9C1-4DB6-926B-ECFA1F44E4A6}" type="slidenum">
              <a:rPr lang="en-GB" altLang="en-GB"/>
              <a:pPr/>
              <a:t>26</a:t>
            </a:fld>
            <a:endParaRPr lang="en-GB" altLang="en-GB"/>
          </a:p>
        </p:txBody>
      </p:sp>
      <p:graphicFrame>
        <p:nvGraphicFramePr>
          <p:cNvPr id="8" name="Group 33"/>
          <p:cNvGraphicFramePr>
            <a:graphicFrameLocks noGrp="1"/>
          </p:cNvGraphicFramePr>
          <p:nvPr>
            <p:extLst>
              <p:ext uri="{D42A27DB-BD31-4B8C-83A1-F6EECF244321}">
                <p14:modId xmlns:p14="http://schemas.microsoft.com/office/powerpoint/2010/main" val="2844120538"/>
              </p:ext>
            </p:extLst>
          </p:nvPr>
        </p:nvGraphicFramePr>
        <p:xfrm>
          <a:off x="466725" y="1268413"/>
          <a:ext cx="8353425" cy="5001118"/>
        </p:xfrm>
        <a:graphic>
          <a:graphicData uri="http://schemas.openxmlformats.org/drawingml/2006/table">
            <a:tbl>
              <a:tblPr/>
              <a:tblGrid>
                <a:gridCol w="1296987"/>
                <a:gridCol w="7056438"/>
              </a:tblGrid>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6"/>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dirty="0" smtClean="0">
                          <a:solidFill>
                            <a:srgbClr val="000066"/>
                          </a:solidFill>
                          <a:cs typeface="Arial" pitchFamily="34" charset="0"/>
                        </a:rPr>
                        <a:t>Teach</a:t>
                      </a:r>
                      <a:r>
                        <a:rPr lang="en-GB" sz="1400" baseline="0" dirty="0" smtClean="0">
                          <a:solidFill>
                            <a:srgbClr val="000066"/>
                          </a:solidFill>
                          <a:cs typeface="Arial" pitchFamily="34" charset="0"/>
                        </a:rPr>
                        <a:t> Back – Days 1, 2, and 3</a:t>
                      </a:r>
                      <a:endParaRPr kumimoji="0" lang="en-GB" sz="1400" b="0" i="0" u="none" strike="noStrike" cap="none" normalizeH="0" baseline="0" dirty="0" smtClean="0">
                        <a:ln>
                          <a:noFill/>
                        </a:ln>
                        <a:solidFill>
                          <a:srgbClr val="000066"/>
                        </a:solidFill>
                        <a:effectLst/>
                        <a:latin typeface="Arial" pitchFamily="34" charset="0"/>
                      </a:endParaRP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 to Future State 2</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Action</a:t>
                      </a:r>
                      <a:r>
                        <a:rPr lang="en-GB" sz="1400" baseline="0" dirty="0" smtClean="0">
                          <a:solidFill>
                            <a:srgbClr val="000066"/>
                          </a:solidFill>
                          <a:cs typeface="Arial" pitchFamily="34" charset="0"/>
                        </a:rPr>
                        <a:t> Brainstorm</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Breakdown Structure</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Packages</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Exercise - Implementing the Future State Design</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Introduction</a:t>
                      </a:r>
                      <a:r>
                        <a:rPr lang="en-GB" sz="1400" baseline="0" dirty="0" smtClean="0">
                          <a:solidFill>
                            <a:srgbClr val="000066"/>
                          </a:solidFill>
                          <a:cs typeface="Arial" pitchFamily="34" charset="0"/>
                        </a:rPr>
                        <a:t> to </a:t>
                      </a:r>
                      <a:r>
                        <a:rPr lang="en-GB" sz="1400" dirty="0" smtClean="0">
                          <a:solidFill>
                            <a:srgbClr val="000066"/>
                          </a:solidFill>
                          <a:cs typeface="Arial" pitchFamily="34" charset="0"/>
                        </a:rPr>
                        <a:t>Work Pilot</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Set Up</a:t>
                      </a:r>
                      <a:r>
                        <a:rPr lang="en-GB" sz="1400" baseline="0" dirty="0" smtClean="0">
                          <a:solidFill>
                            <a:srgbClr val="000066"/>
                          </a:solidFill>
                          <a:cs typeface="Arial" pitchFamily="34" charset="0"/>
                        </a:rPr>
                        <a:t> &amp; Run a Work Pilo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800" b="1" dirty="0" smtClean="0">
                          <a:solidFill>
                            <a:schemeClr val="tx1"/>
                          </a:solidFill>
                          <a:cs typeface="Arial" pitchFamily="34" charset="0"/>
                        </a:rPr>
                        <a:t>Run Final Simulation</a:t>
                      </a:r>
                    </a:p>
                    <a:p>
                      <a:pPr marL="228600" indent="-228600" fontAlgn="base">
                        <a:spcBef>
                          <a:spcPct val="0"/>
                        </a:spcBef>
                        <a:buSzPct val="120000"/>
                        <a:buFont typeface="Wingdings" pitchFamily="2" charset="2"/>
                        <a:buChar char="§"/>
                        <a:tabLst>
                          <a:tab pos="5715000" algn="l"/>
                        </a:tabLst>
                      </a:pPr>
                      <a:r>
                        <a:rPr lang="en-GB" sz="1800" b="1" dirty="0" smtClean="0">
                          <a:solidFill>
                            <a:schemeClr val="tx1"/>
                          </a:solidFill>
                          <a:cs typeface="Arial" pitchFamily="34" charset="0"/>
                        </a:rPr>
                        <a:t>Record and review simulation performance</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Lean</a:t>
                      </a:r>
                      <a:r>
                        <a:rPr lang="en-GB" sz="1400" kern="1200" baseline="0" dirty="0" smtClean="0">
                          <a:solidFill>
                            <a:srgbClr val="000066"/>
                          </a:solidFill>
                          <a:latin typeface="+mn-lt"/>
                          <a:ea typeface="+mn-ea"/>
                          <a:cs typeface="Arial" pitchFamily="34" charset="0"/>
                        </a:rPr>
                        <a:t> management</a:t>
                      </a:r>
                      <a:r>
                        <a:rPr lang="en-GB" sz="1400" kern="1200" dirty="0" smtClean="0">
                          <a:solidFill>
                            <a:srgbClr val="000066"/>
                          </a:solidFill>
                          <a:latin typeface="+mn-lt"/>
                          <a:ea typeface="+mn-ea"/>
                          <a:cs typeface="Arial" pitchFamily="34" charset="0"/>
                        </a:rPr>
                        <a:t> tools and techniqu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dirty="0" smtClean="0">
                          <a:solidFill>
                            <a:srgbClr val="000066"/>
                          </a:solidFill>
                          <a:cs typeface="Arial" pitchFamily="34" charset="0"/>
                        </a:rPr>
                        <a:t>Planning the</a:t>
                      </a:r>
                      <a:r>
                        <a:rPr lang="en-GB" sz="1400" baseline="0" dirty="0" smtClean="0">
                          <a:solidFill>
                            <a:srgbClr val="000066"/>
                          </a:solidFill>
                          <a:cs typeface="Arial" pitchFamily="34" charset="0"/>
                        </a:rPr>
                        <a:t> Transfer to BAU</a:t>
                      </a:r>
                      <a:endParaRPr lang="en-GB" sz="1400" kern="1200" dirty="0" smtClean="0">
                        <a:solidFill>
                          <a:srgbClr val="000066"/>
                        </a:solidFill>
                        <a:latin typeface="+mn-lt"/>
                        <a:ea typeface="+mn-ea"/>
                        <a:cs typeface="Arial" pitchFamily="34" charset="0"/>
                      </a:endParaRP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ourse Review &amp; Wrap up</a:t>
                      </a:r>
                    </a:p>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Overall WWW and WBBI</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826790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Title 1"/>
          <p:cNvSpPr>
            <a:spLocks noGrp="1"/>
          </p:cNvSpPr>
          <p:nvPr>
            <p:ph type="title"/>
          </p:nvPr>
        </p:nvSpPr>
        <p:spPr/>
        <p:txBody>
          <a:bodyPr/>
          <a:lstStyle/>
          <a:p>
            <a:r>
              <a:rPr lang="en-GB" smtClean="0"/>
              <a:t>Simulation Final Round</a:t>
            </a:r>
            <a:br>
              <a:rPr lang="en-GB" smtClean="0"/>
            </a:br>
            <a:r>
              <a:rPr lang="en-GB" sz="1800" b="1" smtClean="0">
                <a:solidFill>
                  <a:srgbClr val="92D050"/>
                </a:solidFill>
              </a:rPr>
              <a:t>Implement your future state design and run the final round</a:t>
            </a:r>
          </a:p>
        </p:txBody>
      </p:sp>
      <p:sp>
        <p:nvSpPr>
          <p:cNvPr id="147459" name="Slide Number Placeholder 4"/>
          <p:cNvSpPr>
            <a:spLocks noGrp="1"/>
          </p:cNvSpPr>
          <p:nvPr>
            <p:ph type="sldNum" sz="quarter" idx="11"/>
          </p:nvPr>
        </p:nvSpPr>
        <p:spPr>
          <a:noFill/>
        </p:spPr>
        <p:txBody>
          <a:bodyPr/>
          <a:lstStyle/>
          <a:p>
            <a:fld id="{70245211-6640-42EF-9181-CD4261E082AC}" type="slidenum">
              <a:rPr lang="en-GB" altLang="en-GB"/>
              <a:pPr/>
              <a:t>27</a:t>
            </a:fld>
            <a:endParaRPr lang="en-GB" altLang="en-GB"/>
          </a:p>
        </p:txBody>
      </p:sp>
      <p:sp>
        <p:nvSpPr>
          <p:cNvPr id="147460" name="Rectangle 2"/>
          <p:cNvSpPr>
            <a:spLocks noChangeArrowheads="1"/>
          </p:cNvSpPr>
          <p:nvPr/>
        </p:nvSpPr>
        <p:spPr bwMode="auto">
          <a:xfrm>
            <a:off x="1889125" y="1481138"/>
            <a:ext cx="5672138" cy="3868737"/>
          </a:xfrm>
          <a:prstGeom prst="rect">
            <a:avLst/>
          </a:prstGeom>
          <a:solidFill>
            <a:srgbClr val="E5E5CB"/>
          </a:solidFill>
          <a:ln w="0" algn="ctr">
            <a:noFill/>
            <a:miter lim="800000"/>
            <a:headEnd/>
            <a:tailEnd/>
          </a:ln>
        </p:spPr>
        <p:txBody>
          <a:bodyPr wrap="none" lIns="0" tIns="0" rIns="0" bIns="0" anchor="ctr"/>
          <a:lstStyle/>
          <a:p>
            <a:endParaRPr lang="en-US" b="0">
              <a:solidFill>
                <a:srgbClr val="FFFFFF"/>
              </a:solidFill>
            </a:endParaRPr>
          </a:p>
        </p:txBody>
      </p:sp>
      <p:sp>
        <p:nvSpPr>
          <p:cNvPr id="147461" name="Rectangle 16"/>
          <p:cNvSpPr>
            <a:spLocks noChangeArrowheads="1"/>
          </p:cNvSpPr>
          <p:nvPr/>
        </p:nvSpPr>
        <p:spPr bwMode="auto">
          <a:xfrm>
            <a:off x="1989138" y="1579563"/>
            <a:ext cx="5472112" cy="3671887"/>
          </a:xfrm>
          <a:prstGeom prst="rect">
            <a:avLst/>
          </a:prstGeom>
          <a:solidFill>
            <a:srgbClr val="FFFFFF"/>
          </a:solidFill>
          <a:ln w="9525">
            <a:solidFill>
              <a:srgbClr val="000066"/>
            </a:solidFill>
            <a:miter lim="800000"/>
            <a:headEnd/>
            <a:tailEnd/>
          </a:ln>
        </p:spPr>
        <p:txBody>
          <a:bodyPr lIns="180000" tIns="0" rIns="108000" bIns="0" anchor="ctr"/>
          <a:lstStyle/>
          <a:p>
            <a:pPr marL="265113" indent="-265113">
              <a:spcAft>
                <a:spcPct val="25000"/>
              </a:spcAft>
              <a:buFont typeface="Wingdings" pitchFamily="2" charset="2"/>
              <a:buNone/>
            </a:pPr>
            <a:endParaRPr lang="en-US" b="0">
              <a:solidFill>
                <a:srgbClr val="002776"/>
              </a:solidFill>
            </a:endParaRPr>
          </a:p>
        </p:txBody>
      </p:sp>
      <p:pic>
        <p:nvPicPr>
          <p:cNvPr id="147462" name="Picture 9" descr="chronomete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099050" y="3124200"/>
            <a:ext cx="1831975" cy="1930400"/>
          </a:xfrm>
          <a:prstGeom prst="rect">
            <a:avLst/>
          </a:prstGeom>
          <a:noFill/>
          <a:ln w="9525">
            <a:noFill/>
            <a:miter lim="800000"/>
            <a:headEnd/>
            <a:tailEnd/>
          </a:ln>
        </p:spPr>
      </p:pic>
      <p:pic>
        <p:nvPicPr>
          <p:cNvPr id="147463" name="Picture 15"/>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51113" y="3084513"/>
            <a:ext cx="2035175" cy="1944687"/>
          </a:xfrm>
          <a:prstGeom prst="rect">
            <a:avLst/>
          </a:prstGeom>
          <a:noFill/>
          <a:ln w="9525">
            <a:noFill/>
            <a:miter lim="800000"/>
            <a:headEnd/>
            <a:tailEnd/>
          </a:ln>
        </p:spPr>
      </p:pic>
      <p:sp>
        <p:nvSpPr>
          <p:cNvPr id="28" name="TextBox 14"/>
          <p:cNvSpPr txBox="1">
            <a:spLocks noChangeArrowheads="1"/>
          </p:cNvSpPr>
          <p:nvPr/>
        </p:nvSpPr>
        <p:spPr bwMode="auto">
          <a:xfrm>
            <a:off x="5268913" y="2709863"/>
            <a:ext cx="1390650" cy="368300"/>
          </a:xfrm>
          <a:prstGeom prst="rect">
            <a:avLst/>
          </a:prstGeom>
          <a:noFill/>
          <a:ln w="9525">
            <a:noFill/>
            <a:miter lim="800000"/>
            <a:headEnd/>
            <a:tailEnd/>
          </a:ln>
        </p:spPr>
        <p:txBody>
          <a:bodyPr wrap="none">
            <a:spAutoFit/>
          </a:bodyPr>
          <a:lstStyle/>
          <a:p>
            <a:pPr fontAlgn="auto">
              <a:spcBef>
                <a:spcPts val="0"/>
              </a:spcBef>
              <a:spcAft>
                <a:spcPts val="0"/>
              </a:spcAft>
              <a:defRPr/>
            </a:pPr>
            <a:r>
              <a:rPr lang="en-GB" kern="0" dirty="0" smtClean="0">
                <a:solidFill>
                  <a:srgbClr val="92D050"/>
                </a:solidFill>
              </a:rPr>
              <a:t>30 </a:t>
            </a:r>
            <a:r>
              <a:rPr lang="en-GB" kern="0" dirty="0">
                <a:solidFill>
                  <a:srgbClr val="92D050"/>
                </a:solidFill>
              </a:rPr>
              <a:t>minutes</a:t>
            </a:r>
          </a:p>
        </p:txBody>
      </p:sp>
      <p:sp>
        <p:nvSpPr>
          <p:cNvPr id="147465" name="Content Placeholder 5"/>
          <p:cNvSpPr>
            <a:spLocks/>
          </p:cNvSpPr>
          <p:nvPr/>
        </p:nvSpPr>
        <p:spPr bwMode="auto">
          <a:xfrm flipH="1">
            <a:off x="2124075" y="1341438"/>
            <a:ext cx="4968875" cy="4878387"/>
          </a:xfrm>
          <a:prstGeom prst="rect">
            <a:avLst/>
          </a:prstGeom>
          <a:noFill/>
          <a:ln w="9525">
            <a:noFill/>
            <a:miter lim="800000"/>
            <a:headEnd/>
            <a:tailEnd/>
          </a:ln>
        </p:spPr>
        <p:txBody>
          <a:bodyPr/>
          <a:lstStyle/>
          <a:p>
            <a:pPr marL="382588" indent="-342900" algn="ctr" defTabSz="844550" eaLnBrk="0" hangingPunct="0">
              <a:spcBef>
                <a:spcPts val="700"/>
              </a:spcBef>
              <a:buClr>
                <a:schemeClr val="tx1"/>
              </a:buClr>
              <a:buSzPct val="100000"/>
              <a:buFont typeface="Arial" pitchFamily="34" charset="0"/>
              <a:buNone/>
            </a:pPr>
            <a:endParaRPr lang="en-GB" altLang="zh-CN" dirty="0">
              <a:ea typeface="SimSun" pitchFamily="2" charset="-122"/>
            </a:endParaRPr>
          </a:p>
          <a:p>
            <a:pPr marL="382588" indent="-342900" algn="ctr" defTabSz="844550" eaLnBrk="0" hangingPunct="0">
              <a:spcBef>
                <a:spcPts val="700"/>
              </a:spcBef>
              <a:buClr>
                <a:schemeClr val="tx1"/>
              </a:buClr>
              <a:buSzPct val="100000"/>
              <a:buFont typeface="Arial" pitchFamily="34" charset="0"/>
              <a:buNone/>
            </a:pPr>
            <a:r>
              <a:rPr lang="en-GB" altLang="zh-CN" sz="2400" dirty="0">
                <a:solidFill>
                  <a:srgbClr val="000066"/>
                </a:solidFill>
                <a:ea typeface="SimSun" pitchFamily="2" charset="-122"/>
              </a:rPr>
              <a:t>Run </a:t>
            </a:r>
            <a:r>
              <a:rPr lang="en-GB" altLang="zh-CN" sz="2400" dirty="0" smtClean="0">
                <a:solidFill>
                  <a:srgbClr val="000066"/>
                </a:solidFill>
                <a:ea typeface="SimSun" pitchFamily="2" charset="-122"/>
              </a:rPr>
              <a:t>Simulation Round 3</a:t>
            </a:r>
            <a:endParaRPr lang="en-GB" altLang="zh-CN" sz="1500" dirty="0">
              <a:ea typeface="SimSun" pitchFamily="2" charset="-122"/>
            </a:endParaRPr>
          </a:p>
          <a:p>
            <a:pPr marL="382588" indent="-342900" defTabSz="844550" eaLnBrk="0" hangingPunct="0">
              <a:spcBef>
                <a:spcPts val="700"/>
              </a:spcBef>
              <a:buClr>
                <a:schemeClr val="tx1"/>
              </a:buClr>
              <a:buSzPct val="100000"/>
              <a:buFont typeface="Arial" pitchFamily="34" charset="0"/>
              <a:buChar char="•"/>
            </a:pPr>
            <a:endParaRPr lang="en-GB" altLang="zh-CN" sz="1500" dirty="0">
              <a:ea typeface="SimSun" pitchFamily="2" charset="-122"/>
            </a:endParaRPr>
          </a:p>
          <a:p>
            <a:pPr marL="382588" indent="-342900" defTabSz="844550" eaLnBrk="0" hangingPunct="0">
              <a:spcBef>
                <a:spcPts val="700"/>
              </a:spcBef>
              <a:buClr>
                <a:schemeClr val="tx1"/>
              </a:buClr>
              <a:buSzPct val="100000"/>
              <a:buFont typeface="Arial" pitchFamily="34" charset="0"/>
              <a:buNone/>
            </a:pPr>
            <a:endParaRPr lang="en-GB" altLang="zh-CN" sz="1500" dirty="0">
              <a:ea typeface="SimSun" pitchFamily="2" charset="-122"/>
            </a:endParaRPr>
          </a:p>
        </p:txBody>
      </p:sp>
      <p:sp>
        <p:nvSpPr>
          <p:cNvPr id="11" name="Rectangle 10"/>
          <p:cNvSpPr/>
          <p:nvPr/>
        </p:nvSpPr>
        <p:spPr>
          <a:xfrm>
            <a:off x="21772" y="36286"/>
            <a:ext cx="9072000" cy="6768000"/>
          </a:xfrm>
          <a:prstGeom prst="rect">
            <a:avLst/>
          </a:prstGeom>
          <a:noFill/>
          <a:ln w="10795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extLst>
      <p:ext uri="{BB962C8B-B14F-4D97-AF65-F5344CB8AC3E}">
        <p14:creationId xmlns:p14="http://schemas.microsoft.com/office/powerpoint/2010/main" val="40752962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itle 1"/>
          <p:cNvSpPr>
            <a:spLocks noGrp="1"/>
          </p:cNvSpPr>
          <p:nvPr>
            <p:ph type="title"/>
          </p:nvPr>
        </p:nvSpPr>
        <p:spPr/>
        <p:txBody>
          <a:bodyPr/>
          <a:lstStyle/>
          <a:p>
            <a:r>
              <a:rPr lang="en-GB" smtClean="0"/>
              <a:t>Simulation Final Round</a:t>
            </a:r>
            <a:br>
              <a:rPr lang="en-GB" smtClean="0"/>
            </a:br>
            <a:r>
              <a:rPr lang="en-GB" sz="1800" b="1" smtClean="0">
                <a:solidFill>
                  <a:srgbClr val="92D050"/>
                </a:solidFill>
              </a:rPr>
              <a:t>Feedback and final round summary</a:t>
            </a:r>
          </a:p>
        </p:txBody>
      </p:sp>
      <p:sp>
        <p:nvSpPr>
          <p:cNvPr id="148483" name="Slide Number Placeholder 4"/>
          <p:cNvSpPr>
            <a:spLocks noGrp="1"/>
          </p:cNvSpPr>
          <p:nvPr>
            <p:ph type="sldNum" sz="quarter" idx="11"/>
          </p:nvPr>
        </p:nvSpPr>
        <p:spPr>
          <a:noFill/>
        </p:spPr>
        <p:txBody>
          <a:bodyPr/>
          <a:lstStyle/>
          <a:p>
            <a:fld id="{26897775-E557-480C-8BE6-B015A7F042BF}" type="slidenum">
              <a:rPr lang="en-GB" altLang="en-GB"/>
              <a:pPr/>
              <a:t>28</a:t>
            </a:fld>
            <a:endParaRPr lang="en-GB" altLang="en-GB"/>
          </a:p>
        </p:txBody>
      </p:sp>
      <p:sp>
        <p:nvSpPr>
          <p:cNvPr id="148485" name="Rectangle 2"/>
          <p:cNvSpPr>
            <a:spLocks noChangeArrowheads="1"/>
          </p:cNvSpPr>
          <p:nvPr/>
        </p:nvSpPr>
        <p:spPr bwMode="auto">
          <a:xfrm>
            <a:off x="4787900" y="1509713"/>
            <a:ext cx="4032250" cy="3767137"/>
          </a:xfrm>
          <a:prstGeom prst="rect">
            <a:avLst/>
          </a:prstGeom>
          <a:solidFill>
            <a:srgbClr val="FFFFFF"/>
          </a:solidFill>
          <a:ln w="3175" algn="ctr">
            <a:noFill/>
            <a:miter lim="800000"/>
            <a:headEnd/>
            <a:tailEnd/>
          </a:ln>
        </p:spPr>
        <p:txBody>
          <a:bodyPr lIns="0" tIns="0" rIns="0" bIns="0" anchor="ctr"/>
          <a:lstStyle/>
          <a:p>
            <a:pPr marL="266700" indent="-182563"/>
            <a:r>
              <a:rPr lang="en-GB" altLang="zh-CN" dirty="0">
                <a:solidFill>
                  <a:schemeClr val="accent1"/>
                </a:solidFill>
                <a:ea typeface="SimSun" pitchFamily="2" charset="-122"/>
              </a:rPr>
              <a:t>Feedback - How did it go?</a:t>
            </a:r>
            <a:endParaRPr lang="en-GB" dirty="0">
              <a:solidFill>
                <a:schemeClr val="accent1"/>
              </a:solidFill>
            </a:endParaRPr>
          </a:p>
          <a:p>
            <a:pPr marL="266700" indent="-182563">
              <a:buFont typeface="Arial" pitchFamily="34" charset="0"/>
              <a:buChar char="•"/>
            </a:pPr>
            <a:endParaRPr lang="en-GB" dirty="0">
              <a:solidFill>
                <a:schemeClr val="accent1"/>
              </a:solidFill>
            </a:endParaRPr>
          </a:p>
          <a:p>
            <a:pPr marL="369887" indent="-285750">
              <a:buFont typeface="Wingdings" panose="05000000000000000000" pitchFamily="2" charset="2"/>
              <a:buChar char="§"/>
            </a:pPr>
            <a:r>
              <a:rPr lang="en-GB" b="0" dirty="0">
                <a:solidFill>
                  <a:schemeClr val="accent1"/>
                </a:solidFill>
              </a:rPr>
              <a:t>End to End (E2E) process</a:t>
            </a:r>
          </a:p>
          <a:p>
            <a:pPr marL="84137"/>
            <a:endParaRPr lang="en-GB" b="0" dirty="0">
              <a:solidFill>
                <a:schemeClr val="accent1"/>
              </a:solidFill>
            </a:endParaRPr>
          </a:p>
          <a:p>
            <a:pPr marL="369887" indent="-285750">
              <a:buFont typeface="Wingdings" panose="05000000000000000000" pitchFamily="2" charset="2"/>
              <a:buChar char="§"/>
            </a:pPr>
            <a:r>
              <a:rPr lang="en-GB" b="0" dirty="0">
                <a:solidFill>
                  <a:schemeClr val="accent1"/>
                </a:solidFill>
              </a:rPr>
              <a:t>WIP levels</a:t>
            </a:r>
          </a:p>
          <a:p>
            <a:pPr marL="84137"/>
            <a:r>
              <a:rPr lang="en-GB" b="0" dirty="0">
                <a:solidFill>
                  <a:schemeClr val="accent1"/>
                </a:solidFill>
              </a:rPr>
              <a:t> </a:t>
            </a:r>
          </a:p>
          <a:p>
            <a:pPr marL="369887" indent="-285750">
              <a:buFont typeface="Wingdings" panose="05000000000000000000" pitchFamily="2" charset="2"/>
              <a:buChar char="§"/>
            </a:pPr>
            <a:r>
              <a:rPr lang="en-GB" b="0" dirty="0">
                <a:solidFill>
                  <a:schemeClr val="accent1"/>
                </a:solidFill>
              </a:rPr>
              <a:t>Idle time</a:t>
            </a:r>
          </a:p>
          <a:p>
            <a:pPr marL="369887" indent="-285750">
              <a:buFont typeface="Wingdings" panose="05000000000000000000" pitchFamily="2" charset="2"/>
              <a:buChar char="§"/>
            </a:pPr>
            <a:endParaRPr lang="en-GB" b="0" dirty="0">
              <a:solidFill>
                <a:schemeClr val="accent1"/>
              </a:solidFill>
            </a:endParaRPr>
          </a:p>
          <a:p>
            <a:pPr marL="369887" indent="-285750">
              <a:buFont typeface="Wingdings" panose="05000000000000000000" pitchFamily="2" charset="2"/>
              <a:buChar char="§"/>
            </a:pPr>
            <a:r>
              <a:rPr lang="en-GB" b="0" dirty="0">
                <a:solidFill>
                  <a:schemeClr val="accent1"/>
                </a:solidFill>
              </a:rPr>
              <a:t>Morale during the process</a:t>
            </a:r>
          </a:p>
          <a:p>
            <a:pPr marL="369887" indent="-285750">
              <a:buFont typeface="Wingdings" panose="05000000000000000000" pitchFamily="2" charset="2"/>
              <a:buChar char="§"/>
            </a:pPr>
            <a:endParaRPr lang="en-GB" dirty="0">
              <a:solidFill>
                <a:schemeClr val="accent1"/>
              </a:solidFill>
            </a:endParaRPr>
          </a:p>
        </p:txBody>
      </p:sp>
      <p:pic>
        <p:nvPicPr>
          <p:cNvPr id="148486"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00113" y="2462213"/>
            <a:ext cx="2933700" cy="1933575"/>
          </a:xfrm>
          <a:prstGeom prst="rect">
            <a:avLst/>
          </a:prstGeom>
          <a:noFill/>
          <a:ln w="9525">
            <a:noFill/>
            <a:miter lim="800000"/>
            <a:headEnd/>
            <a:tailEnd/>
          </a:ln>
        </p:spPr>
      </p:pic>
      <p:sp>
        <p:nvSpPr>
          <p:cNvPr id="8" name="Rectangle 7"/>
          <p:cNvSpPr/>
          <p:nvPr/>
        </p:nvSpPr>
        <p:spPr>
          <a:xfrm>
            <a:off x="36000" y="43542"/>
            <a:ext cx="9072000" cy="6768000"/>
          </a:xfrm>
          <a:prstGeom prst="rect">
            <a:avLst/>
          </a:prstGeom>
          <a:noFill/>
          <a:ln w="10795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1024" y="176473"/>
            <a:ext cx="1121664" cy="1121664"/>
          </a:xfrm>
          <a:prstGeom prst="rect">
            <a:avLst/>
          </a:prstGeom>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57747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6434" name="Title 1"/>
          <p:cNvSpPr>
            <a:spLocks noGrp="1"/>
          </p:cNvSpPr>
          <p:nvPr>
            <p:ph type="title"/>
          </p:nvPr>
        </p:nvSpPr>
        <p:spPr/>
        <p:txBody>
          <a:bodyPr/>
          <a:lstStyle/>
          <a:p>
            <a:pPr eaLnBrk="1" hangingPunct="1"/>
            <a:r>
              <a:rPr lang="en-GB" sz="2400" dirty="0" smtClean="0"/>
              <a:t>Agenda</a:t>
            </a:r>
            <a:r>
              <a:rPr lang="en-GB" dirty="0" smtClean="0"/>
              <a:t/>
            </a:r>
            <a:br>
              <a:rPr lang="en-GB" dirty="0" smtClean="0"/>
            </a:br>
            <a:r>
              <a:rPr lang="en-GB" sz="1800" b="1" dirty="0" smtClean="0">
                <a:solidFill>
                  <a:schemeClr val="bg1"/>
                </a:solidFill>
                <a:cs typeface="Arial" pitchFamily="34" charset="0"/>
              </a:rPr>
              <a:t>Day 4 – Future State 2 &amp; Work Pilot</a:t>
            </a:r>
            <a:endParaRPr lang="en-GB" sz="1800" dirty="0" smtClean="0">
              <a:solidFill>
                <a:schemeClr val="bg1"/>
              </a:solidFill>
            </a:endParaRPr>
          </a:p>
        </p:txBody>
      </p:sp>
      <p:sp>
        <p:nvSpPr>
          <p:cNvPr id="146435" name="Slide Number Placeholder 4"/>
          <p:cNvSpPr>
            <a:spLocks noGrp="1"/>
          </p:cNvSpPr>
          <p:nvPr>
            <p:ph type="sldNum" sz="quarter" idx="11"/>
          </p:nvPr>
        </p:nvSpPr>
        <p:spPr>
          <a:noFill/>
        </p:spPr>
        <p:txBody>
          <a:bodyPr/>
          <a:lstStyle/>
          <a:p>
            <a:fld id="{82D34DDB-D9C1-4DB6-926B-ECFA1F44E4A6}" type="slidenum">
              <a:rPr lang="en-GB" altLang="en-GB"/>
              <a:pPr/>
              <a:t>29</a:t>
            </a:fld>
            <a:endParaRPr lang="en-GB" altLang="en-GB"/>
          </a:p>
        </p:txBody>
      </p:sp>
      <p:graphicFrame>
        <p:nvGraphicFramePr>
          <p:cNvPr id="8" name="Group 33"/>
          <p:cNvGraphicFramePr>
            <a:graphicFrameLocks noGrp="1"/>
          </p:cNvGraphicFramePr>
          <p:nvPr>
            <p:extLst>
              <p:ext uri="{D42A27DB-BD31-4B8C-83A1-F6EECF244321}">
                <p14:modId xmlns:p14="http://schemas.microsoft.com/office/powerpoint/2010/main" val="2626328394"/>
              </p:ext>
            </p:extLst>
          </p:nvPr>
        </p:nvGraphicFramePr>
        <p:xfrm>
          <a:off x="466725" y="1268413"/>
          <a:ext cx="8353425" cy="5001118"/>
        </p:xfrm>
        <a:graphic>
          <a:graphicData uri="http://schemas.openxmlformats.org/drawingml/2006/table">
            <a:tbl>
              <a:tblPr/>
              <a:tblGrid>
                <a:gridCol w="1296987"/>
                <a:gridCol w="7056438"/>
              </a:tblGrid>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6"/>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dirty="0" smtClean="0">
                          <a:solidFill>
                            <a:srgbClr val="000066"/>
                          </a:solidFill>
                          <a:cs typeface="Arial" pitchFamily="34" charset="0"/>
                        </a:rPr>
                        <a:t>Teach</a:t>
                      </a:r>
                      <a:r>
                        <a:rPr lang="en-GB" sz="1400" baseline="0" dirty="0" smtClean="0">
                          <a:solidFill>
                            <a:srgbClr val="000066"/>
                          </a:solidFill>
                          <a:cs typeface="Arial" pitchFamily="34" charset="0"/>
                        </a:rPr>
                        <a:t> Back – Days 1, 2, and 3</a:t>
                      </a:r>
                      <a:endParaRPr kumimoji="0" lang="en-GB" sz="1400" b="0" i="0" u="none" strike="noStrike" cap="none" normalizeH="0" baseline="0" dirty="0" smtClean="0">
                        <a:ln>
                          <a:noFill/>
                        </a:ln>
                        <a:solidFill>
                          <a:srgbClr val="000066"/>
                        </a:solidFill>
                        <a:effectLst/>
                        <a:latin typeface="Arial" pitchFamily="34" charset="0"/>
                      </a:endParaRP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 to Future State 2</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Action</a:t>
                      </a:r>
                      <a:r>
                        <a:rPr lang="en-GB" sz="1400" baseline="0" dirty="0" smtClean="0">
                          <a:solidFill>
                            <a:srgbClr val="000066"/>
                          </a:solidFill>
                          <a:cs typeface="Arial" pitchFamily="34" charset="0"/>
                        </a:rPr>
                        <a:t> Brainstorm</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Breakdown Structure</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Packages</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Exercise - Implementing the Future State Design</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Introduction</a:t>
                      </a:r>
                      <a:r>
                        <a:rPr lang="en-GB" sz="1400" baseline="0" dirty="0" smtClean="0">
                          <a:solidFill>
                            <a:srgbClr val="000066"/>
                          </a:solidFill>
                          <a:cs typeface="Arial" pitchFamily="34" charset="0"/>
                        </a:rPr>
                        <a:t> to </a:t>
                      </a:r>
                      <a:r>
                        <a:rPr lang="en-GB" sz="1400" dirty="0" smtClean="0">
                          <a:solidFill>
                            <a:srgbClr val="000066"/>
                          </a:solidFill>
                          <a:cs typeface="Arial" pitchFamily="34" charset="0"/>
                        </a:rPr>
                        <a:t>Work Pilot</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Set Up</a:t>
                      </a:r>
                      <a:r>
                        <a:rPr lang="en-GB" sz="1400" baseline="0" dirty="0" smtClean="0">
                          <a:solidFill>
                            <a:srgbClr val="000066"/>
                          </a:solidFill>
                          <a:cs typeface="Arial" pitchFamily="34" charset="0"/>
                        </a:rPr>
                        <a:t> &amp; Run a Work Pilo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un Final Simulation</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ecord and review simulation performance</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800" b="1" kern="1200" dirty="0" smtClean="0">
                          <a:solidFill>
                            <a:schemeClr val="tx1"/>
                          </a:solidFill>
                          <a:latin typeface="+mn-lt"/>
                          <a:ea typeface="+mn-ea"/>
                          <a:cs typeface="Arial" pitchFamily="34" charset="0"/>
                        </a:rPr>
                        <a:t>Lean</a:t>
                      </a:r>
                      <a:r>
                        <a:rPr lang="en-GB" sz="1800" b="1" kern="1200" baseline="0" dirty="0" smtClean="0">
                          <a:solidFill>
                            <a:schemeClr val="tx1"/>
                          </a:solidFill>
                          <a:latin typeface="+mn-lt"/>
                          <a:ea typeface="+mn-ea"/>
                          <a:cs typeface="Arial" pitchFamily="34" charset="0"/>
                        </a:rPr>
                        <a:t> management</a:t>
                      </a:r>
                      <a:r>
                        <a:rPr lang="en-GB" sz="1800" b="1" kern="1200" dirty="0" smtClean="0">
                          <a:solidFill>
                            <a:schemeClr val="tx1"/>
                          </a:solidFill>
                          <a:latin typeface="+mn-lt"/>
                          <a:ea typeface="+mn-ea"/>
                          <a:cs typeface="Arial" pitchFamily="34" charset="0"/>
                        </a:rPr>
                        <a:t> tools and techniqu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800" b="1" dirty="0" smtClean="0">
                          <a:solidFill>
                            <a:schemeClr val="tx1"/>
                          </a:solidFill>
                          <a:cs typeface="Arial" pitchFamily="34" charset="0"/>
                        </a:rPr>
                        <a:t>Planning the</a:t>
                      </a:r>
                      <a:r>
                        <a:rPr lang="en-GB" sz="1800" b="1" baseline="0" dirty="0" smtClean="0">
                          <a:solidFill>
                            <a:schemeClr val="tx1"/>
                          </a:solidFill>
                          <a:cs typeface="Arial" pitchFamily="34" charset="0"/>
                        </a:rPr>
                        <a:t> Transfer to BAU</a:t>
                      </a:r>
                      <a:endParaRPr lang="en-GB" sz="1400" b="1" kern="1200" dirty="0" smtClean="0">
                        <a:solidFill>
                          <a:schemeClr val="tx1"/>
                        </a:solidFill>
                        <a:latin typeface="+mn-lt"/>
                        <a:ea typeface="+mn-ea"/>
                        <a:cs typeface="Arial" pitchFamily="34" charset="0"/>
                      </a:endParaRP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ourse Review &amp; Wrap up</a:t>
                      </a:r>
                    </a:p>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Overall WWW and WBBI</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6677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1" name="Title 1"/>
          <p:cNvSpPr>
            <a:spLocks noGrp="1"/>
          </p:cNvSpPr>
          <p:nvPr>
            <p:ph type="title"/>
          </p:nvPr>
        </p:nvSpPr>
        <p:spPr/>
        <p:txBody>
          <a:bodyPr/>
          <a:lstStyle/>
          <a:p>
            <a:pPr eaLnBrk="1" hangingPunct="1"/>
            <a:r>
              <a:rPr lang="en-GB" sz="2400" dirty="0" err="1" smtClean="0"/>
              <a:t>Teachback</a:t>
            </a:r>
            <a:r>
              <a:rPr lang="en-GB" dirty="0" smtClean="0"/>
              <a:t/>
            </a:r>
            <a:br>
              <a:rPr lang="en-GB" dirty="0" smtClean="0"/>
            </a:br>
            <a:r>
              <a:rPr lang="en-GB" sz="1800" b="1" dirty="0" smtClean="0">
                <a:solidFill>
                  <a:srgbClr val="99CC33"/>
                </a:solidFill>
                <a:cs typeface="Arial" pitchFamily="34" charset="0"/>
              </a:rPr>
              <a:t> So tell us what you know so far about LSS....</a:t>
            </a:r>
            <a:r>
              <a:rPr lang="en-GB" dirty="0" smtClean="0"/>
              <a:t/>
            </a:r>
            <a:br>
              <a:rPr lang="en-GB" dirty="0" smtClean="0"/>
            </a:br>
            <a:endParaRPr lang="en-GB" dirty="0" smtClean="0"/>
          </a:p>
        </p:txBody>
      </p:sp>
      <p:sp>
        <p:nvSpPr>
          <p:cNvPr id="124932" name="Slide Number Placeholder 4"/>
          <p:cNvSpPr>
            <a:spLocks noGrp="1"/>
          </p:cNvSpPr>
          <p:nvPr>
            <p:ph type="sldNum" sz="quarter" idx="11"/>
          </p:nvPr>
        </p:nvSpPr>
        <p:spPr>
          <a:noFill/>
        </p:spPr>
        <p:txBody>
          <a:bodyPr/>
          <a:lstStyle/>
          <a:p>
            <a:fld id="{E3F11A9C-EF6E-4726-A484-089BAF0F2C87}" type="slidenum">
              <a:rPr lang="en-GB" altLang="en-GB"/>
              <a:pPr/>
              <a:t>3</a:t>
            </a:fld>
            <a:endParaRPr lang="en-GB" altLang="en-GB"/>
          </a:p>
        </p:txBody>
      </p:sp>
      <p:sp>
        <p:nvSpPr>
          <p:cNvPr id="7" name="Rectangle 5"/>
          <p:cNvSpPr txBox="1">
            <a:spLocks noChangeArrowheads="1"/>
          </p:cNvSpPr>
          <p:nvPr/>
        </p:nvSpPr>
        <p:spPr bwMode="auto">
          <a:xfrm>
            <a:off x="521548" y="2044700"/>
            <a:ext cx="8100000" cy="3528000"/>
          </a:xfrm>
          <a:prstGeom prst="rect">
            <a:avLst/>
          </a:prstGeom>
          <a:noFill/>
          <a:ln w="9525">
            <a:noFill/>
            <a:miter lim="800000"/>
            <a:headEnd/>
            <a:tailEnd/>
          </a:ln>
        </p:spPr>
        <p:txBody>
          <a:bodyPr lIns="72000" tIns="72000" rIns="72000" bIns="72000"/>
          <a:lstStyle/>
          <a:p>
            <a:pPr marL="180975" indent="-180975">
              <a:lnSpc>
                <a:spcPct val="102000"/>
              </a:lnSpc>
              <a:spcAft>
                <a:spcPct val="37000"/>
              </a:spcAft>
              <a:tabLst>
                <a:tab pos="5715000" algn="l"/>
              </a:tabLst>
              <a:defRPr/>
            </a:pPr>
            <a:r>
              <a:rPr lang="en-GB" sz="2000" b="0" kern="0" dirty="0">
                <a:solidFill>
                  <a:srgbClr val="000066"/>
                </a:solidFill>
                <a:latin typeface="+mn-lt"/>
                <a:cs typeface="+mn-cs"/>
              </a:rPr>
              <a:t>In the style of...</a:t>
            </a:r>
          </a:p>
        </p:txBody>
      </p:sp>
      <p:sp>
        <p:nvSpPr>
          <p:cNvPr id="124934" name="TextBox 9"/>
          <p:cNvSpPr txBox="1">
            <a:spLocks noChangeArrowheads="1"/>
          </p:cNvSpPr>
          <p:nvPr/>
        </p:nvSpPr>
        <p:spPr bwMode="auto">
          <a:xfrm>
            <a:off x="4035425" y="2490788"/>
            <a:ext cx="1296988" cy="2646362"/>
          </a:xfrm>
          <a:prstGeom prst="rect">
            <a:avLst/>
          </a:prstGeom>
          <a:noFill/>
          <a:ln w="9525">
            <a:noFill/>
            <a:miter lim="800000"/>
            <a:headEnd/>
            <a:tailEnd/>
          </a:ln>
        </p:spPr>
        <p:txBody>
          <a:bodyPr>
            <a:spAutoFit/>
          </a:bodyPr>
          <a:lstStyle/>
          <a:p>
            <a:pPr algn="ctr"/>
            <a:r>
              <a:rPr lang="en-GB" sz="16600" dirty="0">
                <a:solidFill>
                  <a:srgbClr val="92D400"/>
                </a:solidFill>
              </a:rPr>
              <a:t>?</a:t>
            </a:r>
          </a:p>
        </p:txBody>
      </p:sp>
      <p:sp>
        <p:nvSpPr>
          <p:cNvPr id="10" name="Rectangle 9"/>
          <p:cNvSpPr/>
          <p:nvPr/>
        </p:nvSpPr>
        <p:spPr>
          <a:xfrm>
            <a:off x="21772" y="36286"/>
            <a:ext cx="9072000" cy="67680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9" descr="chronome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24726" y="330008"/>
            <a:ext cx="719138" cy="755650"/>
          </a:xfrm>
          <a:prstGeom prst="rect">
            <a:avLst/>
          </a:prstGeom>
          <a:noFill/>
          <a:ln w="9525">
            <a:noFill/>
            <a:miter lim="800000"/>
            <a:headEnd/>
            <a:tailEnd/>
          </a:ln>
        </p:spPr>
      </p:pic>
      <p:sp>
        <p:nvSpPr>
          <p:cNvPr id="13" name="TextBox 12"/>
          <p:cNvSpPr txBox="1"/>
          <p:nvPr/>
        </p:nvSpPr>
        <p:spPr>
          <a:xfrm>
            <a:off x="6354169" y="545908"/>
            <a:ext cx="1440001" cy="369332"/>
          </a:xfrm>
          <a:prstGeom prst="rect">
            <a:avLst/>
          </a:prstGeom>
          <a:noFill/>
        </p:spPr>
        <p:txBody>
          <a:bodyPr wrap="square">
            <a:spAutoFit/>
          </a:bodyPr>
          <a:lstStyle/>
          <a:p>
            <a:pPr>
              <a:defRPr/>
            </a:pPr>
            <a:r>
              <a:rPr lang="en-GB" b="1" dirty="0" smtClean="0">
                <a:solidFill>
                  <a:srgbClr val="99CC33"/>
                </a:solidFill>
                <a:latin typeface="+mj-lt"/>
                <a:ea typeface="+mj-ea"/>
                <a:cs typeface="Arial" pitchFamily="34" charset="0"/>
              </a:rPr>
              <a:t>15 </a:t>
            </a:r>
            <a:r>
              <a:rPr lang="en-GB" b="1" dirty="0">
                <a:solidFill>
                  <a:srgbClr val="99CC33"/>
                </a:solidFill>
                <a:latin typeface="+mj-lt"/>
                <a:ea typeface="+mj-ea"/>
                <a:cs typeface="Arial" pitchFamily="34" charset="0"/>
              </a:rPr>
              <a:t>minutes</a:t>
            </a: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2775" y="325342"/>
            <a:ext cx="874902" cy="758921"/>
          </a:xfrm>
          <a:prstGeom prst="rect">
            <a:avLst/>
          </a:prstGeom>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ChangeArrowheads="1"/>
          </p:cNvSpPr>
          <p:nvPr>
            <p:ph type="title"/>
          </p:nvPr>
        </p:nvSpPr>
        <p:spPr>
          <a:xfrm>
            <a:off x="354013" y="371475"/>
            <a:ext cx="8296275" cy="555625"/>
          </a:xfrm>
        </p:spPr>
        <p:txBody>
          <a:bodyPr/>
          <a:lstStyle/>
          <a:p>
            <a:pPr eaLnBrk="1" hangingPunct="1"/>
            <a:r>
              <a:rPr lang="en-US" sz="2400" dirty="0" smtClean="0"/>
              <a:t>Lean management tools &amp; techniques</a:t>
            </a:r>
            <a:br>
              <a:rPr lang="en-US" sz="2400" dirty="0" smtClean="0"/>
            </a:br>
            <a:endParaRPr lang="en-GB" sz="1800" b="1" dirty="0" smtClean="0">
              <a:solidFill>
                <a:srgbClr val="99CC33"/>
              </a:solidFill>
              <a:cs typeface="Arial" pitchFamily="34" charset="0"/>
            </a:endParaRPr>
          </a:p>
        </p:txBody>
      </p:sp>
      <p:sp>
        <p:nvSpPr>
          <p:cNvPr id="14" name="Slide Number Placeholder 4"/>
          <p:cNvSpPr>
            <a:spLocks noGrp="1"/>
          </p:cNvSpPr>
          <p:nvPr>
            <p:ph type="sldNum" sz="quarter" idx="11"/>
          </p:nvPr>
        </p:nvSpPr>
        <p:spPr>
          <a:noFill/>
        </p:spPr>
        <p:txBody>
          <a:bodyPr/>
          <a:lstStyle/>
          <a:p>
            <a:fld id="{D7BA8602-1D36-42F3-9ADD-DC3FBBDDCECF}" type="slidenum">
              <a:rPr lang="en-GB" altLang="en-GB"/>
              <a:pPr/>
              <a:t>30</a:t>
            </a:fld>
            <a:endParaRPr lang="en-GB" altLang="en-GB"/>
          </a:p>
        </p:txBody>
      </p:sp>
      <p:grpSp>
        <p:nvGrpSpPr>
          <p:cNvPr id="139" name="Group 138"/>
          <p:cNvGrpSpPr/>
          <p:nvPr/>
        </p:nvGrpSpPr>
        <p:grpSpPr>
          <a:xfrm>
            <a:off x="3043877" y="1946298"/>
            <a:ext cx="3052578" cy="3059217"/>
            <a:chOff x="-579258" y="1152661"/>
            <a:chExt cx="3228002" cy="3235022"/>
          </a:xfrm>
        </p:grpSpPr>
        <p:grpSp>
          <p:nvGrpSpPr>
            <p:cNvPr id="140" name="Group 139"/>
            <p:cNvGrpSpPr/>
            <p:nvPr/>
          </p:nvGrpSpPr>
          <p:grpSpPr>
            <a:xfrm>
              <a:off x="-579258" y="1162883"/>
              <a:ext cx="3224800" cy="3224800"/>
              <a:chOff x="-579258" y="1162883"/>
              <a:chExt cx="3224800" cy="3224800"/>
            </a:xfrm>
          </p:grpSpPr>
          <p:sp>
            <p:nvSpPr>
              <p:cNvPr id="150" name="Pie 149"/>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72C7E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sp>
            <p:nvSpPr>
              <p:cNvPr id="151" name="Circular Arrow 150"/>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grpSp>
        <p:sp>
          <p:nvSpPr>
            <p:cNvPr id="141" name="TextBox 140"/>
            <p:cNvSpPr txBox="1"/>
            <p:nvPr/>
          </p:nvSpPr>
          <p:spPr>
            <a:xfrm>
              <a:off x="-87560" y="2060848"/>
              <a:ext cx="1019831" cy="55328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charset="0"/>
                  <a:cs typeface="Arial" charset="0"/>
                </a:rPr>
                <a:t>Sustain and CI</a:t>
              </a:r>
            </a:p>
          </p:txBody>
        </p:sp>
        <p:grpSp>
          <p:nvGrpSpPr>
            <p:cNvPr id="142" name="Group 141"/>
            <p:cNvGrpSpPr/>
            <p:nvPr/>
          </p:nvGrpSpPr>
          <p:grpSpPr>
            <a:xfrm rot="7200000">
              <a:off x="-576056" y="1162883"/>
              <a:ext cx="3224800" cy="3224800"/>
              <a:chOff x="-579258" y="1162883"/>
              <a:chExt cx="3224800" cy="3224800"/>
            </a:xfrm>
          </p:grpSpPr>
          <p:sp>
            <p:nvSpPr>
              <p:cNvPr id="148" name="Pie 147"/>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72C7E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sp>
            <p:nvSpPr>
              <p:cNvPr id="149" name="Circular Arrow 148"/>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grpSp>
        <p:grpSp>
          <p:nvGrpSpPr>
            <p:cNvPr id="143" name="Group 142"/>
            <p:cNvGrpSpPr/>
            <p:nvPr/>
          </p:nvGrpSpPr>
          <p:grpSpPr>
            <a:xfrm rot="14400000">
              <a:off x="-576056" y="1152661"/>
              <a:ext cx="3224800" cy="3224800"/>
              <a:chOff x="-579258" y="1162883"/>
              <a:chExt cx="3224800" cy="3224800"/>
            </a:xfrm>
          </p:grpSpPr>
          <p:sp>
            <p:nvSpPr>
              <p:cNvPr id="146" name="Pie 145"/>
              <p:cNvSpPr/>
              <p:nvPr/>
            </p:nvSpPr>
            <p:spPr bwMode="auto">
              <a:xfrm>
                <a:off x="-375592" y="1412776"/>
                <a:ext cx="2617002" cy="2617002"/>
              </a:xfrm>
              <a:prstGeom prst="pie">
                <a:avLst>
                  <a:gd name="adj1" fmla="val 8999574"/>
                  <a:gd name="adj2" fmla="val 16200000"/>
                </a:avLst>
              </a:prstGeom>
              <a:solidFill>
                <a:srgbClr val="00A1DE"/>
              </a:solidFill>
              <a:ln w="6350" algn="ctr">
                <a:solidFill>
                  <a:srgbClr val="72C7E7">
                    <a:lumMod val="75000"/>
                  </a:srgbClr>
                </a:solid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sp>
            <p:nvSpPr>
              <p:cNvPr id="147" name="Circular Arrow 146"/>
              <p:cNvSpPr/>
              <p:nvPr/>
            </p:nvSpPr>
            <p:spPr bwMode="auto">
              <a:xfrm rot="16200000">
                <a:off x="-579258" y="1162883"/>
                <a:ext cx="3224800" cy="3224800"/>
              </a:xfrm>
              <a:prstGeom prst="circularArrow">
                <a:avLst>
                  <a:gd name="adj1" fmla="val 6047"/>
                  <a:gd name="adj2" fmla="val 1142319"/>
                  <a:gd name="adj3" fmla="val 20457680"/>
                  <a:gd name="adj4" fmla="val 14590959"/>
                  <a:gd name="adj5" fmla="val 6124"/>
                </a:avLst>
              </a:prstGeom>
              <a:solidFill>
                <a:srgbClr val="002776"/>
              </a:solidFill>
              <a:ln w="6350" algn="ctr">
                <a:noFill/>
                <a:round/>
                <a:headEnd/>
                <a:tailEnd/>
              </a:ln>
            </p:spPr>
            <p:txBody>
              <a:bodyPr lIns="64588" tIns="64588" rIns="64588" bIns="64588" rtlCol="0" anchor="ctr"/>
              <a:lstStyle/>
              <a:p>
                <a:pPr marL="0" marR="0" lvl="0" indent="0" algn="ctr" defTabSz="914400" eaLnBrk="1" fontAlgn="auto" latinLnBrk="0" hangingPunct="1">
                  <a:lnSpc>
                    <a:spcPct val="102000"/>
                  </a:lnSpc>
                  <a:spcBef>
                    <a:spcPts val="0"/>
                  </a:spcBef>
                  <a:spcAft>
                    <a:spcPct val="37000"/>
                  </a:spcAft>
                  <a:buClrTx/>
                  <a:buSzTx/>
                  <a:buFontTx/>
                  <a:buNone/>
                  <a:tabLst>
                    <a:tab pos="5125216" algn="l"/>
                  </a:tabLst>
                  <a:defRPr/>
                </a:pPr>
                <a:endParaRPr kumimoji="0" lang="fr-FR" sz="1100" b="0" i="0" u="none" strike="noStrike" kern="0" cap="none" spc="0" normalizeH="0" baseline="0" noProof="0" dirty="0" smtClean="0">
                  <a:ln>
                    <a:noFill/>
                  </a:ln>
                  <a:solidFill>
                    <a:srgbClr val="FFFFFF"/>
                  </a:solidFill>
                  <a:effectLst/>
                  <a:uLnTx/>
                  <a:uFillTx/>
                </a:endParaRPr>
              </a:p>
            </p:txBody>
          </p:sp>
        </p:grpSp>
        <p:sp>
          <p:nvSpPr>
            <p:cNvPr id="144" name="TextBox 143"/>
            <p:cNvSpPr txBox="1"/>
            <p:nvPr/>
          </p:nvSpPr>
          <p:spPr>
            <a:xfrm>
              <a:off x="1170006" y="1831394"/>
              <a:ext cx="1151651" cy="100893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charset="0"/>
                  <a:cs typeface="Arial" charset="0"/>
                </a:rPr>
                <a:t>Identify value and the value stream</a:t>
              </a:r>
            </a:p>
          </p:txBody>
        </p:sp>
        <p:sp>
          <p:nvSpPr>
            <p:cNvPr id="145" name="TextBox 144"/>
            <p:cNvSpPr txBox="1"/>
            <p:nvPr/>
          </p:nvSpPr>
          <p:spPr>
            <a:xfrm>
              <a:off x="457931" y="3247913"/>
              <a:ext cx="1157987" cy="78111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charset="0"/>
                  <a:cs typeface="Arial" charset="0"/>
                </a:rPr>
                <a:t>Establish Flow &amp; Pull</a:t>
              </a:r>
            </a:p>
          </p:txBody>
        </p:sp>
      </p:grpSp>
      <p:sp>
        <p:nvSpPr>
          <p:cNvPr id="30" name="Rectangle 29"/>
          <p:cNvSpPr/>
          <p:nvPr/>
        </p:nvSpPr>
        <p:spPr bwMode="auto">
          <a:xfrm>
            <a:off x="361950" y="1470366"/>
            <a:ext cx="2304000" cy="413027"/>
          </a:xfrm>
          <a:prstGeom prst="rect">
            <a:avLst/>
          </a:prstGeom>
          <a:solidFill>
            <a:srgbClr val="00206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Standard</a:t>
            </a:r>
            <a:r>
              <a:rPr kumimoji="0" lang="en-US" sz="1600" b="0" i="0" u="none" strike="noStrike" kern="0" cap="none" spc="0" normalizeH="0" noProof="0" dirty="0" smtClean="0">
                <a:ln>
                  <a:noFill/>
                </a:ln>
                <a:solidFill>
                  <a:srgbClr val="FFFFFF"/>
                </a:solidFill>
                <a:effectLst/>
                <a:uLnTx/>
                <a:uFillTx/>
              </a:rPr>
              <a:t> work</a:t>
            </a:r>
            <a:endParaRPr kumimoji="0" lang="en-US" sz="1600" b="0" i="0" u="none" strike="noStrike" kern="0" cap="none" spc="0" normalizeH="0" baseline="0" noProof="0" dirty="0" smtClean="0">
              <a:ln>
                <a:noFill/>
              </a:ln>
              <a:solidFill>
                <a:srgbClr val="FFFFFF"/>
              </a:solidFill>
              <a:effectLst/>
              <a:uLnTx/>
              <a:uFillTx/>
            </a:endParaRPr>
          </a:p>
        </p:txBody>
      </p:sp>
      <p:sp>
        <p:nvSpPr>
          <p:cNvPr id="32" name="Rectangle 31"/>
          <p:cNvSpPr/>
          <p:nvPr/>
        </p:nvSpPr>
        <p:spPr bwMode="auto">
          <a:xfrm>
            <a:off x="361950" y="2000277"/>
            <a:ext cx="2304000" cy="413027"/>
          </a:xfrm>
          <a:prstGeom prst="rect">
            <a:avLst/>
          </a:prstGeom>
          <a:solidFill>
            <a:srgbClr val="00206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Visual management</a:t>
            </a:r>
          </a:p>
        </p:txBody>
      </p:sp>
      <p:sp>
        <p:nvSpPr>
          <p:cNvPr id="33" name="Rectangle 32"/>
          <p:cNvSpPr/>
          <p:nvPr/>
        </p:nvSpPr>
        <p:spPr bwMode="auto">
          <a:xfrm>
            <a:off x="361950" y="2526046"/>
            <a:ext cx="2304000" cy="413027"/>
          </a:xfrm>
          <a:prstGeom prst="rect">
            <a:avLst/>
          </a:prstGeom>
          <a:solidFill>
            <a:srgbClr val="00206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Problem</a:t>
            </a:r>
            <a:r>
              <a:rPr kumimoji="0" lang="en-US" sz="1600" b="0" i="0" u="none" strike="noStrike" kern="0" cap="none" spc="0" normalizeH="0" noProof="0" dirty="0" smtClean="0">
                <a:ln>
                  <a:noFill/>
                </a:ln>
                <a:solidFill>
                  <a:srgbClr val="FFFFFF"/>
                </a:solidFill>
                <a:effectLst/>
                <a:uLnTx/>
                <a:uFillTx/>
              </a:rPr>
              <a:t> solving</a:t>
            </a:r>
            <a:endParaRPr kumimoji="0" lang="en-US" sz="1600" b="0" i="0" u="none" strike="noStrike" kern="0" cap="none" spc="0" normalizeH="0" baseline="0" noProof="0" dirty="0" smtClean="0">
              <a:ln>
                <a:noFill/>
              </a:ln>
              <a:solidFill>
                <a:srgbClr val="FFFFFF"/>
              </a:solidFill>
              <a:effectLst/>
              <a:uLnTx/>
              <a:uFillTx/>
            </a:endParaRPr>
          </a:p>
        </p:txBody>
      </p:sp>
      <p:sp>
        <p:nvSpPr>
          <p:cNvPr id="34" name="Rectangle 33"/>
          <p:cNvSpPr/>
          <p:nvPr/>
        </p:nvSpPr>
        <p:spPr bwMode="auto">
          <a:xfrm>
            <a:off x="6512975" y="1470366"/>
            <a:ext cx="2304000" cy="413027"/>
          </a:xfrm>
          <a:prstGeom prst="rect">
            <a:avLst/>
          </a:prstGeom>
          <a:solidFill>
            <a:srgbClr val="92D40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Voice of the Customer</a:t>
            </a:r>
          </a:p>
        </p:txBody>
      </p:sp>
      <p:sp>
        <p:nvSpPr>
          <p:cNvPr id="35" name="Rectangle 34"/>
          <p:cNvSpPr/>
          <p:nvPr/>
        </p:nvSpPr>
        <p:spPr bwMode="auto">
          <a:xfrm>
            <a:off x="6512975" y="2000277"/>
            <a:ext cx="2304000" cy="413027"/>
          </a:xfrm>
          <a:prstGeom prst="rect">
            <a:avLst/>
          </a:prstGeom>
          <a:solidFill>
            <a:srgbClr val="92D40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SIPOC</a:t>
            </a:r>
          </a:p>
        </p:txBody>
      </p:sp>
      <p:sp>
        <p:nvSpPr>
          <p:cNvPr id="36" name="Rectangle 35"/>
          <p:cNvSpPr/>
          <p:nvPr/>
        </p:nvSpPr>
        <p:spPr bwMode="auto">
          <a:xfrm>
            <a:off x="6512975" y="2526046"/>
            <a:ext cx="2304000" cy="413027"/>
          </a:xfrm>
          <a:prstGeom prst="rect">
            <a:avLst/>
          </a:prstGeom>
          <a:solidFill>
            <a:srgbClr val="92D40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Go and See</a:t>
            </a:r>
          </a:p>
        </p:txBody>
      </p:sp>
      <p:sp>
        <p:nvSpPr>
          <p:cNvPr id="37" name="Rectangle 36"/>
          <p:cNvSpPr/>
          <p:nvPr/>
        </p:nvSpPr>
        <p:spPr bwMode="auto">
          <a:xfrm>
            <a:off x="6512975" y="3074029"/>
            <a:ext cx="2304000" cy="413027"/>
          </a:xfrm>
          <a:prstGeom prst="rect">
            <a:avLst/>
          </a:prstGeom>
          <a:solidFill>
            <a:srgbClr val="92D40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Value Stream Mapping</a:t>
            </a:r>
          </a:p>
        </p:txBody>
      </p:sp>
      <p:sp>
        <p:nvSpPr>
          <p:cNvPr id="38" name="Rectangle 37"/>
          <p:cNvSpPr/>
          <p:nvPr/>
        </p:nvSpPr>
        <p:spPr bwMode="auto">
          <a:xfrm>
            <a:off x="361950" y="3049266"/>
            <a:ext cx="2304000" cy="413027"/>
          </a:xfrm>
          <a:prstGeom prst="rect">
            <a:avLst/>
          </a:prstGeom>
          <a:solidFill>
            <a:srgbClr val="002060"/>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5 S</a:t>
            </a:r>
          </a:p>
        </p:txBody>
      </p:sp>
      <p:sp>
        <p:nvSpPr>
          <p:cNvPr id="39" name="Rectangle 38"/>
          <p:cNvSpPr/>
          <p:nvPr/>
        </p:nvSpPr>
        <p:spPr bwMode="auto">
          <a:xfrm>
            <a:off x="739314" y="5367283"/>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Mistake proofing</a:t>
            </a:r>
          </a:p>
        </p:txBody>
      </p:sp>
      <p:sp>
        <p:nvSpPr>
          <p:cNvPr id="40" name="Rectangle 39"/>
          <p:cNvSpPr/>
          <p:nvPr/>
        </p:nvSpPr>
        <p:spPr bwMode="auto">
          <a:xfrm>
            <a:off x="3421241" y="5397334"/>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Pull systems</a:t>
            </a:r>
          </a:p>
        </p:txBody>
      </p:sp>
      <p:sp>
        <p:nvSpPr>
          <p:cNvPr id="41" name="Rectangle 40"/>
          <p:cNvSpPr/>
          <p:nvPr/>
        </p:nvSpPr>
        <p:spPr bwMode="auto">
          <a:xfrm>
            <a:off x="3421241" y="5889799"/>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Continuous flow</a:t>
            </a:r>
          </a:p>
        </p:txBody>
      </p:sp>
      <p:sp>
        <p:nvSpPr>
          <p:cNvPr id="42" name="Rectangle 41"/>
          <p:cNvSpPr/>
          <p:nvPr/>
        </p:nvSpPr>
        <p:spPr bwMode="auto">
          <a:xfrm>
            <a:off x="739314" y="5889799"/>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err="1" smtClean="0">
                <a:ln>
                  <a:noFill/>
                </a:ln>
                <a:solidFill>
                  <a:srgbClr val="FFFFFF"/>
                </a:solidFill>
                <a:effectLst/>
                <a:uLnTx/>
                <a:uFillTx/>
              </a:rPr>
              <a:t>Andon</a:t>
            </a:r>
            <a:endParaRPr kumimoji="0" lang="en-US" sz="1600" b="0" i="0" u="none" strike="noStrike" kern="0" cap="none" spc="0" normalizeH="0" baseline="0" noProof="0" dirty="0" smtClean="0">
              <a:ln>
                <a:noFill/>
              </a:ln>
              <a:solidFill>
                <a:srgbClr val="FFFFFF"/>
              </a:solidFill>
              <a:effectLst/>
              <a:uLnTx/>
              <a:uFillTx/>
            </a:endParaRPr>
          </a:p>
        </p:txBody>
      </p:sp>
      <p:sp>
        <p:nvSpPr>
          <p:cNvPr id="43" name="Rectangle 42"/>
          <p:cNvSpPr/>
          <p:nvPr/>
        </p:nvSpPr>
        <p:spPr bwMode="auto">
          <a:xfrm>
            <a:off x="6088621" y="5397334"/>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smtClean="0">
                <a:ln>
                  <a:noFill/>
                </a:ln>
                <a:solidFill>
                  <a:srgbClr val="FFFFFF"/>
                </a:solidFill>
                <a:effectLst/>
                <a:uLnTx/>
                <a:uFillTx/>
              </a:rPr>
              <a:t>Cellular flow</a:t>
            </a:r>
          </a:p>
        </p:txBody>
      </p:sp>
      <p:sp>
        <p:nvSpPr>
          <p:cNvPr id="44" name="Rectangle 43"/>
          <p:cNvSpPr/>
          <p:nvPr/>
        </p:nvSpPr>
        <p:spPr bwMode="auto">
          <a:xfrm>
            <a:off x="6088621" y="5889799"/>
            <a:ext cx="2304000" cy="413027"/>
          </a:xfrm>
          <a:prstGeom prst="rect">
            <a:avLst/>
          </a:prstGeom>
          <a:solidFill>
            <a:srgbClr val="00A1DE"/>
          </a:solidFill>
          <a:ln w="6350" algn="ctr">
            <a:noFill/>
            <a:round/>
            <a:headEnd/>
            <a:tailEnd/>
          </a:ln>
        </p:spPr>
        <p:txBody>
          <a:bodyPr lIns="36000" tIns="36000" rIns="36000" bIns="36000" rtlCol="0" anchor="ctr"/>
          <a:lstStyle/>
          <a:p>
            <a:pPr marR="0" lvl="0" algn="ctr" defTabSz="914400" eaLnBrk="1" fontAlgn="auto" latinLnBrk="0" hangingPunct="1">
              <a:lnSpc>
                <a:spcPct val="102000"/>
              </a:lnSpc>
              <a:spcBef>
                <a:spcPts val="0"/>
              </a:spcBef>
              <a:spcAft>
                <a:spcPct val="37000"/>
              </a:spcAft>
              <a:buClrTx/>
              <a:buSzTx/>
              <a:tabLst>
                <a:tab pos="5125216" algn="l"/>
              </a:tabLst>
              <a:defRPr/>
            </a:pPr>
            <a:r>
              <a:rPr kumimoji="0" lang="en-US" sz="1600" b="0" i="0" u="none" strike="noStrike" kern="0" cap="none" spc="0" normalizeH="0" baseline="0" noProof="0" dirty="0" err="1" smtClean="0">
                <a:ln>
                  <a:noFill/>
                </a:ln>
                <a:solidFill>
                  <a:srgbClr val="FFFFFF"/>
                </a:solidFill>
                <a:effectLst/>
                <a:uLnTx/>
                <a:uFillTx/>
              </a:rPr>
              <a:t>Takt</a:t>
            </a:r>
            <a:r>
              <a:rPr kumimoji="0" lang="en-US" sz="1600" b="0" i="0" u="none" strike="noStrike" kern="0" cap="none" spc="0" normalizeH="0" baseline="0" noProof="0" dirty="0" smtClean="0">
                <a:ln>
                  <a:noFill/>
                </a:ln>
                <a:solidFill>
                  <a:srgbClr val="FFFFFF"/>
                </a:solidFill>
                <a:effectLst/>
                <a:uLnTx/>
                <a:uFillTx/>
              </a:rPr>
              <a:t> time</a:t>
            </a:r>
          </a:p>
        </p:txBody>
      </p:sp>
      <p:sp>
        <p:nvSpPr>
          <p:cNvPr id="31" name="Rectangle 30"/>
          <p:cNvSpPr/>
          <p:nvPr/>
        </p:nvSpPr>
        <p:spPr bwMode="auto">
          <a:xfrm>
            <a:off x="201092" y="1388191"/>
            <a:ext cx="2596700" cy="215406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pitchFamily="34" charset="0"/>
            </a:endParaRPr>
          </a:p>
        </p:txBody>
      </p:sp>
    </p:spTree>
    <p:extLst>
      <p:ext uri="{BB962C8B-B14F-4D97-AF65-F5344CB8AC3E}">
        <p14:creationId xmlns:p14="http://schemas.microsoft.com/office/powerpoint/2010/main" val="170006618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ChangeArrowheads="1"/>
          </p:cNvSpPr>
          <p:nvPr>
            <p:ph type="title"/>
          </p:nvPr>
        </p:nvSpPr>
        <p:spPr>
          <a:xfrm>
            <a:off x="354013" y="371475"/>
            <a:ext cx="8296275" cy="555625"/>
          </a:xfrm>
        </p:spPr>
        <p:txBody>
          <a:bodyPr/>
          <a:lstStyle/>
          <a:p>
            <a:pPr eaLnBrk="1" hangingPunct="1"/>
            <a:r>
              <a:rPr lang="en-US" dirty="0"/>
              <a:t>Lean management tools &amp; techniques</a:t>
            </a:r>
            <a:r>
              <a:rPr lang="en-US" sz="2400" dirty="0" smtClean="0"/>
              <a:t/>
            </a:r>
            <a:br>
              <a:rPr lang="en-US" sz="2400" dirty="0" smtClean="0"/>
            </a:br>
            <a:endParaRPr lang="en-GB" sz="1800" b="1" dirty="0" smtClean="0">
              <a:solidFill>
                <a:srgbClr val="99CC33"/>
              </a:solidFill>
              <a:cs typeface="Arial" pitchFamily="34" charset="0"/>
            </a:endParaRPr>
          </a:p>
        </p:txBody>
      </p:sp>
      <p:sp>
        <p:nvSpPr>
          <p:cNvPr id="14" name="Slide Number Placeholder 4"/>
          <p:cNvSpPr>
            <a:spLocks noGrp="1"/>
          </p:cNvSpPr>
          <p:nvPr>
            <p:ph type="sldNum" sz="quarter" idx="11"/>
          </p:nvPr>
        </p:nvSpPr>
        <p:spPr>
          <a:noFill/>
        </p:spPr>
        <p:txBody>
          <a:bodyPr/>
          <a:lstStyle/>
          <a:p>
            <a:fld id="{D7BA8602-1D36-42F3-9ADD-DC3FBBDDCECF}" type="slidenum">
              <a:rPr lang="en-GB" altLang="en-GB"/>
              <a:pPr/>
              <a:t>31</a:t>
            </a:fld>
            <a:endParaRPr lang="en-GB" altLang="en-GB"/>
          </a:p>
        </p:txBody>
      </p:sp>
      <p:sp>
        <p:nvSpPr>
          <p:cNvPr id="34" name="Rectangle 33"/>
          <p:cNvSpPr/>
          <p:nvPr/>
        </p:nvSpPr>
        <p:spPr bwMode="auto">
          <a:xfrm>
            <a:off x="361950" y="1287463"/>
            <a:ext cx="4464051" cy="1440185"/>
          </a:xfrm>
          <a:prstGeom prst="rect">
            <a:avLst/>
          </a:prstGeom>
          <a:solidFill>
            <a:srgbClr val="92D400"/>
          </a:solidFill>
          <a:ln w="6350" algn="ctr">
            <a:noFill/>
            <a:round/>
            <a:headEnd/>
            <a:tailEnd/>
          </a:ln>
        </p:spPr>
        <p:txBody>
          <a:bodyPr lIns="252000" tIns="64588" rIns="64588" bIns="64588" rtlCol="0" anchor="ctr"/>
          <a:lstStyle/>
          <a:p>
            <a:pPr marL="0" marR="0" lvl="0" indent="0" defTabSz="914400" eaLnBrk="1" fontAlgn="auto" latinLnBrk="0" hangingPunct="1">
              <a:lnSpc>
                <a:spcPct val="102000"/>
              </a:lnSpc>
              <a:spcBef>
                <a:spcPts val="0"/>
              </a:spcBef>
              <a:spcAft>
                <a:spcPct val="37000"/>
              </a:spcAft>
              <a:buClrTx/>
              <a:buSzTx/>
              <a:buFontTx/>
              <a:buNone/>
              <a:tabLst>
                <a:tab pos="5125216" algn="l"/>
              </a:tabLst>
              <a:defRPr/>
            </a:pPr>
            <a:r>
              <a:rPr kumimoji="0" lang="en-US" sz="1800" b="0" i="0" u="none" strike="noStrike" kern="0" cap="none" spc="0" normalizeH="0" baseline="0" noProof="0" dirty="0" smtClean="0">
                <a:ln>
                  <a:noFill/>
                </a:ln>
                <a:solidFill>
                  <a:srgbClr val="FFFFFF"/>
                </a:solidFill>
                <a:effectLst/>
                <a:uLnTx/>
                <a:uFillTx/>
              </a:rPr>
              <a:t>Quality rule</a:t>
            </a:r>
          </a:p>
          <a:p>
            <a:pPr marL="185738" marR="0" lvl="0" indent="-185738" defTabSz="914400" eaLnBrk="1" fontAlgn="auto" latinLnBrk="0" hangingPunct="1">
              <a:lnSpc>
                <a:spcPct val="102000"/>
              </a:lnSpc>
              <a:spcBef>
                <a:spcPts val="0"/>
              </a:spcBef>
              <a:spcAft>
                <a:spcPct val="37000"/>
              </a:spcAft>
              <a:buClrTx/>
              <a:buSzTx/>
              <a:buFont typeface="Wingdings" pitchFamily="2" charset="2"/>
              <a:buChar char="§"/>
              <a:tabLst>
                <a:tab pos="5125216" algn="l"/>
              </a:tabLst>
              <a:defRPr/>
            </a:pPr>
            <a:r>
              <a:rPr kumimoji="0" lang="en-US" sz="1600" b="0" i="0" u="none" strike="noStrike" kern="0" cap="none" spc="0" normalizeH="0" baseline="0" noProof="0" dirty="0" smtClean="0">
                <a:ln>
                  <a:noFill/>
                </a:ln>
                <a:solidFill>
                  <a:srgbClr val="FFFFFF"/>
                </a:solidFill>
                <a:effectLst/>
                <a:uLnTx/>
                <a:uFillTx/>
              </a:rPr>
              <a:t>Do not accept a defect</a:t>
            </a:r>
          </a:p>
          <a:p>
            <a:pPr marL="185738" marR="0" lvl="0" indent="-185738" defTabSz="914400" eaLnBrk="1" fontAlgn="auto" latinLnBrk="0" hangingPunct="1">
              <a:lnSpc>
                <a:spcPct val="102000"/>
              </a:lnSpc>
              <a:spcBef>
                <a:spcPts val="0"/>
              </a:spcBef>
              <a:spcAft>
                <a:spcPct val="37000"/>
              </a:spcAft>
              <a:buClrTx/>
              <a:buSzTx/>
              <a:buFont typeface="Wingdings" pitchFamily="2" charset="2"/>
              <a:buChar char="§"/>
              <a:tabLst>
                <a:tab pos="5125216" algn="l"/>
              </a:tabLst>
              <a:defRPr/>
            </a:pPr>
            <a:r>
              <a:rPr kumimoji="0" lang="en-US" sz="1600" b="0" i="0" u="none" strike="noStrike" kern="0" cap="none" spc="0" normalizeH="0" baseline="0" noProof="0" dirty="0" smtClean="0">
                <a:ln>
                  <a:noFill/>
                </a:ln>
                <a:solidFill>
                  <a:srgbClr val="FFFFFF"/>
                </a:solidFill>
                <a:effectLst/>
                <a:uLnTx/>
                <a:uFillTx/>
              </a:rPr>
              <a:t>Do not produce a defect</a:t>
            </a:r>
          </a:p>
          <a:p>
            <a:pPr marL="185738" marR="0" lvl="0" indent="-185738" defTabSz="914400" eaLnBrk="1" fontAlgn="auto" latinLnBrk="0" hangingPunct="1">
              <a:lnSpc>
                <a:spcPct val="102000"/>
              </a:lnSpc>
              <a:spcBef>
                <a:spcPts val="0"/>
              </a:spcBef>
              <a:spcAft>
                <a:spcPct val="37000"/>
              </a:spcAft>
              <a:buClrTx/>
              <a:buSzTx/>
              <a:buFont typeface="Wingdings" pitchFamily="2" charset="2"/>
              <a:buChar char="§"/>
              <a:tabLst>
                <a:tab pos="5125216" algn="l"/>
              </a:tabLst>
              <a:defRPr/>
            </a:pPr>
            <a:r>
              <a:rPr kumimoji="0" lang="en-US" sz="1600" b="0" i="0" u="none" strike="noStrike" kern="0" cap="none" spc="0" normalizeH="0" baseline="0" noProof="0" dirty="0" smtClean="0">
                <a:ln>
                  <a:noFill/>
                </a:ln>
                <a:solidFill>
                  <a:srgbClr val="FFFFFF"/>
                </a:solidFill>
                <a:effectLst/>
                <a:uLnTx/>
                <a:uFillTx/>
              </a:rPr>
              <a:t>Do not pass on a defect</a:t>
            </a:r>
          </a:p>
        </p:txBody>
      </p:sp>
      <p:sp>
        <p:nvSpPr>
          <p:cNvPr id="35" name="Rectangle 34"/>
          <p:cNvSpPr/>
          <p:nvPr/>
        </p:nvSpPr>
        <p:spPr bwMode="auto">
          <a:xfrm>
            <a:off x="361950" y="3009465"/>
            <a:ext cx="4464051" cy="1440185"/>
          </a:xfrm>
          <a:prstGeom prst="rect">
            <a:avLst/>
          </a:prstGeom>
          <a:solidFill>
            <a:srgbClr val="00A1DE"/>
          </a:solidFill>
          <a:ln w="6350" algn="ctr">
            <a:noFill/>
            <a:round/>
            <a:headEnd/>
            <a:tailEnd/>
          </a:ln>
        </p:spPr>
        <p:txBody>
          <a:bodyPr lIns="252000" tIns="64588" rIns="64588" bIns="64588" rtlCol="0" anchor="ctr"/>
          <a:lstStyle/>
          <a:p>
            <a:pPr marL="0" marR="0" lvl="0" indent="0" defTabSz="914400" eaLnBrk="1" fontAlgn="auto" latinLnBrk="0" hangingPunct="1">
              <a:lnSpc>
                <a:spcPct val="102000"/>
              </a:lnSpc>
              <a:spcBef>
                <a:spcPts val="0"/>
              </a:spcBef>
              <a:spcAft>
                <a:spcPct val="37000"/>
              </a:spcAft>
              <a:buClrTx/>
              <a:buSzTx/>
              <a:buFontTx/>
              <a:buNone/>
              <a:tabLst>
                <a:tab pos="5125216" algn="l"/>
              </a:tabLst>
              <a:defRPr/>
            </a:pPr>
            <a:r>
              <a:rPr kumimoji="0" lang="en-US" sz="1800" b="0" i="0" u="none" strike="noStrike" kern="0" cap="none" spc="0" normalizeH="0" baseline="0" noProof="0" dirty="0" smtClean="0">
                <a:ln>
                  <a:noFill/>
                </a:ln>
                <a:solidFill>
                  <a:srgbClr val="FFFFFF"/>
                </a:solidFill>
                <a:effectLst/>
                <a:uLnTx/>
                <a:uFillTx/>
              </a:rPr>
              <a:t>Visibility rule</a:t>
            </a:r>
          </a:p>
          <a:p>
            <a:pPr marL="185738" marR="0" lvl="0" indent="-185738" defTabSz="914400" eaLnBrk="1" fontAlgn="auto" latinLnBrk="0" hangingPunct="1">
              <a:lnSpc>
                <a:spcPct val="102000"/>
              </a:lnSpc>
              <a:spcBef>
                <a:spcPts val="0"/>
              </a:spcBef>
              <a:spcAft>
                <a:spcPct val="37000"/>
              </a:spcAft>
              <a:buClrTx/>
              <a:buSzTx/>
              <a:buFont typeface="Wingdings" pitchFamily="2" charset="2"/>
              <a:buChar char="§"/>
              <a:tabLst>
                <a:tab pos="5125216" algn="l"/>
              </a:tabLst>
              <a:defRPr/>
            </a:pPr>
            <a:r>
              <a:rPr kumimoji="0" lang="en-US" sz="1600" b="0" i="0" u="none" strike="noStrike" kern="0" cap="none" spc="0" normalizeH="0" baseline="0" noProof="0" dirty="0" smtClean="0">
                <a:ln>
                  <a:noFill/>
                </a:ln>
                <a:solidFill>
                  <a:srgbClr val="FFFFFF"/>
                </a:solidFill>
                <a:effectLst/>
                <a:uLnTx/>
                <a:uFillTx/>
              </a:rPr>
              <a:t>See as a team</a:t>
            </a:r>
          </a:p>
          <a:p>
            <a:pPr marL="185738" marR="0" lvl="0" indent="-185738" defTabSz="914400" eaLnBrk="1" fontAlgn="auto" latinLnBrk="0" hangingPunct="1">
              <a:lnSpc>
                <a:spcPct val="102000"/>
              </a:lnSpc>
              <a:spcBef>
                <a:spcPts val="0"/>
              </a:spcBef>
              <a:spcAft>
                <a:spcPct val="37000"/>
              </a:spcAft>
              <a:buClrTx/>
              <a:buSzTx/>
              <a:buFont typeface="Wingdings" pitchFamily="2" charset="2"/>
              <a:buChar char="§"/>
              <a:tabLst>
                <a:tab pos="5125216" algn="l"/>
              </a:tabLst>
              <a:defRPr/>
            </a:pPr>
            <a:r>
              <a:rPr kumimoji="0" lang="en-US" sz="1600" b="0" i="0" u="none" strike="noStrike" kern="0" cap="none" spc="0" normalizeH="0" baseline="0" noProof="0" dirty="0" smtClean="0">
                <a:ln>
                  <a:noFill/>
                </a:ln>
                <a:solidFill>
                  <a:srgbClr val="FFFFFF"/>
                </a:solidFill>
                <a:effectLst/>
                <a:uLnTx/>
                <a:uFillTx/>
              </a:rPr>
              <a:t>Know as a team</a:t>
            </a:r>
          </a:p>
          <a:p>
            <a:pPr marL="185738" marR="0" lvl="0" indent="-185738" defTabSz="914400" eaLnBrk="1" fontAlgn="auto" latinLnBrk="0" hangingPunct="1">
              <a:lnSpc>
                <a:spcPct val="102000"/>
              </a:lnSpc>
              <a:spcBef>
                <a:spcPts val="0"/>
              </a:spcBef>
              <a:spcAft>
                <a:spcPct val="37000"/>
              </a:spcAft>
              <a:buClrTx/>
              <a:buSzTx/>
              <a:buFont typeface="Wingdings" pitchFamily="2" charset="2"/>
              <a:buChar char="§"/>
              <a:tabLst>
                <a:tab pos="5125216" algn="l"/>
              </a:tabLst>
              <a:defRPr/>
            </a:pPr>
            <a:r>
              <a:rPr kumimoji="0" lang="en-US" sz="1600" b="0" i="0" u="none" strike="noStrike" kern="0" cap="none" spc="0" normalizeH="0" baseline="0" noProof="0" dirty="0" smtClean="0">
                <a:ln>
                  <a:noFill/>
                </a:ln>
                <a:solidFill>
                  <a:srgbClr val="FFFFFF"/>
                </a:solidFill>
                <a:effectLst/>
                <a:uLnTx/>
                <a:uFillTx/>
              </a:rPr>
              <a:t>Act as a team</a:t>
            </a:r>
          </a:p>
        </p:txBody>
      </p:sp>
      <p:sp>
        <p:nvSpPr>
          <p:cNvPr id="36" name="Rectangle 35"/>
          <p:cNvSpPr/>
          <p:nvPr/>
        </p:nvSpPr>
        <p:spPr bwMode="auto">
          <a:xfrm>
            <a:off x="361950" y="4731466"/>
            <a:ext cx="4464051" cy="1440185"/>
          </a:xfrm>
          <a:prstGeom prst="rect">
            <a:avLst/>
          </a:prstGeom>
          <a:solidFill>
            <a:srgbClr val="002776"/>
          </a:solidFill>
          <a:ln w="6350" algn="ctr">
            <a:noFill/>
            <a:round/>
            <a:headEnd/>
            <a:tailEnd/>
          </a:ln>
        </p:spPr>
        <p:txBody>
          <a:bodyPr lIns="252000" tIns="64588" rIns="64588" bIns="64588" rtlCol="0" anchor="ctr"/>
          <a:lstStyle/>
          <a:p>
            <a:pPr marL="0" marR="0" lvl="0" indent="0" defTabSz="914400" eaLnBrk="1" fontAlgn="auto" latinLnBrk="0" hangingPunct="1">
              <a:lnSpc>
                <a:spcPct val="102000"/>
              </a:lnSpc>
              <a:spcBef>
                <a:spcPts val="0"/>
              </a:spcBef>
              <a:spcAft>
                <a:spcPct val="37000"/>
              </a:spcAft>
              <a:buClrTx/>
              <a:buSzTx/>
              <a:buFontTx/>
              <a:buNone/>
              <a:tabLst>
                <a:tab pos="5125216" algn="l"/>
              </a:tabLst>
              <a:defRPr/>
            </a:pPr>
            <a:r>
              <a:rPr kumimoji="0" lang="en-US" sz="1800" b="0" i="0" u="none" strike="noStrike" kern="0" cap="none" spc="0" normalizeH="0" baseline="0" noProof="0" dirty="0" smtClean="0">
                <a:ln>
                  <a:noFill/>
                </a:ln>
                <a:solidFill>
                  <a:srgbClr val="FFFFFF"/>
                </a:solidFill>
                <a:effectLst/>
                <a:uLnTx/>
                <a:uFillTx/>
              </a:rPr>
              <a:t>Standardization rule</a:t>
            </a:r>
          </a:p>
          <a:p>
            <a:pPr marL="185738" marR="0" lvl="0" indent="-185738" defTabSz="914400" eaLnBrk="1" fontAlgn="auto" latinLnBrk="0" hangingPunct="1">
              <a:lnSpc>
                <a:spcPct val="102000"/>
              </a:lnSpc>
              <a:spcBef>
                <a:spcPts val="0"/>
              </a:spcBef>
              <a:spcAft>
                <a:spcPct val="37000"/>
              </a:spcAft>
              <a:buClrTx/>
              <a:buSzTx/>
              <a:buFont typeface="Wingdings" pitchFamily="2" charset="2"/>
              <a:buChar char="§"/>
              <a:tabLst>
                <a:tab pos="5125216" algn="l"/>
              </a:tabLst>
              <a:defRPr/>
            </a:pPr>
            <a:r>
              <a:rPr kumimoji="0" lang="en-US" sz="1600" b="0" i="0" u="none" strike="noStrike" kern="0" cap="none" spc="0" normalizeH="0" baseline="0" noProof="0" dirty="0" smtClean="0">
                <a:ln>
                  <a:noFill/>
                </a:ln>
                <a:solidFill>
                  <a:srgbClr val="FFFFFF"/>
                </a:solidFill>
                <a:effectLst/>
                <a:uLnTx/>
                <a:uFillTx/>
              </a:rPr>
              <a:t>There are no problems if there are no standard</a:t>
            </a:r>
          </a:p>
          <a:p>
            <a:pPr marL="185738" marR="0" lvl="0" indent="-185738" defTabSz="914400" eaLnBrk="1" fontAlgn="auto" latinLnBrk="0" hangingPunct="1">
              <a:lnSpc>
                <a:spcPct val="102000"/>
              </a:lnSpc>
              <a:spcBef>
                <a:spcPts val="0"/>
              </a:spcBef>
              <a:spcAft>
                <a:spcPct val="37000"/>
              </a:spcAft>
              <a:buClrTx/>
              <a:buSzTx/>
              <a:buFont typeface="Wingdings" pitchFamily="2" charset="2"/>
              <a:buChar char="§"/>
              <a:tabLst>
                <a:tab pos="5125216" algn="l"/>
              </a:tabLst>
              <a:defRPr/>
            </a:pPr>
            <a:r>
              <a:rPr kumimoji="0" lang="en-US" sz="1600" b="0" i="0" u="none" strike="noStrike" kern="0" cap="none" spc="0" normalizeH="0" baseline="0" noProof="0" dirty="0" smtClean="0">
                <a:ln>
                  <a:noFill/>
                </a:ln>
                <a:solidFill>
                  <a:srgbClr val="FFFFFF"/>
                </a:solidFill>
                <a:effectLst/>
                <a:uLnTx/>
                <a:uFillTx/>
              </a:rPr>
              <a:t>Having standards ≠ Standard work</a:t>
            </a:r>
          </a:p>
        </p:txBody>
      </p:sp>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4006" y="2883212"/>
            <a:ext cx="3959994" cy="3435038"/>
          </a:xfrm>
          <a:prstGeom prst="rect">
            <a:avLst/>
          </a:prstGeom>
        </p:spPr>
      </p:pic>
      <p:sp>
        <p:nvSpPr>
          <p:cNvPr id="2" name="Rectangle 1"/>
          <p:cNvSpPr/>
          <p:nvPr/>
        </p:nvSpPr>
        <p:spPr>
          <a:xfrm>
            <a:off x="433004" y="6286390"/>
            <a:ext cx="4572000" cy="553998"/>
          </a:xfrm>
          <a:prstGeom prst="rect">
            <a:avLst/>
          </a:prstGeom>
        </p:spPr>
        <p:txBody>
          <a:bodyPr>
            <a:spAutoFit/>
          </a:bodyPr>
          <a:lstStyle/>
          <a:p>
            <a:r>
              <a:rPr lang="en-GB" sz="1000" dirty="0" smtClean="0">
                <a:solidFill>
                  <a:schemeClr val="accent1"/>
                </a:solidFill>
              </a:rPr>
              <a:t>Illustration du Lean Manager </a:t>
            </a:r>
            <a:r>
              <a:rPr lang="en-GB" sz="1000" dirty="0" smtClean="0">
                <a:solidFill>
                  <a:schemeClr val="accent1"/>
                </a:solidFill>
                <a:hlinkClick r:id="rId4"/>
              </a:rPr>
              <a:t>https</a:t>
            </a:r>
            <a:r>
              <a:rPr lang="en-GB" sz="1000" dirty="0">
                <a:solidFill>
                  <a:schemeClr val="accent1"/>
                </a:solidFill>
                <a:hlinkClick r:id="rId4"/>
              </a:rPr>
              <a:t>://</a:t>
            </a:r>
            <a:r>
              <a:rPr lang="en-GB" sz="1000" dirty="0" smtClean="0">
                <a:solidFill>
                  <a:schemeClr val="accent1"/>
                </a:solidFill>
                <a:hlinkClick r:id="rId4"/>
              </a:rPr>
              <a:t>www.youtube.com/watch?v=rsUkS2hQ4DA&amp;app=desktop</a:t>
            </a:r>
            <a:endParaRPr lang="en-GB" sz="1000" dirty="0" smtClean="0">
              <a:solidFill>
                <a:schemeClr val="accent1"/>
              </a:solidFill>
            </a:endParaRPr>
          </a:p>
          <a:p>
            <a:endParaRPr lang="en-GB" sz="1000" dirty="0">
              <a:solidFill>
                <a:schemeClr val="accent1"/>
              </a:solidFill>
            </a:endParaRPr>
          </a:p>
        </p:txBody>
      </p:sp>
    </p:spTree>
    <p:extLst>
      <p:ext uri="{BB962C8B-B14F-4D97-AF65-F5344CB8AC3E}">
        <p14:creationId xmlns:p14="http://schemas.microsoft.com/office/powerpoint/2010/main" val="41004708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ChangeArrowheads="1"/>
          </p:cNvSpPr>
          <p:nvPr>
            <p:ph type="title"/>
          </p:nvPr>
        </p:nvSpPr>
        <p:spPr>
          <a:xfrm>
            <a:off x="354013" y="371475"/>
            <a:ext cx="8296275" cy="555625"/>
          </a:xfrm>
        </p:spPr>
        <p:txBody>
          <a:bodyPr/>
          <a:lstStyle/>
          <a:p>
            <a:pPr eaLnBrk="1" hangingPunct="1"/>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5S environment - Application of 5S in Office environments</a:t>
            </a:r>
          </a:p>
        </p:txBody>
      </p:sp>
      <p:sp>
        <p:nvSpPr>
          <p:cNvPr id="14" name="Slide Number Placeholder 4"/>
          <p:cNvSpPr>
            <a:spLocks noGrp="1"/>
          </p:cNvSpPr>
          <p:nvPr>
            <p:ph type="sldNum" sz="quarter" idx="11"/>
          </p:nvPr>
        </p:nvSpPr>
        <p:spPr>
          <a:noFill/>
        </p:spPr>
        <p:txBody>
          <a:bodyPr/>
          <a:lstStyle/>
          <a:p>
            <a:fld id="{D7BA8602-1D36-42F3-9ADD-DC3FBBDDCECF}" type="slidenum">
              <a:rPr lang="en-GB" altLang="en-GB"/>
              <a:pPr/>
              <a:t>32</a:t>
            </a:fld>
            <a:endParaRPr lang="en-GB" altLang="en-GB"/>
          </a:p>
        </p:txBody>
      </p:sp>
      <p:sp>
        <p:nvSpPr>
          <p:cNvPr id="15" name="Text Box 34"/>
          <p:cNvSpPr txBox="1">
            <a:spLocks noChangeArrowheads="1"/>
          </p:cNvSpPr>
          <p:nvPr/>
        </p:nvSpPr>
        <p:spPr bwMode="auto">
          <a:xfrm>
            <a:off x="4770425" y="5480971"/>
            <a:ext cx="3835400" cy="314325"/>
          </a:xfrm>
          <a:prstGeom prst="rect">
            <a:avLst/>
          </a:prstGeom>
          <a:solidFill>
            <a:schemeClr val="accent3"/>
          </a:solidFill>
          <a:ln w="9525">
            <a:noFill/>
            <a:miter lim="800000"/>
            <a:headEnd/>
            <a:tailEnd/>
          </a:ln>
          <a:extLst/>
        </p:spPr>
        <p:txBody>
          <a:bodyPr>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latin typeface="Arial" pitchFamily="34" charset="0"/>
              </a:rPr>
              <a:t>Anzen</a:t>
            </a:r>
          </a:p>
        </p:txBody>
      </p:sp>
      <p:sp>
        <p:nvSpPr>
          <p:cNvPr id="16" name="Oval 36"/>
          <p:cNvSpPr>
            <a:spLocks noChangeAspect="1" noChangeArrowheads="1"/>
          </p:cNvSpPr>
          <p:nvPr/>
        </p:nvSpPr>
        <p:spPr bwMode="gray">
          <a:xfrm>
            <a:off x="4770296" y="1468022"/>
            <a:ext cx="3848100" cy="3848100"/>
          </a:xfrm>
          <a:prstGeom prst="ellipse">
            <a:avLst/>
          </a:prstGeom>
          <a:solidFill>
            <a:schemeClr val="accent3"/>
          </a:solidFill>
          <a:ln w="9525">
            <a:solidFill>
              <a:srgbClr val="000000"/>
            </a:solidFill>
            <a:round/>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17" name="Oval 38"/>
          <p:cNvSpPr>
            <a:spLocks noChangeAspect="1" noChangeArrowheads="1"/>
          </p:cNvSpPr>
          <p:nvPr/>
        </p:nvSpPr>
        <p:spPr bwMode="gray">
          <a:xfrm>
            <a:off x="5213209" y="1909347"/>
            <a:ext cx="2959100" cy="2960688"/>
          </a:xfrm>
          <a:prstGeom prst="ellipse">
            <a:avLst/>
          </a:prstGeom>
          <a:solidFill>
            <a:srgbClr val="FFFFFF"/>
          </a:solidFill>
          <a:ln w="9525">
            <a:solidFill>
              <a:srgbClr val="000000"/>
            </a:solidFill>
            <a:round/>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18" name="Oval 39"/>
          <p:cNvSpPr>
            <a:spLocks noChangeAspect="1" noChangeArrowheads="1"/>
          </p:cNvSpPr>
          <p:nvPr/>
        </p:nvSpPr>
        <p:spPr bwMode="gray">
          <a:xfrm>
            <a:off x="6097446" y="2795172"/>
            <a:ext cx="1182688" cy="1182688"/>
          </a:xfrm>
          <a:prstGeom prst="ellipse">
            <a:avLst/>
          </a:prstGeom>
          <a:solidFill>
            <a:srgbClr val="003399"/>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19" name="Text Box 40"/>
          <p:cNvSpPr txBox="1">
            <a:spLocks noChangeAspect="1" noChangeArrowheads="1"/>
          </p:cNvSpPr>
          <p:nvPr/>
        </p:nvSpPr>
        <p:spPr bwMode="gray">
          <a:xfrm>
            <a:off x="6202221" y="3155535"/>
            <a:ext cx="976313"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itchFamily="34" charset="0"/>
              </a:rPr>
              <a:t>Habit of maintaining established procedures</a:t>
            </a:r>
          </a:p>
        </p:txBody>
      </p:sp>
      <p:sp>
        <p:nvSpPr>
          <p:cNvPr id="20" name="Text Box 41"/>
          <p:cNvSpPr txBox="1">
            <a:spLocks noChangeAspect="1" noChangeArrowheads="1"/>
          </p:cNvSpPr>
          <p:nvPr/>
        </p:nvSpPr>
        <p:spPr bwMode="gray">
          <a:xfrm>
            <a:off x="6875321" y="2255422"/>
            <a:ext cx="941388"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pitchFamily="34" charset="0"/>
              </a:rPr>
              <a:t>Keep items in the correct place to allow easy retrieval</a:t>
            </a:r>
          </a:p>
        </p:txBody>
      </p:sp>
      <p:sp>
        <p:nvSpPr>
          <p:cNvPr id="21" name="Text Box 42"/>
          <p:cNvSpPr txBox="1">
            <a:spLocks noChangeAspect="1" noChangeArrowheads="1"/>
          </p:cNvSpPr>
          <p:nvPr/>
        </p:nvSpPr>
        <p:spPr bwMode="gray">
          <a:xfrm>
            <a:off x="7083284" y="3854507"/>
            <a:ext cx="9779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pitchFamily="34" charset="0"/>
              </a:rPr>
              <a:t>Keep area swept and clean</a:t>
            </a:r>
          </a:p>
        </p:txBody>
      </p:sp>
      <p:sp>
        <p:nvSpPr>
          <p:cNvPr id="22" name="Text Box 43"/>
          <p:cNvSpPr txBox="1">
            <a:spLocks noChangeAspect="1" noChangeArrowheads="1"/>
          </p:cNvSpPr>
          <p:nvPr/>
        </p:nvSpPr>
        <p:spPr bwMode="gray">
          <a:xfrm>
            <a:off x="5633896" y="3865619"/>
            <a:ext cx="97631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Arial" pitchFamily="34" charset="0"/>
              </a:rPr>
              <a:t>Maintain the first three</a:t>
            </a:r>
          </a:p>
        </p:txBody>
      </p:sp>
      <p:sp>
        <p:nvSpPr>
          <p:cNvPr id="23" name="Text Box 44"/>
          <p:cNvSpPr txBox="1">
            <a:spLocks noChangeAspect="1" noChangeArrowheads="1"/>
          </p:cNvSpPr>
          <p:nvPr/>
        </p:nvSpPr>
        <p:spPr bwMode="gray">
          <a:xfrm>
            <a:off x="5564046" y="2257010"/>
            <a:ext cx="1090613"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Arial" pitchFamily="34" charset="0"/>
              </a:rPr>
              <a:t>Separate needed items from unneeded and eliminate the latter</a:t>
            </a:r>
          </a:p>
        </p:txBody>
      </p:sp>
      <p:sp>
        <p:nvSpPr>
          <p:cNvPr id="24" name="Line 49"/>
          <p:cNvSpPr>
            <a:spLocks noChangeAspect="1" noChangeShapeType="1"/>
          </p:cNvSpPr>
          <p:nvPr/>
        </p:nvSpPr>
        <p:spPr bwMode="gray">
          <a:xfrm>
            <a:off x="6691171" y="3974685"/>
            <a:ext cx="0" cy="134143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25" name="Line 50"/>
          <p:cNvSpPr>
            <a:spLocks noChangeAspect="1" noChangeShapeType="1"/>
          </p:cNvSpPr>
          <p:nvPr/>
        </p:nvSpPr>
        <p:spPr bwMode="gray">
          <a:xfrm flipH="1">
            <a:off x="5210034" y="3379372"/>
            <a:ext cx="887413"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26" name="Line 51"/>
          <p:cNvSpPr>
            <a:spLocks noChangeAspect="1" noChangeShapeType="1"/>
          </p:cNvSpPr>
          <p:nvPr/>
        </p:nvSpPr>
        <p:spPr bwMode="gray">
          <a:xfrm>
            <a:off x="7300771" y="3379372"/>
            <a:ext cx="877888"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27" name="Line 57"/>
          <p:cNvSpPr>
            <a:spLocks noChangeAspect="1" noChangeShapeType="1"/>
          </p:cNvSpPr>
          <p:nvPr/>
        </p:nvSpPr>
        <p:spPr bwMode="gray">
          <a:xfrm flipV="1">
            <a:off x="5149709" y="4279485"/>
            <a:ext cx="360363" cy="26352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28" name="Line 58"/>
          <p:cNvSpPr>
            <a:spLocks noChangeAspect="1" noChangeShapeType="1"/>
          </p:cNvSpPr>
          <p:nvPr/>
        </p:nvSpPr>
        <p:spPr bwMode="gray">
          <a:xfrm flipV="1">
            <a:off x="7875446" y="2233197"/>
            <a:ext cx="354013" cy="26352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29" name="Line 59"/>
          <p:cNvSpPr>
            <a:spLocks noChangeAspect="1" noChangeShapeType="1"/>
          </p:cNvSpPr>
          <p:nvPr/>
        </p:nvSpPr>
        <p:spPr bwMode="gray">
          <a:xfrm>
            <a:off x="5152884" y="2239547"/>
            <a:ext cx="355600" cy="2698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30" name="Line 60"/>
          <p:cNvSpPr>
            <a:spLocks noChangeAspect="1" noChangeShapeType="1"/>
          </p:cNvSpPr>
          <p:nvPr/>
        </p:nvSpPr>
        <p:spPr bwMode="gray">
          <a:xfrm>
            <a:off x="7878621" y="4282660"/>
            <a:ext cx="354013" cy="2571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31" name="Text Box 62"/>
          <p:cNvSpPr txBox="1">
            <a:spLocks noChangeAspect="1" noChangeArrowheads="1"/>
          </p:cNvSpPr>
          <p:nvPr/>
        </p:nvSpPr>
        <p:spPr bwMode="gray">
          <a:xfrm>
            <a:off x="6013247" y="2014894"/>
            <a:ext cx="54146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Arial" pitchFamily="34" charset="0"/>
              </a:rPr>
              <a:t>Seiri</a:t>
            </a:r>
            <a:endParaRPr kumimoji="0" lang="en-US" sz="1200" b="0" i="0" u="none" strike="noStrike" kern="0" cap="none" spc="0" normalizeH="0" baseline="0" noProof="0" dirty="0">
              <a:ln>
                <a:noFill/>
              </a:ln>
              <a:solidFill>
                <a:srgbClr val="000000"/>
              </a:solidFill>
              <a:effectLst/>
              <a:uLnTx/>
              <a:uFillTx/>
              <a:latin typeface="Arial" pitchFamily="34" charset="0"/>
            </a:endParaRPr>
          </a:p>
        </p:txBody>
      </p:sp>
      <p:sp>
        <p:nvSpPr>
          <p:cNvPr id="32" name="Text Box 63"/>
          <p:cNvSpPr txBox="1">
            <a:spLocks noChangeAspect="1" noChangeArrowheads="1"/>
          </p:cNvSpPr>
          <p:nvPr/>
        </p:nvSpPr>
        <p:spPr bwMode="gray">
          <a:xfrm>
            <a:off x="6828577" y="2013714"/>
            <a:ext cx="6586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dirty="0" err="1" smtClean="0">
                <a:ln>
                  <a:noFill/>
                </a:ln>
                <a:solidFill>
                  <a:srgbClr val="000000"/>
                </a:solidFill>
                <a:effectLst/>
                <a:uLnTx/>
                <a:uFillTx/>
                <a:latin typeface="Arial" pitchFamily="34" charset="0"/>
              </a:rPr>
              <a:t>Seiton</a:t>
            </a:r>
            <a:endParaRPr kumimoji="0" lang="en-US" sz="1200" b="0" i="0" u="none" strike="noStrike" kern="0" cap="none" spc="0" normalizeH="0" baseline="0" noProof="0" dirty="0">
              <a:ln>
                <a:noFill/>
              </a:ln>
              <a:solidFill>
                <a:srgbClr val="000000"/>
              </a:solidFill>
              <a:effectLst/>
              <a:uLnTx/>
              <a:uFillTx/>
              <a:latin typeface="Arial" pitchFamily="34" charset="0"/>
            </a:endParaRPr>
          </a:p>
        </p:txBody>
      </p:sp>
      <p:sp>
        <p:nvSpPr>
          <p:cNvPr id="33" name="Text Box 64"/>
          <p:cNvSpPr txBox="1">
            <a:spLocks noChangeAspect="1" noChangeArrowheads="1"/>
          </p:cNvSpPr>
          <p:nvPr/>
        </p:nvSpPr>
        <p:spPr bwMode="gray">
          <a:xfrm>
            <a:off x="6915009" y="4311235"/>
            <a:ext cx="6667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Arial" pitchFamily="34" charset="0"/>
              </a:rPr>
              <a:t>Sieso</a:t>
            </a:r>
            <a:endParaRPr kumimoji="0" lang="en-US" sz="1200" b="0" i="0" u="none" strike="noStrike" kern="0" cap="none" spc="0" normalizeH="0" baseline="0" noProof="0" dirty="0">
              <a:ln>
                <a:noFill/>
              </a:ln>
              <a:solidFill>
                <a:srgbClr val="000000"/>
              </a:solidFill>
              <a:effectLst/>
              <a:uLnTx/>
              <a:uFillTx/>
              <a:latin typeface="Arial" pitchFamily="34" charset="0"/>
            </a:endParaRPr>
          </a:p>
        </p:txBody>
      </p:sp>
      <p:sp>
        <p:nvSpPr>
          <p:cNvPr id="34" name="Text Box 65"/>
          <p:cNvSpPr txBox="1">
            <a:spLocks noChangeAspect="1" noChangeArrowheads="1"/>
          </p:cNvSpPr>
          <p:nvPr/>
        </p:nvSpPr>
        <p:spPr bwMode="gray">
          <a:xfrm>
            <a:off x="5650180" y="4300122"/>
            <a:ext cx="91358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Arial" pitchFamily="34" charset="0"/>
              </a:rPr>
              <a:t>Sieketsu</a:t>
            </a:r>
            <a:endParaRPr kumimoji="0" lang="en-US" sz="1200" b="0" i="0" u="none" strike="noStrike" kern="0" cap="none" spc="0" normalizeH="0" baseline="0" noProof="0" dirty="0">
              <a:ln>
                <a:noFill/>
              </a:ln>
              <a:solidFill>
                <a:srgbClr val="000000"/>
              </a:solidFill>
              <a:effectLst/>
              <a:uLnTx/>
              <a:uFillTx/>
              <a:latin typeface="Arial" pitchFamily="34" charset="0"/>
            </a:endParaRPr>
          </a:p>
        </p:txBody>
      </p:sp>
      <p:sp>
        <p:nvSpPr>
          <p:cNvPr id="35" name="Text Box 66"/>
          <p:cNvSpPr txBox="1">
            <a:spLocks noChangeAspect="1" noChangeArrowheads="1"/>
          </p:cNvSpPr>
          <p:nvPr/>
        </p:nvSpPr>
        <p:spPr bwMode="gray">
          <a:xfrm>
            <a:off x="6165709" y="2953922"/>
            <a:ext cx="10509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itchFamily="34" charset="0"/>
              </a:rPr>
              <a:t>Shitsuke</a:t>
            </a:r>
            <a:endParaRPr kumimoji="0" lang="en-US" sz="1200" b="0" i="0" u="none" strike="noStrike" kern="0" cap="none" spc="0" normalizeH="0" baseline="0" noProof="0">
              <a:ln>
                <a:noFill/>
              </a:ln>
              <a:solidFill>
                <a:srgbClr val="FFFFFF"/>
              </a:solidFill>
              <a:effectLst/>
              <a:uLnTx/>
              <a:uFillTx/>
              <a:latin typeface="Arial" pitchFamily="34" charset="0"/>
            </a:endParaRPr>
          </a:p>
        </p:txBody>
      </p:sp>
      <p:sp>
        <p:nvSpPr>
          <p:cNvPr id="36" name="AutoShape 47"/>
          <p:cNvSpPr>
            <a:spLocks noChangeAspect="1" noChangeArrowheads="1"/>
          </p:cNvSpPr>
          <p:nvPr/>
        </p:nvSpPr>
        <p:spPr bwMode="gray">
          <a:xfrm rot="5400000" flipH="1">
            <a:off x="5533884" y="3261897"/>
            <a:ext cx="322263" cy="222250"/>
          </a:xfrm>
          <a:prstGeom prst="rightArrow">
            <a:avLst>
              <a:gd name="adj1" fmla="val 50000"/>
              <a:gd name="adj2" fmla="val 36250"/>
            </a:avLst>
          </a:prstGeom>
          <a:solidFill>
            <a:srgbClr val="FFFFFF">
              <a:lumMod val="50000"/>
            </a:srgbClr>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37" name="AutoShape 48"/>
          <p:cNvSpPr>
            <a:spLocks noChangeAspect="1" noChangeArrowheads="1"/>
          </p:cNvSpPr>
          <p:nvPr/>
        </p:nvSpPr>
        <p:spPr bwMode="gray">
          <a:xfrm rot="16200000" flipH="1" flipV="1">
            <a:off x="7540484" y="3260310"/>
            <a:ext cx="322263" cy="223838"/>
          </a:xfrm>
          <a:prstGeom prst="rightArrow">
            <a:avLst>
              <a:gd name="adj1" fmla="val 50000"/>
              <a:gd name="adj2" fmla="val 35993"/>
            </a:avLst>
          </a:prstGeom>
          <a:solidFill>
            <a:srgbClr val="FFFFFF">
              <a:lumMod val="50000"/>
            </a:srgbClr>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38" name="AutoShape 46"/>
          <p:cNvSpPr>
            <a:spLocks noChangeAspect="1" noChangeArrowheads="1"/>
          </p:cNvSpPr>
          <p:nvPr/>
        </p:nvSpPr>
        <p:spPr bwMode="gray">
          <a:xfrm flipH="1">
            <a:off x="6532421" y="4319172"/>
            <a:ext cx="320675" cy="223838"/>
          </a:xfrm>
          <a:prstGeom prst="rightArrow">
            <a:avLst>
              <a:gd name="adj1" fmla="val 50000"/>
              <a:gd name="adj2" fmla="val 35816"/>
            </a:avLst>
          </a:prstGeom>
          <a:solidFill>
            <a:srgbClr val="FFFFFF">
              <a:lumMod val="50000"/>
            </a:srgbClr>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39" name="Line 37"/>
          <p:cNvSpPr>
            <a:spLocks noChangeAspect="1" noChangeShapeType="1"/>
          </p:cNvSpPr>
          <p:nvPr/>
        </p:nvSpPr>
        <p:spPr bwMode="gray">
          <a:xfrm>
            <a:off x="6691171" y="1468022"/>
            <a:ext cx="0" cy="132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40" name="AutoShape 45"/>
          <p:cNvSpPr>
            <a:spLocks noChangeAspect="1" noChangeArrowheads="1"/>
          </p:cNvSpPr>
          <p:nvPr/>
        </p:nvSpPr>
        <p:spPr bwMode="gray">
          <a:xfrm>
            <a:off x="6553059" y="2295110"/>
            <a:ext cx="322263" cy="222250"/>
          </a:xfrm>
          <a:prstGeom prst="rightArrow">
            <a:avLst>
              <a:gd name="adj1" fmla="val 50000"/>
              <a:gd name="adj2" fmla="val 36250"/>
            </a:avLst>
          </a:prstGeom>
          <a:solidFill>
            <a:srgbClr val="FFFFFF">
              <a:lumMod val="50000"/>
            </a:srgbClr>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000000"/>
              </a:solidFill>
              <a:effectLst/>
              <a:uLnTx/>
              <a:uFillTx/>
            </a:endParaRPr>
          </a:p>
        </p:txBody>
      </p:sp>
      <p:sp>
        <p:nvSpPr>
          <p:cNvPr id="41" name="Text Box 52"/>
          <p:cNvSpPr txBox="1">
            <a:spLocks noChangeAspect="1" noChangeArrowheads="1"/>
          </p:cNvSpPr>
          <p:nvPr/>
        </p:nvSpPr>
        <p:spPr bwMode="gray">
          <a:xfrm rot="5400000">
            <a:off x="6818484" y="2745799"/>
            <a:ext cx="1921400" cy="1290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ArchUp">
              <a:avLst/>
            </a:prstTxWarp>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i="0" u="none" strike="noStrike" kern="0" cap="none" spc="0" normalizeH="0" baseline="0" noProof="0" dirty="0">
                <a:ln>
                  <a:noFill/>
                </a:ln>
                <a:solidFill>
                  <a:schemeClr val="bg1"/>
                </a:solidFill>
                <a:effectLst/>
                <a:uLnTx/>
                <a:uFillTx/>
                <a:latin typeface="Arial" pitchFamily="34" charset="0"/>
              </a:rPr>
              <a:t>Lower Costs</a:t>
            </a:r>
          </a:p>
        </p:txBody>
      </p:sp>
      <p:sp>
        <p:nvSpPr>
          <p:cNvPr id="42" name="Text Box 53"/>
          <p:cNvSpPr txBox="1">
            <a:spLocks noChangeAspect="1" noChangeArrowheads="1"/>
          </p:cNvSpPr>
          <p:nvPr/>
        </p:nvSpPr>
        <p:spPr bwMode="gray">
          <a:xfrm rot="1537902">
            <a:off x="6374318" y="1754034"/>
            <a:ext cx="1652648" cy="128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ArchUp">
              <a:avLst/>
            </a:prstTxWarp>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i="0" u="none" strike="noStrike" kern="0" cap="none" spc="0" normalizeH="0" baseline="0" noProof="0" dirty="0">
                <a:ln>
                  <a:noFill/>
                </a:ln>
                <a:solidFill>
                  <a:schemeClr val="bg1"/>
                </a:solidFill>
                <a:effectLst/>
                <a:uLnTx/>
                <a:uFillTx/>
                <a:latin typeface="Arial" pitchFamily="34" charset="0"/>
              </a:rPr>
              <a:t>Higher Quality</a:t>
            </a:r>
          </a:p>
        </p:txBody>
      </p:sp>
      <p:sp>
        <p:nvSpPr>
          <p:cNvPr id="43" name="Text Box 54"/>
          <p:cNvSpPr txBox="1">
            <a:spLocks noChangeAspect="1" noChangeArrowheads="1"/>
          </p:cNvSpPr>
          <p:nvPr/>
        </p:nvSpPr>
        <p:spPr bwMode="gray">
          <a:xfrm rot="19927963">
            <a:off x="5138768" y="1790990"/>
            <a:ext cx="2127698" cy="1163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ArchUp">
              <a:avLst/>
            </a:prstTxWarp>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i="0" u="none" strike="noStrike" kern="0" cap="none" spc="0" normalizeH="0" baseline="0" noProof="0" dirty="0">
                <a:ln>
                  <a:noFill/>
                </a:ln>
                <a:solidFill>
                  <a:schemeClr val="bg1"/>
                </a:solidFill>
                <a:effectLst/>
                <a:uLnTx/>
                <a:uFillTx/>
                <a:latin typeface="Arial" pitchFamily="34" charset="0"/>
              </a:rPr>
              <a:t>Product Diversification</a:t>
            </a:r>
          </a:p>
        </p:txBody>
      </p:sp>
      <p:sp>
        <p:nvSpPr>
          <p:cNvPr id="44" name="Text Box 55"/>
          <p:cNvSpPr txBox="1">
            <a:spLocks noChangeAspect="1" noChangeArrowheads="1"/>
          </p:cNvSpPr>
          <p:nvPr/>
        </p:nvSpPr>
        <p:spPr bwMode="gray">
          <a:xfrm rot="16200000">
            <a:off x="4717689" y="2266820"/>
            <a:ext cx="2794252" cy="2237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ArchUp">
              <a:avLst>
                <a:gd name="adj" fmla="val 10757259"/>
              </a:avLst>
            </a:prstTxWarp>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i="0" u="none" strike="noStrike" kern="0" cap="none" spc="0" normalizeH="0" baseline="0" noProof="0" dirty="0">
                <a:ln>
                  <a:noFill/>
                </a:ln>
                <a:solidFill>
                  <a:schemeClr val="bg1"/>
                </a:solidFill>
                <a:effectLst/>
                <a:uLnTx/>
                <a:uFillTx/>
                <a:latin typeface="Arial" pitchFamily="34" charset="0"/>
              </a:rPr>
              <a:t>Higher Availability Rate</a:t>
            </a:r>
          </a:p>
        </p:txBody>
      </p:sp>
      <p:sp>
        <p:nvSpPr>
          <p:cNvPr id="45" name="Text Box 56"/>
          <p:cNvSpPr txBox="1">
            <a:spLocks noChangeAspect="1" noChangeArrowheads="1"/>
          </p:cNvSpPr>
          <p:nvPr/>
        </p:nvSpPr>
        <p:spPr bwMode="gray">
          <a:xfrm rot="1663293">
            <a:off x="5293470" y="3647266"/>
            <a:ext cx="1918596" cy="134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ArchDown">
              <a:avLst/>
            </a:prstTxWarp>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i="0" u="none" strike="noStrike" kern="0" cap="none" spc="0" normalizeH="0" baseline="0" noProof="0" dirty="0">
                <a:ln>
                  <a:noFill/>
                </a:ln>
                <a:solidFill>
                  <a:schemeClr val="bg1"/>
                </a:solidFill>
                <a:effectLst/>
                <a:uLnTx/>
                <a:uFillTx/>
                <a:latin typeface="Arial" pitchFamily="34" charset="0"/>
              </a:rPr>
              <a:t>Improved Safety</a:t>
            </a:r>
          </a:p>
        </p:txBody>
      </p:sp>
      <p:sp>
        <p:nvSpPr>
          <p:cNvPr id="46" name="Text Box 61"/>
          <p:cNvSpPr txBox="1">
            <a:spLocks noChangeAspect="1" noChangeArrowheads="1"/>
          </p:cNvSpPr>
          <p:nvPr/>
        </p:nvSpPr>
        <p:spPr bwMode="gray">
          <a:xfrm rot="19981330">
            <a:off x="6390658" y="3987113"/>
            <a:ext cx="1728788" cy="99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ArchDown">
              <a:avLst>
                <a:gd name="adj" fmla="val 21294814"/>
              </a:avLst>
            </a:prstTxWarp>
            <a:spAutoFit/>
          </a:bodyP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000" i="0" u="none" strike="noStrike" kern="0" cap="none" spc="0" normalizeH="0" baseline="0" noProof="0" dirty="0">
                <a:ln>
                  <a:noFill/>
                </a:ln>
                <a:solidFill>
                  <a:schemeClr val="bg1"/>
                </a:solidFill>
                <a:effectLst/>
                <a:uLnTx/>
                <a:uFillTx/>
                <a:latin typeface="Arial" pitchFamily="34" charset="0"/>
              </a:rPr>
              <a:t>Reliable Deliveries</a:t>
            </a:r>
          </a:p>
        </p:txBody>
      </p:sp>
      <p:graphicFrame>
        <p:nvGraphicFramePr>
          <p:cNvPr id="47" name="Group 3"/>
          <p:cNvGraphicFramePr>
            <a:graphicFrameLocks/>
          </p:cNvGraphicFramePr>
          <p:nvPr>
            <p:extLst>
              <p:ext uri="{D42A27DB-BD31-4B8C-83A1-F6EECF244321}">
                <p14:modId xmlns:p14="http://schemas.microsoft.com/office/powerpoint/2010/main" val="1631842355"/>
              </p:ext>
            </p:extLst>
          </p:nvPr>
        </p:nvGraphicFramePr>
        <p:xfrm>
          <a:off x="407406" y="1430787"/>
          <a:ext cx="4156547" cy="4251624"/>
        </p:xfrm>
        <a:graphic>
          <a:graphicData uri="http://schemas.openxmlformats.org/drawingml/2006/table">
            <a:tbl>
              <a:tblPr/>
              <a:tblGrid>
                <a:gridCol w="990600"/>
                <a:gridCol w="1083650"/>
                <a:gridCol w="2082297"/>
              </a:tblGrid>
              <a:tr h="70860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err="1" smtClean="0">
                          <a:ln>
                            <a:noFill/>
                          </a:ln>
                          <a:solidFill>
                            <a:schemeClr val="accent1"/>
                          </a:solidFill>
                          <a:effectLst/>
                          <a:latin typeface="Arial" pitchFamily="34" charset="0"/>
                        </a:rPr>
                        <a:t>Seiri</a:t>
                      </a:r>
                      <a:endParaRPr kumimoji="0" lang="en-US" sz="1400" b="1" i="0" u="none" strike="noStrike" cap="none" normalizeH="0" baseline="0" dirty="0" smtClean="0">
                        <a:ln>
                          <a:noFill/>
                        </a:ln>
                        <a:solidFill>
                          <a:schemeClr val="accent1"/>
                        </a:solidFill>
                        <a:effectLst/>
                        <a:latin typeface="Arial" pitchFamily="34" charset="0"/>
                      </a:endParaRPr>
                    </a:p>
                  </a:txBody>
                  <a:tcPr marL="36000" marR="36000" anchor="ctr" anchorCtr="1"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smtClean="0">
                          <a:ln>
                            <a:noFill/>
                          </a:ln>
                          <a:solidFill>
                            <a:schemeClr val="accent1"/>
                          </a:solidFill>
                          <a:effectLst/>
                          <a:latin typeface="Arial" pitchFamily="34" charset="0"/>
                        </a:rPr>
                        <a:t>Sorting</a:t>
                      </a:r>
                    </a:p>
                  </a:txBody>
                  <a:tcPr marL="36000" marR="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b="0" i="0" u="none" strike="noStrike" cap="none" normalizeH="0" baseline="0" dirty="0" smtClean="0">
                          <a:ln>
                            <a:noFill/>
                          </a:ln>
                          <a:solidFill>
                            <a:schemeClr val="accent1"/>
                          </a:solidFill>
                          <a:effectLst/>
                          <a:latin typeface="Arial" pitchFamily="34" charset="0"/>
                        </a:rPr>
                        <a:t>Determine necessary and unnecessary. Remove unnecessary</a:t>
                      </a:r>
                    </a:p>
                  </a:txBody>
                  <a:tcPr marL="45720" marR="4572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r>
              <a:tr h="70860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err="1" smtClean="0">
                          <a:ln>
                            <a:noFill/>
                          </a:ln>
                          <a:solidFill>
                            <a:schemeClr val="accent1"/>
                          </a:solidFill>
                          <a:effectLst/>
                          <a:latin typeface="Arial" pitchFamily="34" charset="0"/>
                        </a:rPr>
                        <a:t>Seiton</a:t>
                      </a:r>
                      <a:endParaRPr kumimoji="0" lang="en-US" sz="1400" b="1" i="0" u="none" strike="noStrike" cap="none" normalizeH="0" baseline="0" dirty="0" smtClean="0">
                        <a:ln>
                          <a:noFill/>
                        </a:ln>
                        <a:solidFill>
                          <a:schemeClr val="accent1"/>
                        </a:solidFill>
                        <a:effectLst/>
                        <a:latin typeface="Arial" pitchFamily="34" charset="0"/>
                      </a:endParaRPr>
                    </a:p>
                  </a:txBody>
                  <a:tcPr marL="36000" marR="36000" anchor="ctr" anchorCtr="1"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smtClean="0">
                          <a:ln>
                            <a:noFill/>
                          </a:ln>
                          <a:solidFill>
                            <a:schemeClr val="accent1"/>
                          </a:solidFill>
                          <a:effectLst/>
                          <a:latin typeface="Arial" pitchFamily="34" charset="0"/>
                        </a:rPr>
                        <a:t>Straighten</a:t>
                      </a:r>
                    </a:p>
                  </a:txBody>
                  <a:tcPr marL="36000" marR="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b="0" i="0" u="none" strike="noStrike" cap="none" normalizeH="0" baseline="0" dirty="0" smtClean="0">
                          <a:ln>
                            <a:noFill/>
                          </a:ln>
                          <a:solidFill>
                            <a:schemeClr val="accent1"/>
                          </a:solidFill>
                          <a:effectLst/>
                          <a:latin typeface="Arial" pitchFamily="34" charset="0"/>
                        </a:rPr>
                        <a:t>Keep needed items in one place to allow easy retrieval at the point of use</a:t>
                      </a:r>
                    </a:p>
                  </a:txBody>
                  <a:tcPr marL="45720" marR="4572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r>
              <a:tr h="70860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err="1" smtClean="0">
                          <a:ln>
                            <a:noFill/>
                          </a:ln>
                          <a:solidFill>
                            <a:schemeClr val="accent1"/>
                          </a:solidFill>
                          <a:effectLst/>
                          <a:latin typeface="Arial" pitchFamily="34" charset="0"/>
                        </a:rPr>
                        <a:t>Seiso</a:t>
                      </a:r>
                      <a:endParaRPr kumimoji="0" lang="en-US" sz="1400" b="1" i="0" u="none" strike="noStrike" cap="none" normalizeH="0" baseline="0" dirty="0" smtClean="0">
                        <a:ln>
                          <a:noFill/>
                        </a:ln>
                        <a:solidFill>
                          <a:schemeClr val="accent1"/>
                        </a:solidFill>
                        <a:effectLst/>
                        <a:latin typeface="Arial" pitchFamily="34" charset="0"/>
                      </a:endParaRPr>
                    </a:p>
                  </a:txBody>
                  <a:tcPr marL="36000" marR="36000" anchor="ctr" anchorCtr="1"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smtClean="0">
                          <a:ln>
                            <a:noFill/>
                          </a:ln>
                          <a:solidFill>
                            <a:schemeClr val="accent1"/>
                          </a:solidFill>
                          <a:effectLst/>
                          <a:latin typeface="Arial" pitchFamily="34" charset="0"/>
                        </a:rPr>
                        <a:t>Shine</a:t>
                      </a:r>
                    </a:p>
                  </a:txBody>
                  <a:tcPr marL="36000" marR="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200" b="0" i="0" u="none" strike="noStrike" cap="none" normalizeH="0" baseline="0" dirty="0" smtClean="0">
                          <a:ln>
                            <a:noFill/>
                          </a:ln>
                          <a:solidFill>
                            <a:schemeClr val="accent1"/>
                          </a:solidFill>
                          <a:effectLst/>
                          <a:latin typeface="Arial" pitchFamily="34" charset="0"/>
                        </a:rPr>
                        <a:t>Sweep and clean the work area</a:t>
                      </a:r>
                    </a:p>
                  </a:txBody>
                  <a:tcPr marL="45720" marR="4572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r>
              <a:tr h="70860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err="1" smtClean="0">
                          <a:ln>
                            <a:noFill/>
                          </a:ln>
                          <a:solidFill>
                            <a:schemeClr val="accent1"/>
                          </a:solidFill>
                          <a:effectLst/>
                          <a:latin typeface="Arial" pitchFamily="34" charset="0"/>
                        </a:rPr>
                        <a:t>Seiketsu</a:t>
                      </a:r>
                      <a:endParaRPr kumimoji="0" lang="en-US" sz="1400" b="1" i="0" u="none" strike="noStrike" cap="none" normalizeH="0" baseline="0" dirty="0" smtClean="0">
                        <a:ln>
                          <a:noFill/>
                        </a:ln>
                        <a:solidFill>
                          <a:schemeClr val="accent1"/>
                        </a:solidFill>
                        <a:effectLst/>
                        <a:latin typeface="Arial" pitchFamily="34" charset="0"/>
                      </a:endParaRPr>
                    </a:p>
                  </a:txBody>
                  <a:tcPr marL="36000" marR="36000" anchor="ctr" anchorCtr="1"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smtClean="0">
                          <a:ln>
                            <a:noFill/>
                          </a:ln>
                          <a:solidFill>
                            <a:schemeClr val="accent1"/>
                          </a:solidFill>
                          <a:effectLst/>
                          <a:latin typeface="Arial" pitchFamily="34" charset="0"/>
                        </a:rPr>
                        <a:t>Standardize</a:t>
                      </a:r>
                    </a:p>
                  </a:txBody>
                  <a:tcPr marL="36000" marR="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accent1"/>
                          </a:solidFill>
                          <a:effectLst/>
                          <a:latin typeface="Arial" pitchFamily="34" charset="0"/>
                        </a:rPr>
                        <a:t>Hold the gains of the first three while preparing for the next improvement</a:t>
                      </a:r>
                    </a:p>
                  </a:txBody>
                  <a:tcPr marL="45720" marR="4572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r>
              <a:tr h="70860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err="1" smtClean="0">
                          <a:ln>
                            <a:noFill/>
                          </a:ln>
                          <a:solidFill>
                            <a:schemeClr val="accent1"/>
                          </a:solidFill>
                          <a:effectLst/>
                          <a:latin typeface="Arial" pitchFamily="34" charset="0"/>
                        </a:rPr>
                        <a:t>Shitsuke</a:t>
                      </a:r>
                      <a:endParaRPr kumimoji="0" lang="en-US" sz="1400" b="1" i="0" u="none" strike="noStrike" cap="none" normalizeH="0" baseline="0" dirty="0" smtClean="0">
                        <a:ln>
                          <a:noFill/>
                        </a:ln>
                        <a:solidFill>
                          <a:schemeClr val="accent1"/>
                        </a:solidFill>
                        <a:effectLst/>
                        <a:latin typeface="Arial" pitchFamily="34" charset="0"/>
                      </a:endParaRPr>
                    </a:p>
                  </a:txBody>
                  <a:tcPr marL="36000" marR="36000" anchor="ctr" anchorCtr="1"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smtClean="0">
                          <a:ln>
                            <a:noFill/>
                          </a:ln>
                          <a:solidFill>
                            <a:schemeClr val="accent1"/>
                          </a:solidFill>
                          <a:effectLst/>
                          <a:latin typeface="Arial" pitchFamily="34" charset="0"/>
                        </a:rPr>
                        <a:t>Sustain</a:t>
                      </a:r>
                    </a:p>
                  </a:txBody>
                  <a:tcPr marL="36000" marR="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accent1"/>
                          </a:solidFill>
                          <a:effectLst/>
                          <a:latin typeface="Arial" pitchFamily="34" charset="0"/>
                        </a:rPr>
                        <a:t>Make a habit of maintaining </a:t>
                      </a:r>
                      <a:br>
                        <a:rPr kumimoji="0" lang="en-US" sz="1200" b="0" i="0" u="none" strike="noStrike" cap="none" normalizeH="0" baseline="0" dirty="0" smtClean="0">
                          <a:ln>
                            <a:noFill/>
                          </a:ln>
                          <a:solidFill>
                            <a:schemeClr val="accent1"/>
                          </a:solidFill>
                          <a:effectLst/>
                          <a:latin typeface="Arial" pitchFamily="34" charset="0"/>
                        </a:rPr>
                      </a:br>
                      <a:r>
                        <a:rPr kumimoji="0" lang="en-US" sz="1200" b="0" i="0" u="none" strike="noStrike" cap="none" normalizeH="0" baseline="0" dirty="0" smtClean="0">
                          <a:ln>
                            <a:noFill/>
                          </a:ln>
                          <a:solidFill>
                            <a:schemeClr val="accent1"/>
                          </a:solidFill>
                          <a:effectLst/>
                          <a:latin typeface="Arial" pitchFamily="34" charset="0"/>
                        </a:rPr>
                        <a:t>established procedures</a:t>
                      </a:r>
                    </a:p>
                  </a:txBody>
                  <a:tcPr marL="45720" marR="4572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solidFill>
                        <a:srgbClr val="003399"/>
                      </a:solidFill>
                      <a:prstDash val="solid"/>
                      <a:round/>
                      <a:headEnd type="none" w="med" len="med"/>
                      <a:tailEnd type="none" w="med" len="med"/>
                    </a:lnB>
                    <a:lnTlToBr>
                      <a:noFill/>
                    </a:lnTlToBr>
                    <a:lnBlToTr>
                      <a:noFill/>
                    </a:lnBlToTr>
                    <a:noFill/>
                  </a:tcPr>
                </a:tc>
              </a:tr>
              <a:tr h="70860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err="1" smtClean="0">
                          <a:ln>
                            <a:noFill/>
                          </a:ln>
                          <a:solidFill>
                            <a:schemeClr val="accent1"/>
                          </a:solidFill>
                          <a:effectLst/>
                          <a:latin typeface="Arial" pitchFamily="34" charset="0"/>
                        </a:rPr>
                        <a:t>Anzen</a:t>
                      </a:r>
                      <a:endParaRPr kumimoji="0" lang="en-US" sz="1400" b="1" i="0" u="none" strike="noStrike" cap="none" normalizeH="0" baseline="0" dirty="0" smtClean="0">
                        <a:ln>
                          <a:noFill/>
                        </a:ln>
                        <a:solidFill>
                          <a:schemeClr val="accent1"/>
                        </a:solidFill>
                        <a:effectLst/>
                        <a:latin typeface="Arial" pitchFamily="34" charset="0"/>
                      </a:endParaRPr>
                    </a:p>
                  </a:txBody>
                  <a:tcPr marL="36000" marR="36000" anchor="ctr" anchorCtr="1"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
                          <a:srgbClr val="254397"/>
                        </a:buClr>
                        <a:buSzTx/>
                        <a:buFont typeface="Wingdings" pitchFamily="2" charset="2"/>
                        <a:buNone/>
                        <a:tabLst/>
                      </a:pPr>
                      <a:r>
                        <a:rPr kumimoji="0" lang="en-US" sz="1400" b="1" i="0" u="none" strike="noStrike" cap="none" normalizeH="0" baseline="0" dirty="0" smtClean="0">
                          <a:ln>
                            <a:noFill/>
                          </a:ln>
                          <a:solidFill>
                            <a:schemeClr val="accent1"/>
                          </a:solidFill>
                          <a:effectLst/>
                          <a:latin typeface="Arial" pitchFamily="34" charset="0"/>
                        </a:rPr>
                        <a:t>Safety</a:t>
                      </a:r>
                    </a:p>
                  </a:txBody>
                  <a:tcPr marL="36000" marR="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dirty="0" smtClean="0">
                          <a:ln>
                            <a:noFill/>
                          </a:ln>
                          <a:solidFill>
                            <a:schemeClr val="accent1"/>
                          </a:solidFill>
                          <a:effectLst/>
                          <a:latin typeface="Arial" pitchFamily="34" charset="0"/>
                        </a:rPr>
                        <a:t>Identify dangerous and hazardous conditions</a:t>
                      </a:r>
                    </a:p>
                  </a:txBody>
                  <a:tcPr marL="45720" marR="4572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3399"/>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3178790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 name="Rectangle 2"/>
          <p:cNvSpPr txBox="1">
            <a:spLocks noChangeArrowheads="1"/>
          </p:cNvSpPr>
          <p:nvPr/>
        </p:nvSpPr>
        <p:spPr bwMode="auto">
          <a:xfrm>
            <a:off x="377825" y="358776"/>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a:lnSpc>
                <a:spcPts val="2600"/>
              </a:lnSpc>
            </a:pPr>
            <a:r>
              <a:rPr lang="en-US" sz="2400" b="0" kern="0" dirty="0" smtClean="0">
                <a:solidFill>
                  <a:srgbClr val="000066"/>
                </a:solidFill>
                <a:latin typeface="Arial"/>
                <a:ea typeface="+mj-ea"/>
                <a:cs typeface="+mj-cs"/>
              </a:rPr>
              <a:t>Exercise</a:t>
            </a:r>
          </a:p>
          <a:p>
            <a:pPr>
              <a:lnSpc>
                <a:spcPts val="2600"/>
              </a:lnSpc>
            </a:pPr>
            <a:r>
              <a:rPr lang="en-US" dirty="0" smtClean="0">
                <a:solidFill>
                  <a:srgbClr val="99CC33"/>
                </a:solidFill>
                <a:latin typeface="+mj-lt"/>
                <a:ea typeface="+mj-ea"/>
              </a:rPr>
              <a:t>5S Game</a:t>
            </a:r>
          </a:p>
        </p:txBody>
      </p:sp>
      <p:sp>
        <p:nvSpPr>
          <p:cNvPr id="18" name="Rectangle 5"/>
          <p:cNvSpPr>
            <a:spLocks noChangeArrowheads="1"/>
          </p:cNvSpPr>
          <p:nvPr/>
        </p:nvSpPr>
        <p:spPr bwMode="auto">
          <a:xfrm>
            <a:off x="377825" y="2707519"/>
            <a:ext cx="2765425" cy="709612"/>
          </a:xfrm>
          <a:prstGeom prst="rect">
            <a:avLst/>
          </a:prstGeom>
          <a:noFill/>
          <a:ln w="12700">
            <a:noFill/>
            <a:miter lim="800000"/>
            <a:headEnd/>
            <a:tailEnd/>
          </a:ln>
        </p:spPr>
        <p:txBody>
          <a:bodyPr lIns="92075" tIns="46038" rIns="92075" bIns="46038"/>
          <a:lstStyle/>
          <a:p>
            <a:pPr indent="19050">
              <a:spcBef>
                <a:spcPct val="25000"/>
              </a:spcBef>
              <a:spcAft>
                <a:spcPct val="25000"/>
              </a:spcAft>
              <a:buClr>
                <a:srgbClr val="FAFD00"/>
              </a:buClr>
              <a:buSzPct val="65000"/>
              <a:buFont typeface="Wingdings" pitchFamily="2" charset="2"/>
              <a:buNone/>
            </a:pPr>
            <a:r>
              <a:rPr lang="en-GB" dirty="0" smtClean="0">
                <a:solidFill>
                  <a:srgbClr val="000066"/>
                </a:solidFill>
              </a:rPr>
              <a:t>Let’s test what a difference 5S can make</a:t>
            </a:r>
            <a:endParaRPr lang="en-GB" dirty="0">
              <a:solidFill>
                <a:srgbClr val="000066"/>
              </a:solidFill>
            </a:endParaRPr>
          </a:p>
          <a:p>
            <a:pPr indent="19050">
              <a:spcBef>
                <a:spcPct val="25000"/>
              </a:spcBef>
              <a:spcAft>
                <a:spcPct val="25000"/>
              </a:spcAft>
              <a:buClr>
                <a:srgbClr val="FAFD00"/>
              </a:buClr>
              <a:buSzPct val="65000"/>
              <a:buFont typeface="Wingdings" pitchFamily="2" charset="2"/>
              <a:buNone/>
            </a:pPr>
            <a:endParaRPr lang="en-GB" dirty="0">
              <a:solidFill>
                <a:srgbClr val="000066"/>
              </a:solidFill>
            </a:endParaRPr>
          </a:p>
          <a:p>
            <a:pPr indent="19050">
              <a:spcBef>
                <a:spcPct val="25000"/>
              </a:spcBef>
              <a:spcAft>
                <a:spcPct val="25000"/>
              </a:spcAft>
              <a:buClr>
                <a:srgbClr val="FAFD00"/>
              </a:buClr>
              <a:buSzPct val="65000"/>
              <a:buFont typeface="Wingdings" pitchFamily="2" charset="2"/>
              <a:buNone/>
            </a:pPr>
            <a:r>
              <a:rPr lang="en-GB" dirty="0">
                <a:solidFill>
                  <a:srgbClr val="000066"/>
                </a:solidFill>
              </a:rPr>
              <a:t> </a:t>
            </a:r>
          </a:p>
        </p:txBody>
      </p:sp>
      <p:sp>
        <p:nvSpPr>
          <p:cNvPr id="8" name="Rectangle 7"/>
          <p:cNvSpPr/>
          <p:nvPr/>
        </p:nvSpPr>
        <p:spPr>
          <a:xfrm>
            <a:off x="21772" y="36286"/>
            <a:ext cx="9072000" cy="67680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9" descr="chronome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24726" y="330008"/>
            <a:ext cx="719138" cy="755650"/>
          </a:xfrm>
          <a:prstGeom prst="rect">
            <a:avLst/>
          </a:prstGeom>
          <a:noFill/>
          <a:ln w="9525">
            <a:noFill/>
            <a:miter lim="800000"/>
            <a:headEnd/>
            <a:tailEnd/>
          </a:ln>
        </p:spPr>
      </p:pic>
      <p:sp>
        <p:nvSpPr>
          <p:cNvPr id="10" name="TextBox 9"/>
          <p:cNvSpPr txBox="1"/>
          <p:nvPr/>
        </p:nvSpPr>
        <p:spPr>
          <a:xfrm>
            <a:off x="6354169" y="545908"/>
            <a:ext cx="1548605" cy="369332"/>
          </a:xfrm>
          <a:prstGeom prst="rect">
            <a:avLst/>
          </a:prstGeom>
          <a:noFill/>
        </p:spPr>
        <p:txBody>
          <a:bodyPr wrap="square">
            <a:spAutoFit/>
          </a:bodyPr>
          <a:lstStyle/>
          <a:p>
            <a:pPr>
              <a:defRPr/>
            </a:pPr>
            <a:r>
              <a:rPr lang="en-GB" b="1" dirty="0" smtClean="0">
                <a:solidFill>
                  <a:srgbClr val="99CC33"/>
                </a:solidFill>
                <a:latin typeface="+mj-lt"/>
                <a:ea typeface="+mj-ea"/>
                <a:cs typeface="Arial" pitchFamily="34" charset="0"/>
              </a:rPr>
              <a:t>20 </a:t>
            </a:r>
            <a:r>
              <a:rPr lang="en-GB" b="1" dirty="0">
                <a:solidFill>
                  <a:srgbClr val="99CC33"/>
                </a:solidFill>
                <a:latin typeface="+mj-lt"/>
                <a:ea typeface="+mj-ea"/>
                <a:cs typeface="Arial" pitchFamily="34" charset="0"/>
              </a:rPr>
              <a:t>minutes</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02775" y="325342"/>
            <a:ext cx="874902" cy="758921"/>
          </a:xfrm>
          <a:prstGeom prst="rect">
            <a:avLst/>
          </a:prstGeom>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56750" y="2877381"/>
            <a:ext cx="4060225" cy="3440869"/>
          </a:xfrm>
          <a:prstGeom prst="rect">
            <a:avLst/>
          </a:prstGeom>
        </p:spPr>
      </p:pic>
    </p:spTree>
    <p:extLst>
      <p:ext uri="{BB962C8B-B14F-4D97-AF65-F5344CB8AC3E}">
        <p14:creationId xmlns:p14="http://schemas.microsoft.com/office/powerpoint/2010/main" val="141091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4626" name="Rectangle 2"/>
          <p:cNvSpPr>
            <a:spLocks noGrp="1" noChangeArrowheads="1"/>
          </p:cNvSpPr>
          <p:nvPr>
            <p:ph type="title"/>
          </p:nvPr>
        </p:nvSpPr>
        <p:spPr>
          <a:xfrm>
            <a:off x="354013" y="371475"/>
            <a:ext cx="8296275" cy="555625"/>
          </a:xfrm>
        </p:spPr>
        <p:txBody>
          <a:bodyPr/>
          <a:lstStyle/>
          <a:p>
            <a:pPr eaLnBrk="1" hangingPunct="1"/>
            <a:r>
              <a:rPr lang="en-US" sz="2400" dirty="0" smtClean="0"/>
              <a:t>If you don’t believe me…</a:t>
            </a:r>
            <a:endParaRPr lang="en-GB" sz="1800" b="1" dirty="0" smtClean="0">
              <a:solidFill>
                <a:srgbClr val="99CC33"/>
              </a:solidFill>
              <a:cs typeface="Arial" pitchFamily="34" charset="0"/>
            </a:endParaRPr>
          </a:p>
        </p:txBody>
      </p:sp>
      <p:sp>
        <p:nvSpPr>
          <p:cNvPr id="14" name="Slide Number Placeholder 4"/>
          <p:cNvSpPr>
            <a:spLocks noGrp="1"/>
          </p:cNvSpPr>
          <p:nvPr>
            <p:ph type="sldNum" sz="quarter" idx="11"/>
          </p:nvPr>
        </p:nvSpPr>
        <p:spPr>
          <a:noFill/>
        </p:spPr>
        <p:txBody>
          <a:bodyPr/>
          <a:lstStyle/>
          <a:p>
            <a:fld id="{D7BA8602-1D36-42F3-9ADD-DC3FBBDDCECF}" type="slidenum">
              <a:rPr lang="en-GB" altLang="en-GB"/>
              <a:pPr/>
              <a:t>34</a:t>
            </a:fld>
            <a:endParaRPr lang="en-GB" altLang="en-GB"/>
          </a:p>
        </p:txBody>
      </p:sp>
      <p:grpSp>
        <p:nvGrpSpPr>
          <p:cNvPr id="2" name="Group 1"/>
          <p:cNvGrpSpPr/>
          <p:nvPr/>
        </p:nvGrpSpPr>
        <p:grpSpPr>
          <a:xfrm>
            <a:off x="975173" y="971829"/>
            <a:ext cx="7182351" cy="5346421"/>
            <a:chOff x="539750" y="682625"/>
            <a:chExt cx="8054975" cy="5995988"/>
          </a:xfrm>
        </p:grpSpPr>
        <p:pic>
          <p:nvPicPr>
            <p:cNvPr id="6" name="Picture 17" descr="IMG_436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9750" y="692150"/>
              <a:ext cx="3960813" cy="29686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8" descr="IMG_435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3438" y="3716338"/>
              <a:ext cx="3951287" cy="29622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IMG_436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275" y="3716338"/>
              <a:ext cx="3951288" cy="29622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0" descr="IMG_436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43438" y="682625"/>
              <a:ext cx="3951287" cy="2962275"/>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Rectangle 9"/>
          <p:cNvSpPr/>
          <p:nvPr/>
        </p:nvSpPr>
        <p:spPr>
          <a:xfrm>
            <a:off x="21772" y="36286"/>
            <a:ext cx="9072000" cy="67680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226934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ChangeArrowheads="1"/>
          </p:cNvSpPr>
          <p:nvPr>
            <p:ph type="title"/>
          </p:nvPr>
        </p:nvSpPr>
        <p:spPr>
          <a:xfrm>
            <a:off x="354013" y="371475"/>
            <a:ext cx="8296275" cy="555625"/>
          </a:xfrm>
        </p:spPr>
        <p:txBody>
          <a:bodyPr/>
          <a:lstStyle/>
          <a:p>
            <a:pPr eaLnBrk="1" hangingPunct="1"/>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5S environment - Application of 5S in Office environments</a:t>
            </a:r>
          </a:p>
        </p:txBody>
      </p:sp>
      <p:sp>
        <p:nvSpPr>
          <p:cNvPr id="14" name="Slide Number Placeholder 4"/>
          <p:cNvSpPr>
            <a:spLocks noGrp="1"/>
          </p:cNvSpPr>
          <p:nvPr>
            <p:ph type="sldNum" sz="quarter" idx="11"/>
          </p:nvPr>
        </p:nvSpPr>
        <p:spPr>
          <a:noFill/>
        </p:spPr>
        <p:txBody>
          <a:bodyPr/>
          <a:lstStyle/>
          <a:p>
            <a:fld id="{D7BA8602-1D36-42F3-9ADD-DC3FBBDDCECF}" type="slidenum">
              <a:rPr lang="en-GB" altLang="en-GB"/>
              <a:pPr/>
              <a:t>35</a:t>
            </a:fld>
            <a:endParaRPr lang="en-GB" altLang="en-GB"/>
          </a:p>
        </p:txBody>
      </p:sp>
      <p:sp>
        <p:nvSpPr>
          <p:cNvPr id="49" name="Rectangle 4"/>
          <p:cNvSpPr txBox="1">
            <a:spLocks noChangeArrowheads="1"/>
          </p:cNvSpPr>
          <p:nvPr/>
        </p:nvSpPr>
        <p:spPr bwMode="invGray">
          <a:xfrm>
            <a:off x="580570" y="1155700"/>
            <a:ext cx="8165157" cy="5138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ct val="40000"/>
              </a:spcBef>
              <a:spcAft>
                <a:spcPct val="0"/>
              </a:spcAft>
              <a:buClr>
                <a:schemeClr val="tx1"/>
              </a:buClr>
              <a:buSzPct val="80000"/>
              <a:buFont typeface="Wingdings" pitchFamily="2" charset="2"/>
              <a:buNone/>
              <a:defRPr sz="20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sz="2000">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charset="0"/>
              <a:buChar char="–"/>
              <a:defRPr sz="18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8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40000"/>
              </a:spcBef>
              <a:spcAft>
                <a:spcPct val="0"/>
              </a:spcAft>
              <a:buClr>
                <a:srgbClr val="000000"/>
              </a:buClr>
              <a:buSzPct val="80000"/>
              <a:buFont typeface="Wingdings" pitchFamily="2" charset="2"/>
              <a:buNone/>
              <a:tabLst/>
              <a:defRPr/>
            </a:pPr>
            <a:r>
              <a:rPr kumimoji="0" lang="en-US" sz="1800" b="0" i="0" u="none" strike="noStrike" kern="0" cap="none" spc="0" normalizeH="0" baseline="0" noProof="0" dirty="0" smtClean="0">
                <a:ln>
                  <a:noFill/>
                </a:ln>
                <a:solidFill>
                  <a:schemeClr val="tx2"/>
                </a:solidFill>
                <a:effectLst/>
                <a:uLnTx/>
                <a:uFillTx/>
                <a:latin typeface="Arial"/>
              </a:rPr>
              <a:t>Applying 5S can result in:</a:t>
            </a:r>
          </a:p>
          <a:p>
            <a:pPr marL="0" marR="0" lvl="0" indent="0" algn="l" defTabSz="914400" rtl="0" eaLnBrk="1" fontAlgn="base" latinLnBrk="0" hangingPunct="1">
              <a:lnSpc>
                <a:spcPct val="106000"/>
              </a:lnSpc>
              <a:spcBef>
                <a:spcPct val="40000"/>
              </a:spcBef>
              <a:spcAft>
                <a:spcPct val="0"/>
              </a:spcAft>
              <a:buClr>
                <a:srgbClr val="000000"/>
              </a:buClr>
              <a:buSzPct val="80000"/>
              <a:buFont typeface="Wingdings" pitchFamily="2" charset="2"/>
              <a:buNone/>
              <a:tabLst/>
              <a:defRPr/>
            </a:pPr>
            <a:r>
              <a:rPr kumimoji="0" lang="en-US" sz="1800" b="1" i="0" u="none" strike="noStrike" kern="0" cap="none" spc="0" normalizeH="0" baseline="0" noProof="0" dirty="0" smtClean="0">
                <a:ln>
                  <a:noFill/>
                </a:ln>
                <a:solidFill>
                  <a:schemeClr val="tx2"/>
                </a:solidFill>
                <a:effectLst/>
                <a:uLnTx/>
                <a:uFillTx/>
                <a:latin typeface="Arial"/>
              </a:rPr>
              <a:t>Less</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Downtime</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Errors and Waste</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Inventory</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Searching</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Storing</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Waiting</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Walking</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Wandering</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Wondering</a:t>
            </a:r>
            <a:endParaRPr kumimoji="0" lang="en-US" sz="1800" b="0" i="0" u="none" strike="noStrike" kern="0" cap="none" spc="0" normalizeH="0" baseline="0" noProof="0" dirty="0">
              <a:ln>
                <a:noFill/>
              </a:ln>
              <a:solidFill>
                <a:schemeClr val="tx2"/>
              </a:solidFill>
              <a:effectLst/>
              <a:uLnTx/>
              <a:uFillTx/>
              <a:latin typeface="Arial"/>
            </a:endParaRPr>
          </a:p>
        </p:txBody>
      </p:sp>
      <p:sp>
        <p:nvSpPr>
          <p:cNvPr id="51" name="Rectangle 3"/>
          <p:cNvSpPr txBox="1">
            <a:spLocks noChangeArrowheads="1"/>
          </p:cNvSpPr>
          <p:nvPr/>
        </p:nvSpPr>
        <p:spPr bwMode="invGray">
          <a:xfrm>
            <a:off x="4883831" y="1329871"/>
            <a:ext cx="3998912" cy="2992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sz="20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sz="2000">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charset="0"/>
              <a:buChar char="–"/>
              <a:defRPr>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40000"/>
              </a:spcBef>
              <a:spcAft>
                <a:spcPct val="0"/>
              </a:spcAft>
              <a:buClr>
                <a:srgbClr val="000000"/>
              </a:buClr>
              <a:buSzPct val="80000"/>
              <a:buFont typeface="Wingdings" pitchFamily="2" charset="2"/>
              <a:buNone/>
              <a:tabLst/>
              <a:defRPr/>
            </a:pPr>
            <a:r>
              <a:rPr kumimoji="0" lang="en-US" sz="1800" b="0" i="0" u="none" strike="noStrike" kern="0" cap="none" spc="0" normalizeH="0" baseline="0" noProof="0" dirty="0" smtClean="0">
                <a:ln>
                  <a:noFill/>
                </a:ln>
                <a:solidFill>
                  <a:schemeClr val="tx2"/>
                </a:solidFill>
                <a:effectLst/>
                <a:uLnTx/>
                <a:uFillTx/>
                <a:latin typeface="Arial"/>
              </a:rPr>
              <a:t> </a:t>
            </a:r>
          </a:p>
          <a:p>
            <a:pPr marL="0" marR="0" lvl="0" indent="0" algn="l" defTabSz="914400" rtl="0" eaLnBrk="1" fontAlgn="base" latinLnBrk="0" hangingPunct="1">
              <a:lnSpc>
                <a:spcPct val="106000"/>
              </a:lnSpc>
              <a:spcBef>
                <a:spcPct val="40000"/>
              </a:spcBef>
              <a:spcAft>
                <a:spcPct val="0"/>
              </a:spcAft>
              <a:buClr>
                <a:srgbClr val="000000"/>
              </a:buClr>
              <a:buSzPct val="80000"/>
              <a:buFont typeface="Wingdings" pitchFamily="2" charset="2"/>
              <a:buNone/>
              <a:tabLst/>
              <a:defRPr/>
            </a:pPr>
            <a:r>
              <a:rPr kumimoji="0" lang="en-US" sz="1800" b="1" i="0" u="none" strike="noStrike" kern="0" cap="none" spc="0" normalizeH="0" baseline="0" noProof="0" dirty="0" smtClean="0">
                <a:ln>
                  <a:noFill/>
                </a:ln>
                <a:solidFill>
                  <a:schemeClr val="tx2"/>
                </a:solidFill>
                <a:effectLst/>
                <a:uLnTx/>
                <a:uFillTx/>
                <a:latin typeface="Arial"/>
              </a:rPr>
              <a:t>Improve</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Improve</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Cleanliness</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Employee Morale</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Floor Space</a:t>
            </a:r>
          </a:p>
          <a:p>
            <a:pPr marR="0" lvl="1" algn="l" defTabSz="914400" rtl="0" eaLnBrk="1" fontAlgn="base" latinLnBrk="0" hangingPunct="1">
              <a:lnSpc>
                <a:spcPct val="106000"/>
              </a:lnSpc>
              <a:spcBef>
                <a:spcPct val="40000"/>
              </a:spcBef>
              <a:spcAft>
                <a:spcPct val="0"/>
              </a:spcAft>
              <a:buClrTx/>
              <a:buSzTx/>
              <a:buFont typeface="Wingdings" panose="05000000000000000000" pitchFamily="2" charset="2"/>
              <a:buChar char="§"/>
              <a:tabLst/>
              <a:defRPr/>
            </a:pPr>
            <a:r>
              <a:rPr kumimoji="0" lang="en-US" sz="1800" b="0" i="0" u="none" strike="noStrike" kern="0" cap="none" spc="0" normalizeH="0" baseline="0" noProof="0" dirty="0" smtClean="0">
                <a:ln>
                  <a:noFill/>
                </a:ln>
                <a:solidFill>
                  <a:schemeClr val="tx2"/>
                </a:solidFill>
                <a:effectLst/>
                <a:uLnTx/>
                <a:uFillTx/>
                <a:latin typeface="Arial"/>
              </a:rPr>
              <a:t>Workspace Organization (remove clutter)</a:t>
            </a:r>
            <a:endParaRPr kumimoji="0" lang="en-US" sz="1800" b="0" i="0" u="none" strike="noStrike" kern="0" cap="none" spc="0" normalizeH="0" baseline="0" noProof="0" dirty="0">
              <a:ln>
                <a:noFill/>
              </a:ln>
              <a:solidFill>
                <a:schemeClr val="tx2"/>
              </a:solidFill>
              <a:effectLst/>
              <a:uLnTx/>
              <a:uFillTx/>
              <a:latin typeface="Arial"/>
            </a:endParaRPr>
          </a:p>
        </p:txBody>
      </p:sp>
    </p:spTree>
    <p:extLst>
      <p:ext uri="{BB962C8B-B14F-4D97-AF65-F5344CB8AC3E}">
        <p14:creationId xmlns:p14="http://schemas.microsoft.com/office/powerpoint/2010/main" val="174139555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ChangeArrowheads="1"/>
          </p:cNvSpPr>
          <p:nvPr>
            <p:ph type="title"/>
          </p:nvPr>
        </p:nvSpPr>
        <p:spPr>
          <a:xfrm>
            <a:off x="354013" y="371475"/>
            <a:ext cx="8296275" cy="555625"/>
          </a:xfrm>
        </p:spPr>
        <p:txBody>
          <a:bodyPr/>
          <a:lstStyle/>
          <a:p>
            <a:pPr eaLnBrk="1" hangingPunct="1"/>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5S environment - Application of 5S in Office environments</a:t>
            </a:r>
          </a:p>
        </p:txBody>
      </p:sp>
      <p:sp>
        <p:nvSpPr>
          <p:cNvPr id="154627" name="Rectangle 3"/>
          <p:cNvSpPr>
            <a:spLocks noGrp="1" noChangeArrowheads="1"/>
          </p:cNvSpPr>
          <p:nvPr>
            <p:ph idx="1"/>
          </p:nvPr>
        </p:nvSpPr>
        <p:spPr>
          <a:xfrm>
            <a:off x="371498" y="1277321"/>
            <a:ext cx="8237537" cy="728662"/>
          </a:xfrm>
        </p:spPr>
        <p:txBody>
          <a:bodyPr/>
          <a:lstStyle/>
          <a:p>
            <a:pPr marL="0" indent="0" eaLnBrk="1" hangingPunct="1"/>
            <a:r>
              <a:rPr lang="en-GB" b="1" dirty="0" smtClean="0"/>
              <a:t>Assessing the Current State:</a:t>
            </a:r>
            <a:r>
              <a:rPr lang="en-GB" dirty="0" smtClean="0"/>
              <a:t> 5S (</a:t>
            </a:r>
            <a:r>
              <a:rPr lang="en-GB" b="1" dirty="0" smtClean="0"/>
              <a:t>Sort</a:t>
            </a:r>
            <a:r>
              <a:rPr lang="en-GB" dirty="0" smtClean="0"/>
              <a:t>) begins with the Red Tagging of all items which are unnecessary.</a:t>
            </a:r>
          </a:p>
        </p:txBody>
      </p:sp>
      <p:sp>
        <p:nvSpPr>
          <p:cNvPr id="14" name="Slide Number Placeholder 4"/>
          <p:cNvSpPr>
            <a:spLocks noGrp="1"/>
          </p:cNvSpPr>
          <p:nvPr>
            <p:ph type="sldNum" sz="quarter" idx="11"/>
          </p:nvPr>
        </p:nvSpPr>
        <p:spPr>
          <a:noFill/>
        </p:spPr>
        <p:txBody>
          <a:bodyPr/>
          <a:lstStyle/>
          <a:p>
            <a:fld id="{D7BA8602-1D36-42F3-9ADD-DC3FBBDDCECF}" type="slidenum">
              <a:rPr lang="en-GB" altLang="en-GB"/>
              <a:pPr/>
              <a:t>36</a:t>
            </a:fld>
            <a:endParaRPr lang="en-GB" altLang="en-GB"/>
          </a:p>
        </p:txBody>
      </p:sp>
      <p:pic>
        <p:nvPicPr>
          <p:cNvPr id="154629" name="Picture 4" descr="Red Ta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0063" y="3478213"/>
            <a:ext cx="3563937" cy="2933700"/>
          </a:xfrm>
          <a:prstGeom prst="rect">
            <a:avLst/>
          </a:prstGeom>
          <a:noFill/>
          <a:ln w="9525">
            <a:noFill/>
            <a:miter lim="800000"/>
            <a:headEnd/>
            <a:tailEnd/>
          </a:ln>
        </p:spPr>
      </p:pic>
      <p:pic>
        <p:nvPicPr>
          <p:cNvPr id="154630" name="Picture 5"/>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gray">
          <a:xfrm>
            <a:off x="2579688" y="2133600"/>
            <a:ext cx="1919287" cy="1439863"/>
          </a:xfrm>
          <a:prstGeom prst="rect">
            <a:avLst/>
          </a:prstGeom>
          <a:noFill/>
          <a:ln w="12700" algn="ctr">
            <a:noFill/>
            <a:miter lim="800000"/>
            <a:headEnd/>
            <a:tailEnd/>
          </a:ln>
        </p:spPr>
      </p:pic>
      <p:pic>
        <p:nvPicPr>
          <p:cNvPr id="154631"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563" y="3644900"/>
            <a:ext cx="1439862" cy="1819275"/>
          </a:xfrm>
          <a:prstGeom prst="rect">
            <a:avLst/>
          </a:prstGeom>
          <a:noFill/>
          <a:ln w="9525">
            <a:noFill/>
            <a:miter lim="800000"/>
            <a:headEnd/>
            <a:tailEnd/>
          </a:ln>
        </p:spPr>
      </p:pic>
      <p:pic>
        <p:nvPicPr>
          <p:cNvPr id="154632"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6613525" y="2133600"/>
            <a:ext cx="1919288" cy="1439863"/>
          </a:xfrm>
          <a:prstGeom prst="rect">
            <a:avLst/>
          </a:prstGeom>
          <a:noFill/>
          <a:ln w="12700" algn="ctr">
            <a:noFill/>
            <a:miter lim="800000"/>
            <a:headEnd/>
            <a:tailEnd/>
          </a:ln>
        </p:spPr>
      </p:pic>
      <p:pic>
        <p:nvPicPr>
          <p:cNvPr id="154633"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2076450" y="3644900"/>
            <a:ext cx="1631950" cy="1439863"/>
          </a:xfrm>
          <a:prstGeom prst="rect">
            <a:avLst/>
          </a:prstGeom>
          <a:noFill/>
          <a:ln w="12700" algn="ctr">
            <a:noFill/>
            <a:miter lim="800000"/>
            <a:headEnd/>
            <a:tailEnd/>
          </a:ln>
        </p:spPr>
      </p:pic>
      <p:pic>
        <p:nvPicPr>
          <p:cNvPr id="154634" name="Picture 9" descr="AVAF_Contracts_Current State 01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03650" y="3644900"/>
            <a:ext cx="1920875" cy="1439863"/>
          </a:xfrm>
          <a:prstGeom prst="rect">
            <a:avLst/>
          </a:prstGeom>
          <a:noFill/>
          <a:ln w="9525">
            <a:noFill/>
            <a:miter lim="800000"/>
            <a:headEnd/>
            <a:tailEnd/>
          </a:ln>
        </p:spPr>
      </p:pic>
      <p:pic>
        <p:nvPicPr>
          <p:cNvPr id="154635" name="Picture 1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gray">
          <a:xfrm>
            <a:off x="4572000" y="2133600"/>
            <a:ext cx="1978025" cy="1439863"/>
          </a:xfrm>
          <a:prstGeom prst="rect">
            <a:avLst/>
          </a:prstGeom>
          <a:noFill/>
          <a:ln w="12700" algn="ctr">
            <a:noFill/>
            <a:miter lim="800000"/>
            <a:headEnd/>
            <a:tailEnd/>
          </a:ln>
        </p:spPr>
      </p:pic>
      <p:pic>
        <p:nvPicPr>
          <p:cNvPr id="154636"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gray">
          <a:xfrm>
            <a:off x="563563" y="2133600"/>
            <a:ext cx="1922462" cy="1441450"/>
          </a:xfrm>
          <a:prstGeom prst="rect">
            <a:avLst/>
          </a:prstGeom>
          <a:noFill/>
          <a:ln w="12700" algn="ctr">
            <a:noFill/>
            <a:miter lim="800000"/>
            <a:headEnd/>
            <a:tailEnd/>
          </a:ln>
        </p:spPr>
      </p:pic>
      <p:sp>
        <p:nvSpPr>
          <p:cNvPr id="154637" name="Rectangle 12"/>
          <p:cNvSpPr>
            <a:spLocks noChangeArrowheads="1"/>
          </p:cNvSpPr>
          <p:nvPr/>
        </p:nvSpPr>
        <p:spPr bwMode="auto">
          <a:xfrm>
            <a:off x="371498" y="5654675"/>
            <a:ext cx="8453437" cy="720725"/>
          </a:xfrm>
          <a:prstGeom prst="rect">
            <a:avLst/>
          </a:prstGeom>
          <a:noFill/>
          <a:ln w="9525">
            <a:noFill/>
            <a:miter lim="800000"/>
            <a:headEnd/>
            <a:tailEnd/>
          </a:ln>
        </p:spPr>
        <p:txBody>
          <a:bodyPr/>
          <a:lstStyle/>
          <a:p>
            <a:r>
              <a:rPr lang="en-GB" b="0" dirty="0">
                <a:solidFill>
                  <a:schemeClr val="accent1"/>
                </a:solidFill>
              </a:rPr>
              <a:t>These items are place within a quarantine area, and if they haven’t been used all week, they are thrown away.</a:t>
            </a:r>
          </a:p>
        </p:txBody>
      </p:sp>
    </p:spTree>
    <p:extLst>
      <p:ext uri="{BB962C8B-B14F-4D97-AF65-F5344CB8AC3E}">
        <p14:creationId xmlns:p14="http://schemas.microsoft.com/office/powerpoint/2010/main" val="426423567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a:xfrm>
            <a:off x="354013" y="371475"/>
            <a:ext cx="8296275" cy="555625"/>
          </a:xfrm>
        </p:spPr>
        <p:txBody>
          <a:bodyPr/>
          <a:lstStyle/>
          <a:p>
            <a:pPr eaLnBrk="1" hangingPunct="1"/>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5S environment - Application of 5S in IT Helpdesk Operations</a:t>
            </a:r>
          </a:p>
        </p:txBody>
      </p:sp>
      <p:sp>
        <p:nvSpPr>
          <p:cNvPr id="155651" name="Rectangle 3"/>
          <p:cNvSpPr>
            <a:spLocks noGrp="1" noChangeArrowheads="1"/>
          </p:cNvSpPr>
          <p:nvPr>
            <p:ph idx="1"/>
          </p:nvPr>
        </p:nvSpPr>
        <p:spPr>
          <a:xfrm>
            <a:off x="371498" y="1283009"/>
            <a:ext cx="8539162" cy="1409700"/>
          </a:xfrm>
        </p:spPr>
        <p:txBody>
          <a:bodyPr/>
          <a:lstStyle/>
          <a:p>
            <a:pPr marL="0" indent="0" eaLnBrk="1" hangingPunct="1"/>
            <a:r>
              <a:rPr lang="en-GB" b="1" dirty="0" smtClean="0"/>
              <a:t>Implementing the Future State:</a:t>
            </a:r>
            <a:r>
              <a:rPr lang="en-GB" dirty="0" smtClean="0"/>
              <a:t> 5S (</a:t>
            </a:r>
            <a:r>
              <a:rPr lang="en-GB" b="1" dirty="0" smtClean="0"/>
              <a:t>Set In Order</a:t>
            </a:r>
            <a:r>
              <a:rPr lang="en-GB" dirty="0" smtClean="0"/>
              <a:t>) assigns a colour of each Application Team, defines a method to capture physical evidence and coloured signage informs team members were to store achieved documents. This method is agreed and documented in a Current Best Way (</a:t>
            </a:r>
            <a:r>
              <a:rPr lang="en-GB" b="1" dirty="0" smtClean="0"/>
              <a:t>Sustainment</a:t>
            </a:r>
            <a:r>
              <a:rPr lang="en-GB" dirty="0" smtClean="0"/>
              <a:t>).</a:t>
            </a:r>
          </a:p>
        </p:txBody>
      </p:sp>
      <p:sp>
        <p:nvSpPr>
          <p:cNvPr id="14" name="Slide Number Placeholder 4"/>
          <p:cNvSpPr>
            <a:spLocks noGrp="1"/>
          </p:cNvSpPr>
          <p:nvPr>
            <p:ph type="sldNum" sz="quarter" idx="11"/>
          </p:nvPr>
        </p:nvSpPr>
        <p:spPr>
          <a:noFill/>
        </p:spPr>
        <p:txBody>
          <a:bodyPr/>
          <a:lstStyle/>
          <a:p>
            <a:fld id="{D7BA8602-1D36-42F3-9ADD-DC3FBBDDCECF}" type="slidenum">
              <a:rPr lang="en-GB" altLang="en-GB"/>
              <a:pPr/>
              <a:t>37</a:t>
            </a:fld>
            <a:endParaRPr lang="en-GB" altLang="en-GB"/>
          </a:p>
        </p:txBody>
      </p:sp>
      <p:sp>
        <p:nvSpPr>
          <p:cNvPr id="155653" name="Rectangle 12"/>
          <p:cNvSpPr>
            <a:spLocks noChangeArrowheads="1"/>
          </p:cNvSpPr>
          <p:nvPr/>
        </p:nvSpPr>
        <p:spPr bwMode="auto">
          <a:xfrm>
            <a:off x="371498" y="5210175"/>
            <a:ext cx="5788025" cy="1198563"/>
          </a:xfrm>
          <a:prstGeom prst="rect">
            <a:avLst/>
          </a:prstGeom>
          <a:noFill/>
          <a:ln w="9525">
            <a:noFill/>
            <a:miter lim="800000"/>
            <a:headEnd/>
            <a:tailEnd/>
          </a:ln>
        </p:spPr>
        <p:txBody>
          <a:bodyPr/>
          <a:lstStyle/>
          <a:p>
            <a:pPr>
              <a:buClr>
                <a:schemeClr val="accent2"/>
              </a:buClr>
            </a:pPr>
            <a:r>
              <a:rPr lang="en-GB" b="0" dirty="0">
                <a:solidFill>
                  <a:schemeClr val="accent1"/>
                </a:solidFill>
              </a:rPr>
              <a:t>The same organisation principles also applies to Team Rooms or folder structure on a consultants PC. Periodic clean up (</a:t>
            </a:r>
            <a:r>
              <a:rPr lang="en-GB" dirty="0">
                <a:solidFill>
                  <a:schemeClr val="accent1"/>
                </a:solidFill>
              </a:rPr>
              <a:t>Shine</a:t>
            </a:r>
            <a:r>
              <a:rPr lang="en-GB" b="0" dirty="0">
                <a:solidFill>
                  <a:schemeClr val="accent1"/>
                </a:solidFill>
              </a:rPr>
              <a:t>) of Team Rooms is essential and alerts team members of new material.</a:t>
            </a:r>
          </a:p>
        </p:txBody>
      </p:sp>
      <p:pic>
        <p:nvPicPr>
          <p:cNvPr id="15565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75375" y="5259388"/>
            <a:ext cx="2266950" cy="1112837"/>
          </a:xfrm>
          <a:prstGeom prst="rect">
            <a:avLst/>
          </a:prstGeom>
          <a:noFill/>
          <a:ln w="6350" algn="ctr">
            <a:noFill/>
            <a:miter lim="800000"/>
            <a:headEnd/>
            <a:tailEnd/>
          </a:ln>
        </p:spPr>
      </p:pic>
      <p:grpSp>
        <p:nvGrpSpPr>
          <p:cNvPr id="155655" name="Group 19"/>
          <p:cNvGrpSpPr>
            <a:grpSpLocks/>
          </p:cNvGrpSpPr>
          <p:nvPr/>
        </p:nvGrpSpPr>
        <p:grpSpPr bwMode="auto">
          <a:xfrm>
            <a:off x="66675" y="2508250"/>
            <a:ext cx="8928100" cy="2630488"/>
            <a:chOff x="42" y="1310"/>
            <a:chExt cx="5624" cy="1657"/>
          </a:xfrm>
        </p:grpSpPr>
        <p:pic>
          <p:nvPicPr>
            <p:cNvPr id="155658" name="Picture 13" descr="DSCN1687 (Custom)"/>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834" y="1310"/>
              <a:ext cx="1629" cy="1650"/>
            </a:xfrm>
            <a:prstGeom prst="rect">
              <a:avLst/>
            </a:prstGeom>
            <a:noFill/>
            <a:ln w="9525">
              <a:noFill/>
              <a:miter lim="800000"/>
              <a:headEnd/>
              <a:tailEnd/>
            </a:ln>
          </p:spPr>
        </p:pic>
        <p:pic>
          <p:nvPicPr>
            <p:cNvPr id="155659" name="Picture 15"/>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2" y="1311"/>
              <a:ext cx="1171" cy="1656"/>
            </a:xfrm>
            <a:prstGeom prst="rect">
              <a:avLst/>
            </a:prstGeom>
            <a:noFill/>
            <a:ln w="6350" algn="ctr">
              <a:noFill/>
              <a:miter lim="800000"/>
              <a:headEnd/>
              <a:tailEnd/>
            </a:ln>
          </p:spPr>
        </p:pic>
        <p:pic>
          <p:nvPicPr>
            <p:cNvPr id="155660" name="Picture 17" descr="DSCN1775 (Large)"/>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265" y="1313"/>
              <a:ext cx="1508" cy="1646"/>
            </a:xfrm>
            <a:prstGeom prst="rect">
              <a:avLst/>
            </a:prstGeom>
            <a:noFill/>
            <a:ln w="9525">
              <a:noFill/>
              <a:miter lim="800000"/>
              <a:headEnd/>
              <a:tailEnd/>
            </a:ln>
          </p:spPr>
        </p:pic>
        <p:pic>
          <p:nvPicPr>
            <p:cNvPr id="155661" name="Picture 18" descr="(090715) CBW for Scanned Evidence V2"/>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496" y="1312"/>
              <a:ext cx="1170" cy="1655"/>
            </a:xfrm>
            <a:prstGeom prst="rect">
              <a:avLst/>
            </a:prstGeom>
            <a:noFill/>
            <a:ln w="9525">
              <a:noFill/>
              <a:miter lim="800000"/>
              <a:headEnd/>
              <a:tailEnd/>
            </a:ln>
          </p:spPr>
        </p:pic>
      </p:grpSp>
      <p:pic>
        <p:nvPicPr>
          <p:cNvPr id="155656" name="Picture 2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15275" y="5881688"/>
            <a:ext cx="1196975" cy="481012"/>
          </a:xfrm>
          <a:prstGeom prst="rect">
            <a:avLst/>
          </a:prstGeom>
          <a:noFill/>
          <a:ln w="6350" algn="ctr">
            <a:noFill/>
            <a:miter lim="800000"/>
            <a:headEnd/>
            <a:tailEnd/>
          </a:ln>
        </p:spPr>
      </p:pic>
      <p:sp>
        <p:nvSpPr>
          <p:cNvPr id="13" name="Rectangle 12"/>
          <p:cNvSpPr/>
          <p:nvPr/>
        </p:nvSpPr>
        <p:spPr>
          <a:xfrm>
            <a:off x="7218363" y="2574925"/>
            <a:ext cx="188912" cy="88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Tree>
    <p:extLst>
      <p:ext uri="{BB962C8B-B14F-4D97-AF65-F5344CB8AC3E}">
        <p14:creationId xmlns:p14="http://schemas.microsoft.com/office/powerpoint/2010/main" val="222558324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2"/>
          <p:cNvSpPr>
            <a:spLocks noGrp="1" noChangeArrowheads="1"/>
          </p:cNvSpPr>
          <p:nvPr>
            <p:ph type="title"/>
          </p:nvPr>
        </p:nvSpPr>
        <p:spPr>
          <a:xfrm>
            <a:off x="354013" y="371475"/>
            <a:ext cx="8296275" cy="555625"/>
          </a:xfrm>
        </p:spPr>
        <p:txBody>
          <a:bodyPr/>
          <a:lstStyle/>
          <a:p>
            <a:pPr eaLnBrk="1" hangingPunct="1"/>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5S environment - Application of 5S in </a:t>
            </a:r>
            <a:r>
              <a:rPr lang="en-GB" sz="1800" b="1" dirty="0" err="1" smtClean="0">
                <a:solidFill>
                  <a:srgbClr val="99CC33"/>
                </a:solidFill>
                <a:cs typeface="Arial" pitchFamily="34" charset="0"/>
              </a:rPr>
              <a:t>Shopfloor</a:t>
            </a:r>
            <a:r>
              <a:rPr lang="en-GB" sz="1800" b="1" dirty="0" smtClean="0">
                <a:solidFill>
                  <a:srgbClr val="99CC33"/>
                </a:solidFill>
                <a:cs typeface="Arial" pitchFamily="34" charset="0"/>
              </a:rPr>
              <a:t> environments</a:t>
            </a:r>
          </a:p>
        </p:txBody>
      </p:sp>
      <p:sp>
        <p:nvSpPr>
          <p:cNvPr id="156675" name="Rectangle 3"/>
          <p:cNvSpPr>
            <a:spLocks noGrp="1" noChangeArrowheads="1"/>
          </p:cNvSpPr>
          <p:nvPr>
            <p:ph idx="1"/>
          </p:nvPr>
        </p:nvSpPr>
        <p:spPr bwMode="gray">
          <a:xfrm>
            <a:off x="468313" y="1268413"/>
            <a:ext cx="8207375" cy="823912"/>
          </a:xfrm>
        </p:spPr>
        <p:txBody>
          <a:bodyPr>
            <a:spAutoFit/>
          </a:bodyPr>
          <a:lstStyle/>
          <a:p>
            <a:pPr marL="0" indent="0" eaLnBrk="1" hangingPunct="1"/>
            <a:r>
              <a:rPr lang="en-GB" b="1" dirty="0" smtClean="0"/>
              <a:t>Implementing the Future State: </a:t>
            </a:r>
            <a:r>
              <a:rPr lang="en-GB" dirty="0" smtClean="0"/>
              <a:t>5S (</a:t>
            </a:r>
            <a:r>
              <a:rPr lang="en-GB" b="1" dirty="0" smtClean="0"/>
              <a:t>Set In Order</a:t>
            </a:r>
            <a:r>
              <a:rPr lang="en-GB" dirty="0" smtClean="0"/>
              <a:t>) promotes zoned, painted floors, with specific areas for specific functions throughout the whole facility (</a:t>
            </a:r>
            <a:r>
              <a:rPr lang="en-GB" b="1" dirty="0" smtClean="0"/>
              <a:t>Standardisation</a:t>
            </a:r>
            <a:r>
              <a:rPr lang="en-GB" dirty="0" smtClean="0"/>
              <a:t>).</a:t>
            </a:r>
            <a:endParaRPr lang="en-GB" dirty="0" smtClean="0">
              <a:solidFill>
                <a:schemeClr val="accent1"/>
              </a:solidFill>
            </a:endParaRPr>
          </a:p>
        </p:txBody>
      </p:sp>
      <p:sp>
        <p:nvSpPr>
          <p:cNvPr id="15" name="Slide Number Placeholder 4"/>
          <p:cNvSpPr>
            <a:spLocks noGrp="1"/>
          </p:cNvSpPr>
          <p:nvPr>
            <p:ph type="sldNum" sz="quarter" idx="11"/>
          </p:nvPr>
        </p:nvSpPr>
        <p:spPr>
          <a:noFill/>
        </p:spPr>
        <p:txBody>
          <a:bodyPr/>
          <a:lstStyle/>
          <a:p>
            <a:fld id="{D7BA8602-1D36-42F3-9ADD-DC3FBBDDCECF}" type="slidenum">
              <a:rPr lang="en-GB" altLang="en-GB"/>
              <a:pPr/>
              <a:t>38</a:t>
            </a:fld>
            <a:endParaRPr lang="en-GB" altLang="en-GB"/>
          </a:p>
        </p:txBody>
      </p:sp>
      <p:pic>
        <p:nvPicPr>
          <p:cNvPr id="156677" name="Picture 4" descr="DSCN2952"/>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84213" y="2255838"/>
            <a:ext cx="2162175" cy="1962150"/>
          </a:xfrm>
          <a:prstGeom prst="rect">
            <a:avLst/>
          </a:prstGeom>
          <a:noFill/>
          <a:ln w="9525">
            <a:noFill/>
            <a:miter lim="800000"/>
            <a:headEnd/>
            <a:tailEnd/>
          </a:ln>
        </p:spPr>
      </p:pic>
      <p:pic>
        <p:nvPicPr>
          <p:cNvPr id="156678" name="Picture 5" descr="DSC00040"/>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916238" y="2255838"/>
            <a:ext cx="2162175" cy="1962150"/>
          </a:xfrm>
          <a:prstGeom prst="rect">
            <a:avLst/>
          </a:prstGeom>
          <a:noFill/>
          <a:ln w="9525">
            <a:noFill/>
            <a:miter lim="800000"/>
            <a:headEnd/>
            <a:tailEnd/>
          </a:ln>
        </p:spPr>
      </p:pic>
      <p:pic>
        <p:nvPicPr>
          <p:cNvPr id="156679" name="Picture 6" descr="DSC00048"/>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148263" y="2255838"/>
            <a:ext cx="2159000" cy="1962150"/>
          </a:xfrm>
          <a:prstGeom prst="rect">
            <a:avLst/>
          </a:prstGeom>
          <a:noFill/>
          <a:ln w="9525">
            <a:noFill/>
            <a:miter lim="800000"/>
            <a:headEnd/>
            <a:tailEnd/>
          </a:ln>
        </p:spPr>
      </p:pic>
      <p:sp>
        <p:nvSpPr>
          <p:cNvPr id="156680" name="Rectangle 9"/>
          <p:cNvSpPr>
            <a:spLocks noChangeArrowheads="1"/>
          </p:cNvSpPr>
          <p:nvPr/>
        </p:nvSpPr>
        <p:spPr bwMode="gray">
          <a:xfrm>
            <a:off x="463551" y="4442278"/>
            <a:ext cx="5240564" cy="1922463"/>
          </a:xfrm>
          <a:prstGeom prst="rect">
            <a:avLst/>
          </a:prstGeom>
          <a:noFill/>
          <a:ln w="12700">
            <a:noFill/>
            <a:miter lim="800000"/>
            <a:headEnd/>
            <a:tailEnd/>
          </a:ln>
        </p:spPr>
        <p:txBody>
          <a:bodyPr wrap="square" lIns="0" tIns="0" rIns="0" bIns="0">
            <a:spAutoFit/>
          </a:bodyPr>
          <a:lstStyle/>
          <a:p>
            <a:pPr defTabSz="912813">
              <a:buClr>
                <a:schemeClr val="accent2"/>
              </a:buClr>
              <a:buFont typeface="Wingdings" pitchFamily="2" charset="2"/>
              <a:buNone/>
            </a:pPr>
            <a:r>
              <a:rPr lang="en-GB" b="0" dirty="0" smtClean="0">
                <a:solidFill>
                  <a:schemeClr val="accent1"/>
                </a:solidFill>
              </a:rPr>
              <a:t>Areas </a:t>
            </a:r>
            <a:r>
              <a:rPr lang="en-GB" b="0" dirty="0">
                <a:solidFill>
                  <a:schemeClr val="accent1"/>
                </a:solidFill>
              </a:rPr>
              <a:t>are kept clean and clear throughout the day (</a:t>
            </a:r>
            <a:r>
              <a:rPr lang="en-GB" dirty="0">
                <a:solidFill>
                  <a:schemeClr val="accent1"/>
                </a:solidFill>
              </a:rPr>
              <a:t>Shine</a:t>
            </a:r>
            <a:r>
              <a:rPr lang="en-GB" b="0" dirty="0">
                <a:solidFill>
                  <a:schemeClr val="accent1"/>
                </a:solidFill>
              </a:rPr>
              <a:t>), with sustainment at end of day / shift </a:t>
            </a:r>
            <a:r>
              <a:rPr lang="en-GB" b="0" i="1" dirty="0">
                <a:solidFill>
                  <a:schemeClr val="accent1"/>
                </a:solidFill>
              </a:rPr>
              <a:t>– </a:t>
            </a:r>
            <a:r>
              <a:rPr lang="en-GB" b="0" i="1" dirty="0">
                <a:solidFill>
                  <a:srgbClr val="92D400"/>
                </a:solidFill>
              </a:rPr>
              <a:t>Preventing items getting lost and reordered.</a:t>
            </a:r>
          </a:p>
          <a:p>
            <a:pPr defTabSz="912813">
              <a:buClr>
                <a:schemeClr val="accent2"/>
              </a:buClr>
              <a:buFont typeface="Wingdings" pitchFamily="2" charset="2"/>
              <a:buNone/>
            </a:pPr>
            <a:endParaRPr lang="en-GB" b="0" dirty="0">
              <a:solidFill>
                <a:schemeClr val="accent1"/>
              </a:solidFill>
            </a:endParaRPr>
          </a:p>
          <a:p>
            <a:pPr defTabSz="912813">
              <a:buClr>
                <a:schemeClr val="accent2"/>
              </a:buClr>
              <a:buFont typeface="Wingdings" pitchFamily="2" charset="2"/>
              <a:buNone/>
            </a:pPr>
            <a:r>
              <a:rPr lang="en-GB" b="0" dirty="0" smtClean="0">
                <a:solidFill>
                  <a:schemeClr val="accent1"/>
                </a:solidFill>
              </a:rPr>
              <a:t>Everything </a:t>
            </a:r>
            <a:r>
              <a:rPr lang="en-GB" b="0" dirty="0">
                <a:solidFill>
                  <a:schemeClr val="accent1"/>
                </a:solidFill>
              </a:rPr>
              <a:t>returned to its “home” upon use (</a:t>
            </a:r>
            <a:r>
              <a:rPr lang="en-GB" dirty="0">
                <a:solidFill>
                  <a:schemeClr val="accent1"/>
                </a:solidFill>
              </a:rPr>
              <a:t>Sustain</a:t>
            </a:r>
            <a:r>
              <a:rPr lang="en-GB" b="0" dirty="0">
                <a:solidFill>
                  <a:schemeClr val="accent1"/>
                </a:solidFill>
              </a:rPr>
              <a:t>) and everything required is nearby – </a:t>
            </a:r>
            <a:r>
              <a:rPr lang="en-GB" b="0" i="1" dirty="0">
                <a:solidFill>
                  <a:srgbClr val="92D400"/>
                </a:solidFill>
              </a:rPr>
              <a:t>Results in reduced process time</a:t>
            </a:r>
            <a:endParaRPr lang="en-GB" b="0" dirty="0">
              <a:solidFill>
                <a:srgbClr val="92D400"/>
              </a:solidFill>
            </a:endParaRPr>
          </a:p>
        </p:txBody>
      </p:sp>
      <p:grpSp>
        <p:nvGrpSpPr>
          <p:cNvPr id="156681" name="Group 12"/>
          <p:cNvGrpSpPr>
            <a:grpSpLocks/>
          </p:cNvGrpSpPr>
          <p:nvPr/>
        </p:nvGrpSpPr>
        <p:grpSpPr bwMode="auto">
          <a:xfrm>
            <a:off x="5940425" y="4387850"/>
            <a:ext cx="2816225" cy="1952625"/>
            <a:chOff x="3742" y="2614"/>
            <a:chExt cx="1774" cy="1230"/>
          </a:xfrm>
        </p:grpSpPr>
        <p:pic>
          <p:nvPicPr>
            <p:cNvPr id="156685" name="Picture 8"/>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742" y="2614"/>
              <a:ext cx="1774" cy="1230"/>
            </a:xfrm>
            <a:prstGeom prst="rect">
              <a:avLst/>
            </a:prstGeom>
            <a:noFill/>
            <a:ln w="6350" algn="ctr">
              <a:noFill/>
              <a:miter lim="800000"/>
              <a:headEnd/>
              <a:tailEnd/>
            </a:ln>
          </p:spPr>
        </p:pic>
        <p:sp>
          <p:nvSpPr>
            <p:cNvPr id="156686" name="Rectangle 10"/>
            <p:cNvSpPr>
              <a:spLocks noChangeArrowheads="1"/>
            </p:cNvSpPr>
            <p:nvPr/>
          </p:nvSpPr>
          <p:spPr bwMode="auto">
            <a:xfrm>
              <a:off x="3765" y="2647"/>
              <a:ext cx="253" cy="137"/>
            </a:xfrm>
            <a:prstGeom prst="rect">
              <a:avLst/>
            </a:prstGeom>
            <a:solidFill>
              <a:schemeClr val="bg1"/>
            </a:solidFill>
            <a:ln w="6350" algn="ctr">
              <a:noFill/>
              <a:miter lim="800000"/>
              <a:headEnd/>
              <a:tailEnd/>
            </a:ln>
          </p:spPr>
          <p:txBody>
            <a:bodyPr anchor="ctr">
              <a:spAutoFit/>
            </a:bodyPr>
            <a:lstStyle/>
            <a:p>
              <a:endParaRPr lang="en-US"/>
            </a:p>
          </p:txBody>
        </p:sp>
      </p:grpSp>
      <p:grpSp>
        <p:nvGrpSpPr>
          <p:cNvPr id="156682" name="Group 13"/>
          <p:cNvGrpSpPr>
            <a:grpSpLocks/>
          </p:cNvGrpSpPr>
          <p:nvPr/>
        </p:nvGrpSpPr>
        <p:grpSpPr bwMode="auto">
          <a:xfrm>
            <a:off x="7380288" y="2255838"/>
            <a:ext cx="1474787" cy="1962150"/>
            <a:chOff x="4649" y="1253"/>
            <a:chExt cx="929" cy="1236"/>
          </a:xfrm>
        </p:grpSpPr>
        <p:pic>
          <p:nvPicPr>
            <p:cNvPr id="156683" name="Picture 7"/>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649" y="1253"/>
              <a:ext cx="929" cy="1236"/>
            </a:xfrm>
            <a:prstGeom prst="rect">
              <a:avLst/>
            </a:prstGeom>
            <a:noFill/>
            <a:ln w="6350" algn="ctr">
              <a:noFill/>
              <a:miter lim="800000"/>
              <a:headEnd/>
              <a:tailEnd/>
            </a:ln>
          </p:spPr>
        </p:pic>
        <p:sp>
          <p:nvSpPr>
            <p:cNvPr id="156684" name="Rectangle 11"/>
            <p:cNvSpPr>
              <a:spLocks noChangeArrowheads="1"/>
            </p:cNvSpPr>
            <p:nvPr/>
          </p:nvSpPr>
          <p:spPr bwMode="auto">
            <a:xfrm>
              <a:off x="4670" y="1281"/>
              <a:ext cx="164" cy="135"/>
            </a:xfrm>
            <a:prstGeom prst="rect">
              <a:avLst/>
            </a:prstGeom>
            <a:solidFill>
              <a:schemeClr val="bg1"/>
            </a:solidFill>
            <a:ln w="6350" algn="ctr">
              <a:noFill/>
              <a:miter lim="800000"/>
              <a:headEnd/>
              <a:tailEnd/>
            </a:ln>
          </p:spPr>
          <p:txBody>
            <a:bodyPr anchor="ctr">
              <a:spAutoFit/>
            </a:bodyPr>
            <a:lstStyle/>
            <a:p>
              <a:endParaRPr lang="en-US"/>
            </a:p>
          </p:txBody>
        </p:sp>
      </p:grpSp>
    </p:spTree>
    <p:extLst>
      <p:ext uri="{BB962C8B-B14F-4D97-AF65-F5344CB8AC3E}">
        <p14:creationId xmlns:p14="http://schemas.microsoft.com/office/powerpoint/2010/main" val="750662312"/>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ChangeArrowheads="1"/>
          </p:cNvSpPr>
          <p:nvPr>
            <p:ph type="title"/>
          </p:nvPr>
        </p:nvSpPr>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5S environment - Everyday application in the Kitchen</a:t>
            </a:r>
          </a:p>
        </p:txBody>
      </p:sp>
      <p:sp>
        <p:nvSpPr>
          <p:cNvPr id="16" name="Slide Number Placeholder 4"/>
          <p:cNvSpPr>
            <a:spLocks noGrp="1"/>
          </p:cNvSpPr>
          <p:nvPr>
            <p:ph type="sldNum" sz="quarter" idx="11"/>
          </p:nvPr>
        </p:nvSpPr>
        <p:spPr>
          <a:noFill/>
        </p:spPr>
        <p:txBody>
          <a:bodyPr/>
          <a:lstStyle/>
          <a:p>
            <a:fld id="{D7BA8602-1D36-42F3-9ADD-DC3FBBDDCECF}" type="slidenum">
              <a:rPr lang="en-GB" altLang="en-GB"/>
              <a:pPr/>
              <a:t>39</a:t>
            </a:fld>
            <a:endParaRPr lang="en-GB" altLang="en-GB"/>
          </a:p>
        </p:txBody>
      </p:sp>
      <p:sp>
        <p:nvSpPr>
          <p:cNvPr id="157699" name="Text Box 3"/>
          <p:cNvSpPr txBox="1">
            <a:spLocks noChangeArrowheads="1"/>
          </p:cNvSpPr>
          <p:nvPr/>
        </p:nvSpPr>
        <p:spPr bwMode="gray">
          <a:xfrm>
            <a:off x="6084888" y="5888038"/>
            <a:ext cx="2735262" cy="252412"/>
          </a:xfrm>
          <a:prstGeom prst="rect">
            <a:avLst/>
          </a:prstGeom>
          <a:solidFill>
            <a:schemeClr val="accent3"/>
          </a:solidFill>
          <a:ln w="12700" algn="ctr">
            <a:noFill/>
            <a:miter lim="800000"/>
            <a:headEnd/>
            <a:tailEnd/>
          </a:ln>
        </p:spPr>
        <p:txBody>
          <a:bodyPr lIns="0" tIns="0" rIns="0" bIns="0" anchor="ctr"/>
          <a:lstStyle/>
          <a:p>
            <a:pPr algn="ctr">
              <a:spcBef>
                <a:spcPct val="50000"/>
              </a:spcBef>
            </a:pPr>
            <a:r>
              <a:rPr lang="en-GB" sz="1400">
                <a:solidFill>
                  <a:schemeClr val="bg1"/>
                </a:solidFill>
              </a:rPr>
              <a:t>5. Sustain</a:t>
            </a:r>
          </a:p>
        </p:txBody>
      </p:sp>
      <p:pic>
        <p:nvPicPr>
          <p:cNvPr id="157700" name="Picture 4" descr="1 - Current State - So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488" y="1135063"/>
            <a:ext cx="2755900" cy="2066925"/>
          </a:xfrm>
          <a:prstGeom prst="rect">
            <a:avLst/>
          </a:prstGeom>
          <a:noFill/>
          <a:ln w="9525">
            <a:noFill/>
            <a:miter lim="800000"/>
            <a:headEnd/>
            <a:tailEnd/>
          </a:ln>
        </p:spPr>
      </p:pic>
      <p:pic>
        <p:nvPicPr>
          <p:cNvPr id="157701" name="Picture 5" descr="2 - Sorte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76600" y="1135063"/>
            <a:ext cx="2752725" cy="2063750"/>
          </a:xfrm>
          <a:prstGeom prst="rect">
            <a:avLst/>
          </a:prstGeom>
          <a:noFill/>
          <a:ln w="9525">
            <a:noFill/>
            <a:miter lim="800000"/>
            <a:headEnd/>
            <a:tailEnd/>
          </a:ln>
        </p:spPr>
      </p:pic>
      <p:pic>
        <p:nvPicPr>
          <p:cNvPr id="157702" name="Picture 6" descr="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84888" y="1141413"/>
            <a:ext cx="2752725" cy="2063750"/>
          </a:xfrm>
          <a:prstGeom prst="rect">
            <a:avLst/>
          </a:prstGeom>
          <a:noFill/>
          <a:ln w="9525" algn="ctr">
            <a:noFill/>
            <a:miter lim="800000"/>
            <a:headEnd/>
            <a:tailEnd/>
          </a:ln>
        </p:spPr>
      </p:pic>
      <p:pic>
        <p:nvPicPr>
          <p:cNvPr id="157703" name="Picture 7" descr="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84888" y="1135063"/>
            <a:ext cx="2752725" cy="2063750"/>
          </a:xfrm>
          <a:prstGeom prst="rect">
            <a:avLst/>
          </a:prstGeom>
          <a:noFill/>
          <a:ln w="9525">
            <a:noFill/>
            <a:miter lim="800000"/>
            <a:headEnd/>
            <a:tailEnd/>
          </a:ln>
        </p:spPr>
      </p:pic>
      <p:pic>
        <p:nvPicPr>
          <p:cNvPr id="157704" name="Picture 8" descr="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8313" y="3727450"/>
            <a:ext cx="2752725" cy="2063750"/>
          </a:xfrm>
          <a:prstGeom prst="rect">
            <a:avLst/>
          </a:prstGeom>
          <a:noFill/>
          <a:ln w="9525">
            <a:noFill/>
            <a:miter lim="800000"/>
            <a:headEnd/>
            <a:tailEnd/>
          </a:ln>
        </p:spPr>
      </p:pic>
      <p:pic>
        <p:nvPicPr>
          <p:cNvPr id="157705" name="Picture 9" descr="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84888" y="3727450"/>
            <a:ext cx="2752725" cy="2063750"/>
          </a:xfrm>
          <a:prstGeom prst="rect">
            <a:avLst/>
          </a:prstGeom>
          <a:noFill/>
          <a:ln w="9525">
            <a:noFill/>
            <a:miter lim="800000"/>
            <a:headEnd/>
            <a:tailEnd/>
          </a:ln>
        </p:spPr>
      </p:pic>
      <p:sp>
        <p:nvSpPr>
          <p:cNvPr id="157706" name="Text Box 10"/>
          <p:cNvSpPr txBox="1">
            <a:spLocks noChangeArrowheads="1"/>
          </p:cNvSpPr>
          <p:nvPr/>
        </p:nvSpPr>
        <p:spPr bwMode="gray">
          <a:xfrm>
            <a:off x="3276600" y="5888038"/>
            <a:ext cx="2735263" cy="692150"/>
          </a:xfrm>
          <a:prstGeom prst="rect">
            <a:avLst/>
          </a:prstGeom>
          <a:solidFill>
            <a:schemeClr val="accent3"/>
          </a:solidFill>
          <a:ln w="12700" algn="ctr">
            <a:noFill/>
            <a:miter lim="800000"/>
            <a:headEnd/>
            <a:tailEnd/>
          </a:ln>
        </p:spPr>
        <p:txBody>
          <a:bodyPr lIns="0" tIns="0" rIns="0" bIns="0" anchor="ctr"/>
          <a:lstStyle/>
          <a:p>
            <a:pPr algn="ctr">
              <a:spcBef>
                <a:spcPct val="50000"/>
              </a:spcBef>
            </a:pPr>
            <a:r>
              <a:rPr lang="en-GB" sz="1400">
                <a:solidFill>
                  <a:schemeClr val="bg1"/>
                </a:solidFill>
              </a:rPr>
              <a:t>4. Standardise – Example of not educating others in the standard</a:t>
            </a:r>
          </a:p>
        </p:txBody>
      </p:sp>
      <p:sp>
        <p:nvSpPr>
          <p:cNvPr id="157707" name="Text Box 11"/>
          <p:cNvSpPr txBox="1">
            <a:spLocks noChangeArrowheads="1"/>
          </p:cNvSpPr>
          <p:nvPr/>
        </p:nvSpPr>
        <p:spPr bwMode="gray">
          <a:xfrm>
            <a:off x="468313" y="5888038"/>
            <a:ext cx="2735262" cy="252412"/>
          </a:xfrm>
          <a:prstGeom prst="rect">
            <a:avLst/>
          </a:prstGeom>
          <a:solidFill>
            <a:schemeClr val="accent3"/>
          </a:solidFill>
          <a:ln w="12700" algn="ctr">
            <a:noFill/>
            <a:miter lim="800000"/>
            <a:headEnd/>
            <a:tailEnd/>
          </a:ln>
        </p:spPr>
        <p:txBody>
          <a:bodyPr lIns="0" tIns="0" rIns="0" bIns="0" anchor="ctr"/>
          <a:lstStyle/>
          <a:p>
            <a:pPr algn="ctr">
              <a:spcBef>
                <a:spcPct val="50000"/>
              </a:spcBef>
            </a:pPr>
            <a:r>
              <a:rPr lang="en-GB" sz="1400">
                <a:solidFill>
                  <a:schemeClr val="bg1"/>
                </a:solidFill>
              </a:rPr>
              <a:t>3. Shine (Clean and Inspect)</a:t>
            </a:r>
          </a:p>
        </p:txBody>
      </p:sp>
      <p:sp>
        <p:nvSpPr>
          <p:cNvPr id="157708" name="Text Box 12"/>
          <p:cNvSpPr txBox="1">
            <a:spLocks noChangeArrowheads="1"/>
          </p:cNvSpPr>
          <p:nvPr/>
        </p:nvSpPr>
        <p:spPr bwMode="gray">
          <a:xfrm>
            <a:off x="468313" y="3295650"/>
            <a:ext cx="2735262" cy="252413"/>
          </a:xfrm>
          <a:prstGeom prst="rect">
            <a:avLst/>
          </a:prstGeom>
          <a:solidFill>
            <a:schemeClr val="accent3"/>
          </a:solidFill>
          <a:ln w="12700" algn="ctr">
            <a:noFill/>
            <a:miter lim="800000"/>
            <a:headEnd/>
            <a:tailEnd/>
          </a:ln>
        </p:spPr>
        <p:txBody>
          <a:bodyPr lIns="0" tIns="0" rIns="0" bIns="0" anchor="ctr"/>
          <a:lstStyle/>
          <a:p>
            <a:pPr algn="ctr">
              <a:spcBef>
                <a:spcPct val="50000"/>
              </a:spcBef>
            </a:pPr>
            <a:r>
              <a:rPr lang="en-GB" sz="1400">
                <a:solidFill>
                  <a:schemeClr val="bg1"/>
                </a:solidFill>
              </a:rPr>
              <a:t>Current State</a:t>
            </a:r>
          </a:p>
        </p:txBody>
      </p:sp>
      <p:sp>
        <p:nvSpPr>
          <p:cNvPr id="157709" name="Text Box 13"/>
          <p:cNvSpPr txBox="1">
            <a:spLocks noChangeArrowheads="1"/>
          </p:cNvSpPr>
          <p:nvPr/>
        </p:nvSpPr>
        <p:spPr bwMode="gray">
          <a:xfrm>
            <a:off x="3276600" y="3295650"/>
            <a:ext cx="2735263" cy="252413"/>
          </a:xfrm>
          <a:prstGeom prst="rect">
            <a:avLst/>
          </a:prstGeom>
          <a:solidFill>
            <a:schemeClr val="accent3"/>
          </a:solidFill>
          <a:ln w="12700" algn="ctr">
            <a:noFill/>
            <a:miter lim="800000"/>
            <a:headEnd/>
            <a:tailEnd/>
          </a:ln>
        </p:spPr>
        <p:txBody>
          <a:bodyPr lIns="0" tIns="0" rIns="0" bIns="0" anchor="ctr"/>
          <a:lstStyle/>
          <a:p>
            <a:pPr algn="ctr">
              <a:spcBef>
                <a:spcPct val="50000"/>
              </a:spcBef>
            </a:pPr>
            <a:r>
              <a:rPr lang="en-GB" sz="1400">
                <a:solidFill>
                  <a:schemeClr val="bg1"/>
                </a:solidFill>
              </a:rPr>
              <a:t>1. Sort</a:t>
            </a:r>
          </a:p>
        </p:txBody>
      </p:sp>
      <p:sp>
        <p:nvSpPr>
          <p:cNvPr id="157710" name="Text Box 14"/>
          <p:cNvSpPr txBox="1">
            <a:spLocks noChangeArrowheads="1"/>
          </p:cNvSpPr>
          <p:nvPr/>
        </p:nvSpPr>
        <p:spPr bwMode="gray">
          <a:xfrm>
            <a:off x="6084888" y="3295650"/>
            <a:ext cx="2735262" cy="252413"/>
          </a:xfrm>
          <a:prstGeom prst="rect">
            <a:avLst/>
          </a:prstGeom>
          <a:solidFill>
            <a:schemeClr val="accent3"/>
          </a:solidFill>
          <a:ln w="12700" algn="ctr">
            <a:noFill/>
            <a:miter lim="800000"/>
            <a:headEnd/>
            <a:tailEnd/>
          </a:ln>
        </p:spPr>
        <p:txBody>
          <a:bodyPr lIns="0" tIns="0" rIns="0" bIns="0" anchor="ctr"/>
          <a:lstStyle/>
          <a:p>
            <a:pPr algn="ctr">
              <a:spcBef>
                <a:spcPct val="50000"/>
              </a:spcBef>
            </a:pPr>
            <a:r>
              <a:rPr lang="en-GB" sz="1400" dirty="0">
                <a:solidFill>
                  <a:schemeClr val="bg1"/>
                </a:solidFill>
              </a:rPr>
              <a:t>2. Set in Order</a:t>
            </a:r>
          </a:p>
        </p:txBody>
      </p:sp>
      <p:pic>
        <p:nvPicPr>
          <p:cNvPr id="157711" name="Picture 15" descr="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76600" y="3727450"/>
            <a:ext cx="2749550" cy="2062163"/>
          </a:xfrm>
          <a:prstGeom prst="rect">
            <a:avLst/>
          </a:prstGeom>
          <a:noFill/>
          <a:ln w="9525">
            <a:noFill/>
            <a:miter lim="800000"/>
            <a:headEnd/>
            <a:tailEnd/>
          </a:ln>
        </p:spPr>
      </p:pic>
    </p:spTree>
    <p:extLst>
      <p:ext uri="{BB962C8B-B14F-4D97-AF65-F5344CB8AC3E}">
        <p14:creationId xmlns:p14="http://schemas.microsoft.com/office/powerpoint/2010/main" val="226767821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9"/>
          <p:cNvSpPr>
            <a:spLocks noGrp="1" noChangeArrowheads="1"/>
          </p:cNvSpPr>
          <p:nvPr>
            <p:ph type="title"/>
          </p:nvPr>
        </p:nvSpPr>
        <p:spPr/>
        <p:txBody>
          <a:bodyPr/>
          <a:lstStyle/>
          <a:p>
            <a:pPr eaLnBrk="1" hangingPunct="1"/>
            <a:r>
              <a:rPr lang="en-GB" sz="2400" smtClean="0"/>
              <a:t>The Deloitte 5 Workshop Approach </a:t>
            </a:r>
            <a:r>
              <a:rPr lang="en-GB" sz="3500" smtClean="0"/>
              <a:t/>
            </a:r>
            <a:br>
              <a:rPr lang="en-GB" sz="3500" smtClean="0"/>
            </a:br>
            <a:r>
              <a:rPr lang="en-GB" sz="1800" b="1" smtClean="0">
                <a:solidFill>
                  <a:srgbClr val="99CC33"/>
                </a:solidFill>
                <a:cs typeface="Arial" pitchFamily="34" charset="0"/>
              </a:rPr>
              <a:t> Where does today fit in the 5 Workshop approach?</a:t>
            </a:r>
          </a:p>
        </p:txBody>
      </p:sp>
      <p:sp>
        <p:nvSpPr>
          <p:cNvPr id="126979" name="Slide Number Placeholder 4"/>
          <p:cNvSpPr>
            <a:spLocks noGrp="1"/>
          </p:cNvSpPr>
          <p:nvPr>
            <p:ph type="sldNum" sz="quarter" idx="11"/>
          </p:nvPr>
        </p:nvSpPr>
        <p:spPr>
          <a:noFill/>
        </p:spPr>
        <p:txBody>
          <a:bodyPr/>
          <a:lstStyle/>
          <a:p>
            <a:fld id="{2BC2813E-271C-4D41-AE3F-B9DD4209B7EB}" type="slidenum">
              <a:rPr lang="en-GB" altLang="en-GB"/>
              <a:pPr/>
              <a:t>4</a:t>
            </a:fld>
            <a:endParaRPr lang="en-GB" altLang="en-GB"/>
          </a:p>
        </p:txBody>
      </p:sp>
      <p:sp>
        <p:nvSpPr>
          <p:cNvPr id="39" name="Rectangle 44"/>
          <p:cNvSpPr>
            <a:spLocks noChangeArrowheads="1"/>
          </p:cNvSpPr>
          <p:nvPr/>
        </p:nvSpPr>
        <p:spPr bwMode="auto">
          <a:xfrm>
            <a:off x="250825" y="1052513"/>
            <a:ext cx="8713788" cy="5259387"/>
          </a:xfrm>
          <a:prstGeom prst="rect">
            <a:avLst/>
          </a:prstGeom>
          <a:solidFill>
            <a:srgbClr val="B2B2FF"/>
          </a:solidFill>
          <a:ln w="9525">
            <a:solidFill>
              <a:schemeClr val="tx1"/>
            </a:solidFill>
            <a:miter lim="800000"/>
            <a:headEnd/>
            <a:tailEnd/>
          </a:ln>
        </p:spPr>
        <p:txBody>
          <a:bodyPr wrap="none" anchor="ctr"/>
          <a:lstStyle/>
          <a:p>
            <a:endParaRPr lang="en-US" b="1">
              <a:solidFill>
                <a:srgbClr val="FFFFFF"/>
              </a:solidFill>
            </a:endParaRPr>
          </a:p>
        </p:txBody>
      </p:sp>
      <p:sp>
        <p:nvSpPr>
          <p:cNvPr id="40" name="Rectangle 3"/>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1" name="Rectangle 4"/>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2" name="Rectangle 5"/>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3" name="Rectangle 6"/>
          <p:cNvSpPr>
            <a:spLocks noChangeArrowheads="1"/>
          </p:cNvSpPr>
          <p:nvPr/>
        </p:nvSpPr>
        <p:spPr bwMode="auto">
          <a:xfrm>
            <a:off x="2960688" y="1217613"/>
            <a:ext cx="10985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4" name="Rectangle 7"/>
          <p:cNvSpPr>
            <a:spLocks noChangeArrowheads="1"/>
          </p:cNvSpPr>
          <p:nvPr/>
        </p:nvSpPr>
        <p:spPr bwMode="auto">
          <a:xfrm>
            <a:off x="2928938" y="1217613"/>
            <a:ext cx="1162050" cy="366712"/>
          </a:xfrm>
          <a:prstGeom prst="rect">
            <a:avLst/>
          </a:prstGeom>
          <a:noFill/>
          <a:ln w="9525">
            <a:noFill/>
            <a:miter lim="800000"/>
            <a:headEnd/>
            <a:tailEnd/>
          </a:ln>
        </p:spPr>
        <p:txBody>
          <a:bodyPr wrap="none" anchor="ctr">
            <a:spAutoFit/>
          </a:bodyPr>
          <a:lstStyle/>
          <a:p>
            <a:r>
              <a:rPr lang="en-GB">
                <a:solidFill>
                  <a:srgbClr val="FFFFFF"/>
                </a:solidFill>
              </a:rPr>
              <a:t>	 </a:t>
            </a:r>
          </a:p>
        </p:txBody>
      </p:sp>
      <p:sp>
        <p:nvSpPr>
          <p:cNvPr id="45" name="Text Box 8"/>
          <p:cNvSpPr txBox="1">
            <a:spLocks noChangeArrowheads="1"/>
          </p:cNvSpPr>
          <p:nvPr/>
        </p:nvSpPr>
        <p:spPr bwMode="gray">
          <a:xfrm>
            <a:off x="649288" y="2781300"/>
            <a:ext cx="1306512"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Lean Awarenes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Validation of end to end process scope</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Value tree analysi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Refine charter</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Confirm data requirement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Identify design boundaries</a:t>
            </a:r>
          </a:p>
        </p:txBody>
      </p:sp>
      <p:sp>
        <p:nvSpPr>
          <p:cNvPr id="46" name="Text Box 9"/>
          <p:cNvSpPr txBox="1">
            <a:spLocks noChangeArrowheads="1"/>
          </p:cNvSpPr>
          <p:nvPr/>
        </p:nvSpPr>
        <p:spPr bwMode="gray">
          <a:xfrm>
            <a:off x="3413125" y="2781300"/>
            <a:ext cx="1306513"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Seeing is Believing - Walk the process to understand what really happens, how long it takes, and what the key issues are</a:t>
            </a:r>
          </a:p>
          <a:p>
            <a:pPr marL="119063" indent="-119063">
              <a:lnSpc>
                <a:spcPct val="90000"/>
              </a:lnSpc>
              <a:spcBef>
                <a:spcPct val="30000"/>
              </a:spcBef>
              <a:buClr>
                <a:srgbClr val="000066"/>
              </a:buClr>
              <a:buFont typeface="Wingdings" pitchFamily="2" charset="2"/>
              <a:buChar char="§"/>
            </a:pPr>
            <a:r>
              <a:rPr lang="en-US" sz="900" b="0">
                <a:solidFill>
                  <a:srgbClr val="000066"/>
                </a:solidFill>
              </a:rPr>
              <a:t>Construct the current end to end value stream map</a:t>
            </a:r>
          </a:p>
        </p:txBody>
      </p:sp>
      <p:sp>
        <p:nvSpPr>
          <p:cNvPr id="47" name="Text Box 10"/>
          <p:cNvSpPr txBox="1">
            <a:spLocks noChangeArrowheads="1"/>
          </p:cNvSpPr>
          <p:nvPr/>
        </p:nvSpPr>
        <p:spPr bwMode="gray">
          <a:xfrm>
            <a:off x="6178550" y="2781300"/>
            <a:ext cx="1306513"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Identify the implementation work packages and draft charters</a:t>
            </a:r>
          </a:p>
          <a:p>
            <a:pPr marL="119063" indent="-119063">
              <a:lnSpc>
                <a:spcPct val="90000"/>
              </a:lnSpc>
              <a:spcBef>
                <a:spcPct val="30000"/>
              </a:spcBef>
              <a:buClr>
                <a:srgbClr val="000066"/>
              </a:buClr>
              <a:buFont typeface="Wingdings" pitchFamily="2" charset="2"/>
              <a:buChar char="§"/>
            </a:pPr>
            <a:r>
              <a:rPr lang="en-US" sz="900" b="0">
                <a:solidFill>
                  <a:srgbClr val="000066"/>
                </a:solidFill>
              </a:rPr>
              <a:t>Prioritise work packages</a:t>
            </a:r>
          </a:p>
          <a:p>
            <a:pPr marL="119063" indent="-119063">
              <a:lnSpc>
                <a:spcPct val="90000"/>
              </a:lnSpc>
              <a:spcBef>
                <a:spcPct val="30000"/>
              </a:spcBef>
              <a:buClr>
                <a:srgbClr val="000066"/>
              </a:buClr>
              <a:buFont typeface="Wingdings" pitchFamily="2" charset="2"/>
              <a:buChar char="§"/>
            </a:pPr>
            <a:r>
              <a:rPr lang="en-US" sz="900" b="0">
                <a:solidFill>
                  <a:srgbClr val="000066"/>
                </a:solidFill>
              </a:rPr>
              <a:t>Define a high-level implementation plan</a:t>
            </a:r>
          </a:p>
          <a:p>
            <a:pPr marL="119063" indent="-119063">
              <a:lnSpc>
                <a:spcPct val="90000"/>
              </a:lnSpc>
              <a:spcBef>
                <a:spcPct val="30000"/>
              </a:spcBef>
              <a:buClr>
                <a:srgbClr val="000066"/>
              </a:buClr>
              <a:buFont typeface="Wingdings" pitchFamily="2" charset="2"/>
              <a:buChar char="§"/>
            </a:pPr>
            <a:r>
              <a:rPr lang="en-US" sz="900" b="0">
                <a:solidFill>
                  <a:srgbClr val="000066"/>
                </a:solidFill>
              </a:rPr>
              <a:t>Agree pilot content</a:t>
            </a:r>
          </a:p>
          <a:p>
            <a:pPr marL="119063" indent="-119063">
              <a:lnSpc>
                <a:spcPct val="90000"/>
              </a:lnSpc>
              <a:spcBef>
                <a:spcPct val="30000"/>
              </a:spcBef>
              <a:buClr>
                <a:srgbClr val="000066"/>
              </a:buClr>
              <a:buFont typeface="Wingdings" pitchFamily="2" charset="2"/>
              <a:buChar char="§"/>
            </a:pPr>
            <a:r>
              <a:rPr lang="en-US" sz="900" b="0">
                <a:solidFill>
                  <a:srgbClr val="000066"/>
                </a:solidFill>
              </a:rPr>
              <a:t>Agree governance and gain stakeholder buy-in</a:t>
            </a:r>
          </a:p>
        </p:txBody>
      </p:sp>
      <p:sp>
        <p:nvSpPr>
          <p:cNvPr id="48" name="Text Box 11"/>
          <p:cNvSpPr txBox="1">
            <a:spLocks noChangeArrowheads="1"/>
          </p:cNvSpPr>
          <p:nvPr/>
        </p:nvSpPr>
        <p:spPr bwMode="gray">
          <a:xfrm>
            <a:off x="4795838" y="2781300"/>
            <a:ext cx="1306512"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Conduct value and waste analysis; identify what is preventing the value to flow</a:t>
            </a:r>
          </a:p>
          <a:p>
            <a:pPr marL="119063" indent="-119063">
              <a:lnSpc>
                <a:spcPct val="90000"/>
              </a:lnSpc>
              <a:spcBef>
                <a:spcPct val="30000"/>
              </a:spcBef>
              <a:buClr>
                <a:srgbClr val="000066"/>
              </a:buClr>
              <a:buFont typeface="Wingdings" pitchFamily="2" charset="2"/>
              <a:buChar char="§"/>
            </a:pPr>
            <a:r>
              <a:rPr lang="en-US" sz="900" b="0">
                <a:solidFill>
                  <a:srgbClr val="000066"/>
                </a:solidFill>
              </a:rPr>
              <a:t>Define blue sky vision and agree future state lean design principles</a:t>
            </a:r>
          </a:p>
          <a:p>
            <a:pPr marL="119063" indent="-119063">
              <a:lnSpc>
                <a:spcPct val="90000"/>
              </a:lnSpc>
              <a:spcBef>
                <a:spcPct val="30000"/>
              </a:spcBef>
              <a:buClr>
                <a:srgbClr val="000066"/>
              </a:buClr>
              <a:buFont typeface="Wingdings" pitchFamily="2" charset="2"/>
              <a:buChar char="§"/>
            </a:pPr>
            <a:r>
              <a:rPr lang="en-US" sz="900" b="0">
                <a:solidFill>
                  <a:srgbClr val="000066"/>
                </a:solidFill>
              </a:rPr>
              <a:t>Map the future state</a:t>
            </a:r>
          </a:p>
          <a:p>
            <a:pPr marL="119063" indent="-119063">
              <a:lnSpc>
                <a:spcPct val="90000"/>
              </a:lnSpc>
              <a:spcBef>
                <a:spcPct val="30000"/>
              </a:spcBef>
              <a:buClr>
                <a:srgbClr val="000066"/>
              </a:buClr>
              <a:buFont typeface="Wingdings" pitchFamily="2" charset="2"/>
              <a:buChar char="§"/>
            </a:pPr>
            <a:r>
              <a:rPr lang="en-US" sz="900" b="0">
                <a:solidFill>
                  <a:srgbClr val="000066"/>
                </a:solidFill>
              </a:rPr>
              <a:t>Highlight benefits</a:t>
            </a:r>
          </a:p>
        </p:txBody>
      </p:sp>
      <p:sp>
        <p:nvSpPr>
          <p:cNvPr id="49" name="Text Box 12"/>
          <p:cNvSpPr txBox="1">
            <a:spLocks noChangeArrowheads="1"/>
          </p:cNvSpPr>
          <p:nvPr/>
        </p:nvSpPr>
        <p:spPr bwMode="gray">
          <a:xfrm>
            <a:off x="2030413" y="2781300"/>
            <a:ext cx="1306512"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Lean education by “doing” in a practical environment - team building</a:t>
            </a:r>
          </a:p>
          <a:p>
            <a:pPr marL="119063" indent="-119063">
              <a:lnSpc>
                <a:spcPct val="90000"/>
              </a:lnSpc>
              <a:spcBef>
                <a:spcPct val="30000"/>
              </a:spcBef>
              <a:buClr>
                <a:srgbClr val="000066"/>
              </a:buClr>
              <a:buFont typeface="Wingdings" pitchFamily="2" charset="2"/>
              <a:buChar char="§"/>
            </a:pPr>
            <a:r>
              <a:rPr lang="en-US" sz="900" b="0">
                <a:solidFill>
                  <a:srgbClr val="000066"/>
                </a:solidFill>
              </a:rPr>
              <a:t>Review charter, SIPOC and demand</a:t>
            </a:r>
          </a:p>
          <a:p>
            <a:pPr marL="119063" indent="-119063">
              <a:lnSpc>
                <a:spcPct val="90000"/>
              </a:lnSpc>
              <a:spcBef>
                <a:spcPct val="30000"/>
              </a:spcBef>
              <a:buClr>
                <a:srgbClr val="000066"/>
              </a:buClr>
              <a:buFont typeface="Wingdings" pitchFamily="2" charset="2"/>
              <a:buChar char="§"/>
            </a:pPr>
            <a:r>
              <a:rPr lang="en-US" sz="900" b="0">
                <a:solidFill>
                  <a:srgbClr val="000066"/>
                </a:solidFill>
              </a:rPr>
              <a:t>Understand who the customers are (VOC) and their requirements</a:t>
            </a:r>
          </a:p>
          <a:p>
            <a:pPr marL="119063" indent="-119063">
              <a:lnSpc>
                <a:spcPct val="90000"/>
              </a:lnSpc>
              <a:spcBef>
                <a:spcPct val="30000"/>
              </a:spcBef>
              <a:buClr>
                <a:srgbClr val="000066"/>
              </a:buClr>
              <a:buFont typeface="Wingdings" pitchFamily="2" charset="2"/>
              <a:buChar char="§"/>
            </a:pPr>
            <a:r>
              <a:rPr lang="en-US" sz="900" b="0">
                <a:solidFill>
                  <a:srgbClr val="000066"/>
                </a:solidFill>
              </a:rPr>
              <a:t>Value Stream Flow</a:t>
            </a:r>
          </a:p>
          <a:p>
            <a:pPr marL="119063" indent="-119063">
              <a:lnSpc>
                <a:spcPct val="90000"/>
              </a:lnSpc>
              <a:spcBef>
                <a:spcPct val="30000"/>
              </a:spcBef>
              <a:buClr>
                <a:srgbClr val="000066"/>
              </a:buClr>
              <a:buFont typeface="Wingdings" pitchFamily="2" charset="2"/>
              <a:buChar char="§"/>
            </a:pPr>
            <a:r>
              <a:rPr lang="en-US" sz="900" b="0">
                <a:solidFill>
                  <a:srgbClr val="000066"/>
                </a:solidFill>
              </a:rPr>
              <a:t>Plan for ‘seeing is believing’</a:t>
            </a:r>
          </a:p>
        </p:txBody>
      </p:sp>
      <p:sp>
        <p:nvSpPr>
          <p:cNvPr id="50" name="Rectangle 13"/>
          <p:cNvSpPr>
            <a:spLocks noChangeArrowheads="1"/>
          </p:cNvSpPr>
          <p:nvPr/>
        </p:nvSpPr>
        <p:spPr bwMode="auto">
          <a:xfrm rot="10800000">
            <a:off x="334963" y="2782888"/>
            <a:ext cx="263525" cy="1690687"/>
          </a:xfrm>
          <a:prstGeom prst="rect">
            <a:avLst/>
          </a:prstGeom>
          <a:solidFill>
            <a:schemeClr val="accent1"/>
          </a:solidFill>
          <a:ln w="9525">
            <a:noFill/>
            <a:miter lim="800000"/>
            <a:headEnd/>
            <a:tailEnd/>
          </a:ln>
        </p:spPr>
        <p:txBody>
          <a:bodyPr vert="eaVert" wrap="none" lIns="0" tIns="0" rIns="0" bIns="0" anchor="ctr"/>
          <a:lstStyle/>
          <a:p>
            <a:pPr algn="ctr"/>
            <a:r>
              <a:rPr lang="en-GB" sz="1000" b="1">
                <a:solidFill>
                  <a:schemeClr val="bg1"/>
                </a:solidFill>
              </a:rPr>
              <a:t>Key Activities</a:t>
            </a:r>
          </a:p>
        </p:txBody>
      </p:sp>
      <p:sp>
        <p:nvSpPr>
          <p:cNvPr id="51" name="Text Box 19"/>
          <p:cNvSpPr txBox="1">
            <a:spLocks noChangeArrowheads="1"/>
          </p:cNvSpPr>
          <p:nvPr/>
        </p:nvSpPr>
        <p:spPr bwMode="gray">
          <a:xfrm>
            <a:off x="649288" y="1824038"/>
            <a:ext cx="1306512" cy="881062"/>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Project Kick-off</a:t>
            </a:r>
          </a:p>
          <a:p>
            <a:pPr marL="119063" indent="-119063">
              <a:lnSpc>
                <a:spcPct val="90000"/>
              </a:lnSpc>
              <a:spcBef>
                <a:spcPct val="30000"/>
              </a:spcBef>
              <a:buClr>
                <a:srgbClr val="000066"/>
              </a:buClr>
              <a:buFont typeface="Wingdings" pitchFamily="2" charset="2"/>
              <a:buChar char="§"/>
            </a:pPr>
            <a:r>
              <a:rPr lang="en-US" sz="900" b="0">
                <a:solidFill>
                  <a:srgbClr val="000066"/>
                </a:solidFill>
              </a:rPr>
              <a:t>Finalised Scope</a:t>
            </a:r>
          </a:p>
          <a:p>
            <a:pPr marL="119063" indent="-119063">
              <a:lnSpc>
                <a:spcPct val="90000"/>
              </a:lnSpc>
              <a:spcBef>
                <a:spcPct val="30000"/>
              </a:spcBef>
              <a:buClr>
                <a:srgbClr val="000066"/>
              </a:buClr>
              <a:buFont typeface="Wingdings" pitchFamily="2" charset="2"/>
              <a:buChar char="§"/>
            </a:pPr>
            <a:r>
              <a:rPr lang="en-US" sz="900" b="0">
                <a:solidFill>
                  <a:srgbClr val="000066"/>
                </a:solidFill>
              </a:rPr>
              <a:t>High-level process</a:t>
            </a:r>
          </a:p>
          <a:p>
            <a:pPr marL="119063" indent="-119063">
              <a:lnSpc>
                <a:spcPct val="90000"/>
              </a:lnSpc>
              <a:spcBef>
                <a:spcPct val="30000"/>
              </a:spcBef>
              <a:buClr>
                <a:srgbClr val="000066"/>
              </a:buClr>
              <a:buFont typeface="Wingdings" pitchFamily="2" charset="2"/>
              <a:buChar char="§"/>
            </a:pPr>
            <a:r>
              <a:rPr lang="en-US" sz="900" b="0">
                <a:solidFill>
                  <a:srgbClr val="000066"/>
                </a:solidFill>
              </a:rPr>
              <a:t>Team Selected</a:t>
            </a:r>
          </a:p>
          <a:p>
            <a:pPr marL="119063" indent="-119063">
              <a:lnSpc>
                <a:spcPct val="90000"/>
              </a:lnSpc>
              <a:spcBef>
                <a:spcPct val="30000"/>
              </a:spcBef>
              <a:buClr>
                <a:srgbClr val="000066"/>
              </a:buClr>
              <a:buFont typeface="Wingdings" pitchFamily="2" charset="2"/>
              <a:buChar char="§"/>
            </a:pPr>
            <a:r>
              <a:rPr lang="en-US" sz="900" b="0">
                <a:solidFill>
                  <a:srgbClr val="000066"/>
                </a:solidFill>
              </a:rPr>
              <a:t>High level plan agreed</a:t>
            </a:r>
          </a:p>
        </p:txBody>
      </p:sp>
      <p:sp>
        <p:nvSpPr>
          <p:cNvPr id="52" name="Text Box 20"/>
          <p:cNvSpPr txBox="1">
            <a:spLocks noChangeArrowheads="1"/>
          </p:cNvSpPr>
          <p:nvPr/>
        </p:nvSpPr>
        <p:spPr bwMode="gray">
          <a:xfrm>
            <a:off x="6178550" y="1824038"/>
            <a:ext cx="1306513" cy="577850"/>
          </a:xfrm>
          <a:prstGeom prst="rect">
            <a:avLst/>
          </a:prstGeom>
          <a:solidFill>
            <a:schemeClr val="bg2"/>
          </a:solidFill>
          <a:ln w="9525" algn="ctr">
            <a:noFill/>
            <a:miter lim="800000"/>
            <a:headEnd/>
            <a:tailEnd/>
          </a:ln>
        </p:spPr>
        <p:txBody>
          <a:bodyPr lIns="18288" rIns="54000"/>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Implementation plan &amp; charters</a:t>
            </a:r>
          </a:p>
          <a:p>
            <a:pPr marL="119063" indent="-119063">
              <a:lnSpc>
                <a:spcPct val="90000"/>
              </a:lnSpc>
              <a:spcBef>
                <a:spcPct val="30000"/>
              </a:spcBef>
              <a:buClr>
                <a:srgbClr val="000066"/>
              </a:buClr>
              <a:buFont typeface="Wingdings" pitchFamily="2" charset="2"/>
              <a:buChar char="§"/>
            </a:pPr>
            <a:r>
              <a:rPr lang="en-US" sz="900" b="0">
                <a:solidFill>
                  <a:srgbClr val="000066"/>
                </a:solidFill>
              </a:rPr>
              <a:t>Final Report back</a:t>
            </a:r>
          </a:p>
        </p:txBody>
      </p:sp>
      <p:sp>
        <p:nvSpPr>
          <p:cNvPr id="53" name="Text Box 21"/>
          <p:cNvSpPr txBox="1">
            <a:spLocks noChangeArrowheads="1"/>
          </p:cNvSpPr>
          <p:nvPr/>
        </p:nvSpPr>
        <p:spPr bwMode="gray">
          <a:xfrm>
            <a:off x="4795838" y="1824038"/>
            <a:ext cx="1306512" cy="57785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Future State map</a:t>
            </a:r>
          </a:p>
          <a:p>
            <a:pPr marL="119063" indent="-119063">
              <a:lnSpc>
                <a:spcPct val="90000"/>
              </a:lnSpc>
              <a:spcBef>
                <a:spcPct val="30000"/>
              </a:spcBef>
              <a:buClr>
                <a:srgbClr val="000066"/>
              </a:buClr>
              <a:buFont typeface="Wingdings" pitchFamily="2" charset="2"/>
              <a:buChar char="§"/>
            </a:pPr>
            <a:r>
              <a:rPr lang="en-US" sz="900" b="0">
                <a:solidFill>
                  <a:srgbClr val="000066"/>
                </a:solidFill>
              </a:rPr>
              <a:t>Report back to key stakeholders</a:t>
            </a:r>
          </a:p>
        </p:txBody>
      </p:sp>
      <p:sp>
        <p:nvSpPr>
          <p:cNvPr id="54" name="Text Box 22"/>
          <p:cNvSpPr txBox="1">
            <a:spLocks noChangeArrowheads="1"/>
          </p:cNvSpPr>
          <p:nvPr/>
        </p:nvSpPr>
        <p:spPr bwMode="gray">
          <a:xfrm>
            <a:off x="2030413" y="1824038"/>
            <a:ext cx="1306512" cy="57785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Customer requirements</a:t>
            </a:r>
          </a:p>
          <a:p>
            <a:pPr marL="119063" indent="-119063">
              <a:lnSpc>
                <a:spcPct val="90000"/>
              </a:lnSpc>
              <a:spcBef>
                <a:spcPct val="30000"/>
              </a:spcBef>
              <a:buClr>
                <a:srgbClr val="000066"/>
              </a:buClr>
              <a:buFont typeface="Wingdings" pitchFamily="2" charset="2"/>
              <a:buChar char="§"/>
            </a:pPr>
            <a:r>
              <a:rPr lang="en-US" sz="900" b="0">
                <a:solidFill>
                  <a:srgbClr val="000066"/>
                </a:solidFill>
              </a:rPr>
              <a:t>Plan interviews and current state mapping</a:t>
            </a:r>
          </a:p>
        </p:txBody>
      </p:sp>
      <p:sp>
        <p:nvSpPr>
          <p:cNvPr id="55" name="Rectangle 23"/>
          <p:cNvSpPr>
            <a:spLocks noChangeArrowheads="1"/>
          </p:cNvSpPr>
          <p:nvPr/>
        </p:nvSpPr>
        <p:spPr bwMode="auto">
          <a:xfrm rot="10800000">
            <a:off x="333375" y="1825625"/>
            <a:ext cx="263525" cy="881063"/>
          </a:xfrm>
          <a:prstGeom prst="rect">
            <a:avLst/>
          </a:prstGeom>
          <a:solidFill>
            <a:schemeClr val="accent1"/>
          </a:solidFill>
          <a:ln w="9525">
            <a:noFill/>
            <a:miter lim="800000"/>
            <a:headEnd/>
            <a:tailEnd/>
          </a:ln>
        </p:spPr>
        <p:txBody>
          <a:bodyPr vert="eaVert" wrap="none" lIns="0" tIns="0" rIns="0" bIns="0" anchor="ctr"/>
          <a:lstStyle/>
          <a:p>
            <a:pPr algn="ctr"/>
            <a:r>
              <a:rPr lang="en-GB" sz="1000" b="1">
                <a:solidFill>
                  <a:schemeClr val="bg1"/>
                </a:solidFill>
              </a:rPr>
              <a:t>Outputs</a:t>
            </a:r>
          </a:p>
        </p:txBody>
      </p:sp>
      <p:sp>
        <p:nvSpPr>
          <p:cNvPr id="56" name="Text Box 24"/>
          <p:cNvSpPr txBox="1">
            <a:spLocks noChangeArrowheads="1"/>
          </p:cNvSpPr>
          <p:nvPr/>
        </p:nvSpPr>
        <p:spPr bwMode="gray">
          <a:xfrm>
            <a:off x="3413125" y="1824038"/>
            <a:ext cx="1306513" cy="57785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Current State map</a:t>
            </a:r>
          </a:p>
          <a:p>
            <a:pPr marL="119063" indent="-119063">
              <a:lnSpc>
                <a:spcPct val="90000"/>
              </a:lnSpc>
              <a:spcBef>
                <a:spcPct val="30000"/>
              </a:spcBef>
              <a:buClr>
                <a:srgbClr val="000066"/>
              </a:buClr>
              <a:buFont typeface="Wingdings" pitchFamily="2" charset="2"/>
              <a:buChar char="§"/>
            </a:pPr>
            <a:r>
              <a:rPr lang="en-US" sz="900" b="0">
                <a:solidFill>
                  <a:srgbClr val="000066"/>
                </a:solidFill>
              </a:rPr>
              <a:t>Report back to key stakeholders</a:t>
            </a:r>
          </a:p>
        </p:txBody>
      </p:sp>
      <p:sp>
        <p:nvSpPr>
          <p:cNvPr id="57" name="Rectangle 25"/>
          <p:cNvSpPr>
            <a:spLocks noChangeArrowheads="1"/>
          </p:cNvSpPr>
          <p:nvPr/>
        </p:nvSpPr>
        <p:spPr bwMode="auto">
          <a:xfrm>
            <a:off x="7577138" y="1176338"/>
            <a:ext cx="1304925" cy="561975"/>
          </a:xfrm>
          <a:prstGeom prst="rect">
            <a:avLst/>
          </a:prstGeom>
          <a:solidFill>
            <a:srgbClr val="52D0FF"/>
          </a:solidFill>
          <a:ln w="9525" algn="ctr">
            <a:noFill/>
            <a:miter lim="800000"/>
            <a:headEnd/>
            <a:tailEnd/>
          </a:ln>
        </p:spPr>
        <p:txBody>
          <a:bodyPr lIns="45720" rIns="45720" anchor="ctr"/>
          <a:lstStyle/>
          <a:p>
            <a:pPr algn="ctr"/>
            <a:r>
              <a:rPr lang="en-US" sz="1000" b="1" dirty="0">
                <a:solidFill>
                  <a:schemeClr val="bg1"/>
                </a:solidFill>
              </a:rPr>
              <a:t>WP - Running the </a:t>
            </a:r>
          </a:p>
          <a:p>
            <a:pPr algn="ctr"/>
            <a:r>
              <a:rPr lang="en-US" sz="1000" b="1" dirty="0">
                <a:solidFill>
                  <a:schemeClr val="bg1"/>
                </a:solidFill>
              </a:rPr>
              <a:t>Work Pilot</a:t>
            </a:r>
          </a:p>
        </p:txBody>
      </p:sp>
      <p:sp>
        <p:nvSpPr>
          <p:cNvPr id="58" name="Text Box 26"/>
          <p:cNvSpPr txBox="1">
            <a:spLocks noChangeArrowheads="1"/>
          </p:cNvSpPr>
          <p:nvPr/>
        </p:nvSpPr>
        <p:spPr bwMode="gray">
          <a:xfrm>
            <a:off x="7575550" y="2781300"/>
            <a:ext cx="1306513" cy="1690688"/>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Test &amp; refine  the new streamlined process in a safe environment</a:t>
            </a:r>
          </a:p>
          <a:p>
            <a:pPr marL="119063" indent="-119063">
              <a:lnSpc>
                <a:spcPct val="90000"/>
              </a:lnSpc>
              <a:spcBef>
                <a:spcPct val="30000"/>
              </a:spcBef>
              <a:buClr>
                <a:srgbClr val="000066"/>
              </a:buClr>
              <a:buFont typeface="Wingdings" pitchFamily="2" charset="2"/>
              <a:buChar char="§"/>
            </a:pPr>
            <a:r>
              <a:rPr lang="en-US" sz="900" b="0">
                <a:solidFill>
                  <a:srgbClr val="000066"/>
                </a:solidFill>
              </a:rPr>
              <a:t>Implement visual management</a:t>
            </a:r>
          </a:p>
          <a:p>
            <a:pPr marL="119063" indent="-119063">
              <a:lnSpc>
                <a:spcPct val="90000"/>
              </a:lnSpc>
              <a:spcBef>
                <a:spcPct val="30000"/>
              </a:spcBef>
              <a:buClr>
                <a:srgbClr val="000066"/>
              </a:buClr>
              <a:buFont typeface="Wingdings" pitchFamily="2" charset="2"/>
              <a:buChar char="§"/>
            </a:pPr>
            <a:r>
              <a:rPr lang="en-US" sz="900" b="0">
                <a:solidFill>
                  <a:srgbClr val="000066"/>
                </a:solidFill>
              </a:rPr>
              <a:t>Develop standardised operating procedures</a:t>
            </a:r>
          </a:p>
          <a:p>
            <a:pPr marL="119063" indent="-119063">
              <a:lnSpc>
                <a:spcPct val="90000"/>
              </a:lnSpc>
              <a:spcBef>
                <a:spcPct val="30000"/>
              </a:spcBef>
              <a:buClr>
                <a:srgbClr val="000066"/>
              </a:buClr>
              <a:buFont typeface="Wingdings" pitchFamily="2" charset="2"/>
              <a:buChar char="§"/>
            </a:pPr>
            <a:r>
              <a:rPr lang="en-US" sz="900" b="0">
                <a:solidFill>
                  <a:srgbClr val="000066"/>
                </a:solidFill>
              </a:rPr>
              <a:t>Measure new KPIs</a:t>
            </a:r>
          </a:p>
          <a:p>
            <a:pPr marL="119063" indent="-119063">
              <a:lnSpc>
                <a:spcPct val="90000"/>
              </a:lnSpc>
              <a:spcBef>
                <a:spcPct val="30000"/>
              </a:spcBef>
              <a:buClr>
                <a:srgbClr val="000066"/>
              </a:buClr>
              <a:buFont typeface="Wingdings" pitchFamily="2" charset="2"/>
              <a:buChar char="§"/>
            </a:pPr>
            <a:r>
              <a:rPr lang="en-GB" sz="900" b="0">
                <a:solidFill>
                  <a:srgbClr val="000066"/>
                </a:solidFill>
              </a:rPr>
              <a:t>Up-date the front line knowledge base,</a:t>
            </a:r>
          </a:p>
          <a:p>
            <a:pPr marL="119063" indent="-119063">
              <a:lnSpc>
                <a:spcPct val="90000"/>
              </a:lnSpc>
              <a:spcBef>
                <a:spcPct val="30000"/>
              </a:spcBef>
              <a:buClr>
                <a:srgbClr val="000066"/>
              </a:buClr>
              <a:buFont typeface="Wingdings" pitchFamily="2" charset="2"/>
              <a:buChar char="§"/>
            </a:pPr>
            <a:r>
              <a:rPr lang="en-GB" sz="900" b="0">
                <a:solidFill>
                  <a:srgbClr val="000066"/>
                </a:solidFill>
              </a:rPr>
              <a:t>Plan  transfer to BAU</a:t>
            </a:r>
            <a:endParaRPr lang="en-US" sz="900" b="0">
              <a:solidFill>
                <a:srgbClr val="000066"/>
              </a:solidFill>
            </a:endParaRPr>
          </a:p>
        </p:txBody>
      </p:sp>
      <p:sp>
        <p:nvSpPr>
          <p:cNvPr id="59" name="Text Box 27"/>
          <p:cNvSpPr txBox="1">
            <a:spLocks noChangeArrowheads="1"/>
          </p:cNvSpPr>
          <p:nvPr/>
        </p:nvSpPr>
        <p:spPr bwMode="gray">
          <a:xfrm>
            <a:off x="7575550" y="1824038"/>
            <a:ext cx="1306513" cy="882650"/>
          </a:xfrm>
          <a:prstGeom prst="rect">
            <a:avLst/>
          </a:prstGeom>
          <a:solidFill>
            <a:schemeClr val="bg2"/>
          </a:solidFill>
          <a:ln w="9525" algn="ctr">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Rapid execution of the quick hits and impro-vement opportunities identified</a:t>
            </a:r>
          </a:p>
          <a:p>
            <a:pPr marL="119063" indent="-119063">
              <a:lnSpc>
                <a:spcPct val="90000"/>
              </a:lnSpc>
              <a:spcBef>
                <a:spcPct val="30000"/>
              </a:spcBef>
              <a:buClr>
                <a:srgbClr val="000066"/>
              </a:buClr>
              <a:buFont typeface="Wingdings" pitchFamily="2" charset="2"/>
              <a:buChar char="§"/>
            </a:pPr>
            <a:r>
              <a:rPr lang="en-US" sz="900" b="0">
                <a:solidFill>
                  <a:srgbClr val="000066"/>
                </a:solidFill>
              </a:rPr>
              <a:t>Confirm expected benefits</a:t>
            </a:r>
          </a:p>
        </p:txBody>
      </p:sp>
      <p:sp>
        <p:nvSpPr>
          <p:cNvPr id="60" name="AutoShape 28"/>
          <p:cNvSpPr>
            <a:spLocks noChangeArrowheads="1"/>
          </p:cNvSpPr>
          <p:nvPr/>
        </p:nvSpPr>
        <p:spPr bwMode="gray">
          <a:xfrm>
            <a:off x="2030413" y="2471738"/>
            <a:ext cx="5484812" cy="234950"/>
          </a:xfrm>
          <a:prstGeom prst="homePlate">
            <a:avLst>
              <a:gd name="adj" fmla="val 34693"/>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Initial identification of the </a:t>
            </a:r>
            <a:r>
              <a:rPr lang="en-US" sz="900" b="0" dirty="0" smtClean="0">
                <a:solidFill>
                  <a:srgbClr val="000066"/>
                </a:solidFill>
              </a:rPr>
              <a:t>“just do it”  </a:t>
            </a:r>
            <a:r>
              <a:rPr lang="en-US" sz="900" b="0" dirty="0">
                <a:solidFill>
                  <a:srgbClr val="000066"/>
                </a:solidFill>
              </a:rPr>
              <a:t>to be refined and designed, ready to be executed</a:t>
            </a:r>
          </a:p>
        </p:txBody>
      </p:sp>
      <p:sp>
        <p:nvSpPr>
          <p:cNvPr id="61" name="Rectangle 29"/>
          <p:cNvSpPr>
            <a:spLocks noChangeArrowheads="1"/>
          </p:cNvSpPr>
          <p:nvPr/>
        </p:nvSpPr>
        <p:spPr bwMode="auto">
          <a:xfrm>
            <a:off x="649288" y="1176338"/>
            <a:ext cx="1304925" cy="561975"/>
          </a:xfrm>
          <a:prstGeom prst="rect">
            <a:avLst/>
          </a:prstGeom>
          <a:solidFill>
            <a:schemeClr val="accent1"/>
          </a:solidFill>
          <a:ln w="9525" algn="ctr">
            <a:noFill/>
            <a:miter lim="800000"/>
            <a:headEnd/>
            <a:tailEnd/>
          </a:ln>
        </p:spPr>
        <p:txBody>
          <a:bodyPr lIns="45720" rIns="45720" anchor="ctr"/>
          <a:lstStyle/>
          <a:p>
            <a:pPr algn="ctr">
              <a:spcBef>
                <a:spcPct val="50000"/>
              </a:spcBef>
            </a:pPr>
            <a:r>
              <a:rPr lang="en-US" sz="1000" b="1" dirty="0">
                <a:solidFill>
                  <a:schemeClr val="bg1"/>
                </a:solidFill>
              </a:rPr>
              <a:t>M - </a:t>
            </a:r>
            <a:r>
              <a:rPr lang="en-US" sz="1000" b="1" dirty="0" err="1">
                <a:solidFill>
                  <a:schemeClr val="bg1"/>
                </a:solidFill>
              </a:rPr>
              <a:t>Mobilisation</a:t>
            </a:r>
            <a:r>
              <a:rPr lang="en-US" sz="1000" b="1" dirty="0">
                <a:solidFill>
                  <a:schemeClr val="bg1"/>
                </a:solidFill>
              </a:rPr>
              <a:t> Workshop</a:t>
            </a:r>
          </a:p>
        </p:txBody>
      </p:sp>
      <p:sp>
        <p:nvSpPr>
          <p:cNvPr id="62" name="Rectangle 30"/>
          <p:cNvSpPr>
            <a:spLocks noChangeArrowheads="1"/>
          </p:cNvSpPr>
          <p:nvPr/>
        </p:nvSpPr>
        <p:spPr bwMode="auto">
          <a:xfrm>
            <a:off x="3413125" y="1176338"/>
            <a:ext cx="1304925" cy="561975"/>
          </a:xfrm>
          <a:prstGeom prst="rect">
            <a:avLst/>
          </a:prstGeom>
          <a:solidFill>
            <a:srgbClr val="1462FF"/>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CS2 - As-Is Detail Workshop</a:t>
            </a:r>
          </a:p>
        </p:txBody>
      </p:sp>
      <p:sp>
        <p:nvSpPr>
          <p:cNvPr id="63" name="Rectangle 31"/>
          <p:cNvSpPr>
            <a:spLocks noChangeArrowheads="1"/>
          </p:cNvSpPr>
          <p:nvPr/>
        </p:nvSpPr>
        <p:spPr bwMode="auto">
          <a:xfrm>
            <a:off x="6180138" y="1176338"/>
            <a:ext cx="1304925" cy="561975"/>
          </a:xfrm>
          <a:prstGeom prst="rect">
            <a:avLst/>
          </a:prstGeom>
          <a:solidFill>
            <a:srgbClr val="72C7E7"/>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FS2 - Implementation Planning Workshop</a:t>
            </a:r>
          </a:p>
        </p:txBody>
      </p:sp>
      <p:sp>
        <p:nvSpPr>
          <p:cNvPr id="64" name="Rectangle 32"/>
          <p:cNvSpPr>
            <a:spLocks noChangeArrowheads="1"/>
          </p:cNvSpPr>
          <p:nvPr/>
        </p:nvSpPr>
        <p:spPr bwMode="auto">
          <a:xfrm>
            <a:off x="4797425" y="1176338"/>
            <a:ext cx="1304925" cy="561975"/>
          </a:xfrm>
          <a:prstGeom prst="rect">
            <a:avLst/>
          </a:prstGeom>
          <a:solidFill>
            <a:srgbClr val="00A1DE"/>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FS1 - Future State Workshop</a:t>
            </a:r>
          </a:p>
        </p:txBody>
      </p:sp>
      <p:sp>
        <p:nvSpPr>
          <p:cNvPr id="65" name="Rectangle 33"/>
          <p:cNvSpPr>
            <a:spLocks noChangeArrowheads="1"/>
          </p:cNvSpPr>
          <p:nvPr/>
        </p:nvSpPr>
        <p:spPr bwMode="auto">
          <a:xfrm>
            <a:off x="2030413" y="1176338"/>
            <a:ext cx="1304925" cy="561975"/>
          </a:xfrm>
          <a:prstGeom prst="rect">
            <a:avLst/>
          </a:prstGeom>
          <a:solidFill>
            <a:srgbClr val="0079A6"/>
          </a:solidFill>
          <a:ln w="38100" cap="rnd" algn="ctr">
            <a:noFill/>
            <a:miter lim="800000"/>
            <a:headEnd/>
            <a:tailEnd/>
          </a:ln>
        </p:spPr>
        <p:txBody>
          <a:bodyPr wrap="square" lIns="180000" tIns="54000" rIns="144000" bIns="54000" anchor="ctr"/>
          <a:lstStyle/>
          <a:p>
            <a:pPr algn="ctr" defTabSz="1019175"/>
            <a:r>
              <a:rPr lang="en-US" sz="1000" b="1" dirty="0">
                <a:solidFill>
                  <a:srgbClr val="FFFFFF"/>
                </a:solidFill>
              </a:rPr>
              <a:t>CS1 - As-Is High level Workshop</a:t>
            </a:r>
          </a:p>
        </p:txBody>
      </p:sp>
      <p:sp>
        <p:nvSpPr>
          <p:cNvPr id="66" name="Text Box 35"/>
          <p:cNvSpPr txBox="1">
            <a:spLocks noChangeArrowheads="1"/>
          </p:cNvSpPr>
          <p:nvPr/>
        </p:nvSpPr>
        <p:spPr bwMode="gray">
          <a:xfrm>
            <a:off x="649288" y="4545014"/>
            <a:ext cx="1306512"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Problem scoping</a:t>
            </a:r>
            <a:endParaRPr lang="en-GB" sz="900" b="0">
              <a:solidFill>
                <a:srgbClr val="000066"/>
              </a:solidFill>
            </a:endParaRPr>
          </a:p>
          <a:p>
            <a:pPr marL="119063" indent="-119063">
              <a:lnSpc>
                <a:spcPct val="90000"/>
              </a:lnSpc>
              <a:spcBef>
                <a:spcPct val="30000"/>
              </a:spcBef>
              <a:buClr>
                <a:srgbClr val="000066"/>
              </a:buClr>
              <a:buFont typeface="Wingdings" pitchFamily="2" charset="2"/>
              <a:buChar char="§"/>
            </a:pPr>
            <a:r>
              <a:rPr lang="en-GB" sz="900" b="0">
                <a:solidFill>
                  <a:srgbClr val="000066"/>
                </a:solidFill>
              </a:rPr>
              <a:t>Identify process owners, suppliers, customers (SIPOC)</a:t>
            </a:r>
          </a:p>
          <a:p>
            <a:pPr marL="119063" indent="-119063">
              <a:lnSpc>
                <a:spcPct val="90000"/>
              </a:lnSpc>
              <a:spcBef>
                <a:spcPct val="30000"/>
              </a:spcBef>
              <a:buClr>
                <a:srgbClr val="000066"/>
              </a:buClr>
              <a:buFont typeface="Wingdings" pitchFamily="2" charset="2"/>
              <a:buChar char="§"/>
            </a:pPr>
            <a:r>
              <a:rPr lang="en-GB" sz="900" b="0">
                <a:solidFill>
                  <a:srgbClr val="000066"/>
                </a:solidFill>
              </a:rPr>
              <a:t>Value Tree</a:t>
            </a:r>
          </a:p>
          <a:p>
            <a:pPr marL="119063" indent="-119063">
              <a:lnSpc>
                <a:spcPct val="90000"/>
              </a:lnSpc>
              <a:spcBef>
                <a:spcPct val="30000"/>
              </a:spcBef>
              <a:buClr>
                <a:srgbClr val="000066"/>
              </a:buClr>
              <a:buFont typeface="Wingdings" pitchFamily="2" charset="2"/>
              <a:buChar char="§"/>
            </a:pPr>
            <a:r>
              <a:rPr lang="en-GB" sz="900" b="0">
                <a:solidFill>
                  <a:srgbClr val="000066"/>
                </a:solidFill>
              </a:rPr>
              <a:t>Data collection </a:t>
            </a:r>
          </a:p>
          <a:p>
            <a:pPr marL="119063" indent="-119063">
              <a:lnSpc>
                <a:spcPct val="90000"/>
              </a:lnSpc>
              <a:spcBef>
                <a:spcPct val="30000"/>
              </a:spcBef>
              <a:buClr>
                <a:srgbClr val="000066"/>
              </a:buClr>
              <a:buFont typeface="Wingdings" pitchFamily="2" charset="2"/>
              <a:buChar char="§"/>
            </a:pPr>
            <a:r>
              <a:rPr lang="en-GB" sz="900" b="0">
                <a:solidFill>
                  <a:srgbClr val="000066"/>
                </a:solidFill>
              </a:rPr>
              <a:t>Project Charter</a:t>
            </a:r>
          </a:p>
        </p:txBody>
      </p:sp>
      <p:sp>
        <p:nvSpPr>
          <p:cNvPr id="67" name="Text Box 36"/>
          <p:cNvSpPr txBox="1">
            <a:spLocks noChangeArrowheads="1"/>
          </p:cNvSpPr>
          <p:nvPr/>
        </p:nvSpPr>
        <p:spPr bwMode="gray">
          <a:xfrm>
            <a:off x="3413125" y="4545014"/>
            <a:ext cx="1306513"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GB" sz="900" b="0">
                <a:solidFill>
                  <a:srgbClr val="000066"/>
                </a:solidFill>
              </a:rPr>
              <a:t>Seeing is Believing</a:t>
            </a:r>
          </a:p>
          <a:p>
            <a:pPr marL="119063" indent="-119063">
              <a:lnSpc>
                <a:spcPct val="90000"/>
              </a:lnSpc>
              <a:spcBef>
                <a:spcPct val="30000"/>
              </a:spcBef>
              <a:buClr>
                <a:srgbClr val="000066"/>
              </a:buClr>
              <a:buFont typeface="Wingdings" pitchFamily="2" charset="2"/>
              <a:buChar char="§"/>
            </a:pPr>
            <a:r>
              <a:rPr lang="en-GB" sz="900" b="0">
                <a:solidFill>
                  <a:srgbClr val="000066"/>
                </a:solidFill>
              </a:rPr>
              <a:t>Value stream mapping</a:t>
            </a:r>
          </a:p>
          <a:p>
            <a:pPr marL="119063" indent="-119063">
              <a:lnSpc>
                <a:spcPct val="90000"/>
              </a:lnSpc>
              <a:spcBef>
                <a:spcPct val="30000"/>
              </a:spcBef>
              <a:buClr>
                <a:srgbClr val="000066"/>
              </a:buClr>
              <a:buFont typeface="Wingdings" pitchFamily="2" charset="2"/>
              <a:buChar char="§"/>
            </a:pPr>
            <a:r>
              <a:rPr lang="en-GB" sz="900" b="0">
                <a:solidFill>
                  <a:srgbClr val="000066"/>
                </a:solidFill>
              </a:rPr>
              <a:t>Baseline Metrics </a:t>
            </a:r>
          </a:p>
          <a:p>
            <a:pPr marL="119063" indent="-119063">
              <a:lnSpc>
                <a:spcPct val="90000"/>
              </a:lnSpc>
              <a:spcBef>
                <a:spcPct val="30000"/>
              </a:spcBef>
              <a:buClr>
                <a:srgbClr val="000066"/>
              </a:buClr>
              <a:buFont typeface="Wingdings" pitchFamily="2" charset="2"/>
              <a:buChar char="§"/>
            </a:pPr>
            <a:r>
              <a:rPr lang="en-GB" sz="900" b="0">
                <a:solidFill>
                  <a:srgbClr val="000066"/>
                </a:solidFill>
              </a:rPr>
              <a:t>7 wastes analysis</a:t>
            </a:r>
          </a:p>
          <a:p>
            <a:pPr marL="119063" indent="-119063">
              <a:lnSpc>
                <a:spcPct val="90000"/>
              </a:lnSpc>
              <a:spcBef>
                <a:spcPct val="30000"/>
              </a:spcBef>
              <a:buClr>
                <a:srgbClr val="000066"/>
              </a:buClr>
              <a:buFont typeface="Wingdings" pitchFamily="2" charset="2"/>
              <a:buChar char="§"/>
            </a:pPr>
            <a:r>
              <a:rPr lang="en-GB" sz="900" b="0">
                <a:solidFill>
                  <a:srgbClr val="000066"/>
                </a:solidFill>
              </a:rPr>
              <a:t>Root cause analysis and problem-solving</a:t>
            </a:r>
          </a:p>
          <a:p>
            <a:pPr marL="119063" indent="-119063">
              <a:lnSpc>
                <a:spcPct val="90000"/>
              </a:lnSpc>
              <a:spcBef>
                <a:spcPct val="30000"/>
              </a:spcBef>
              <a:buClr>
                <a:srgbClr val="000066"/>
              </a:buClr>
              <a:buFont typeface="Wingdings" pitchFamily="2" charset="2"/>
              <a:buChar char="§"/>
            </a:pPr>
            <a:r>
              <a:rPr lang="en-GB" sz="900" b="0">
                <a:solidFill>
                  <a:srgbClr val="000066"/>
                </a:solidFill>
              </a:rPr>
              <a:t>5S analysis (work place management)</a:t>
            </a:r>
          </a:p>
        </p:txBody>
      </p:sp>
      <p:sp>
        <p:nvSpPr>
          <p:cNvPr id="68" name="Text Box 37"/>
          <p:cNvSpPr txBox="1">
            <a:spLocks noChangeArrowheads="1"/>
          </p:cNvSpPr>
          <p:nvPr/>
        </p:nvSpPr>
        <p:spPr bwMode="gray">
          <a:xfrm>
            <a:off x="6178550" y="4545014"/>
            <a:ext cx="1306513"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Improvement Work Packages charters</a:t>
            </a:r>
          </a:p>
          <a:p>
            <a:pPr marL="119063" indent="-119063">
              <a:lnSpc>
                <a:spcPct val="90000"/>
              </a:lnSpc>
              <a:spcBef>
                <a:spcPct val="30000"/>
              </a:spcBef>
              <a:buClr>
                <a:srgbClr val="000066"/>
              </a:buClr>
              <a:buFont typeface="Wingdings" pitchFamily="2" charset="2"/>
              <a:buChar char="§"/>
            </a:pPr>
            <a:r>
              <a:rPr lang="en-US" sz="900" b="0">
                <a:solidFill>
                  <a:srgbClr val="000066"/>
                </a:solidFill>
              </a:rPr>
              <a:t>Ease versus Impact assessment</a:t>
            </a:r>
          </a:p>
          <a:p>
            <a:pPr marL="119063" indent="-119063">
              <a:lnSpc>
                <a:spcPct val="90000"/>
              </a:lnSpc>
              <a:spcBef>
                <a:spcPct val="30000"/>
              </a:spcBef>
              <a:buClr>
                <a:srgbClr val="000066"/>
              </a:buClr>
              <a:buFont typeface="Wingdings" pitchFamily="2" charset="2"/>
              <a:buChar char="§"/>
            </a:pPr>
            <a:r>
              <a:rPr lang="en-US" sz="900" b="0">
                <a:solidFill>
                  <a:srgbClr val="000066"/>
                </a:solidFill>
              </a:rPr>
              <a:t>Gantt chart</a:t>
            </a:r>
          </a:p>
        </p:txBody>
      </p:sp>
      <p:sp>
        <p:nvSpPr>
          <p:cNvPr id="69" name="Text Box 38"/>
          <p:cNvSpPr txBox="1">
            <a:spLocks noChangeArrowheads="1"/>
          </p:cNvSpPr>
          <p:nvPr/>
        </p:nvSpPr>
        <p:spPr bwMode="gray">
          <a:xfrm>
            <a:off x="4795838" y="4545014"/>
            <a:ext cx="1306512"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Lean design principle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Pull systems and one piece flow</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Mistake proofing</a:t>
            </a:r>
          </a:p>
          <a:p>
            <a:pPr marL="119063" indent="-119063">
              <a:lnSpc>
                <a:spcPct val="90000"/>
              </a:lnSpc>
              <a:spcBef>
                <a:spcPct val="30000"/>
              </a:spcBef>
              <a:buClr>
                <a:srgbClr val="000066"/>
              </a:buClr>
              <a:buFont typeface="Wingdings" pitchFamily="2" charset="2"/>
              <a:buChar char="§"/>
            </a:pPr>
            <a:r>
              <a:rPr lang="en-US" sz="900" b="0" dirty="0" err="1">
                <a:solidFill>
                  <a:srgbClr val="000066"/>
                </a:solidFill>
              </a:rPr>
              <a:t>Andon</a:t>
            </a:r>
            <a:r>
              <a:rPr lang="en-US" sz="900" b="0" dirty="0">
                <a:solidFill>
                  <a:srgbClr val="000066"/>
                </a:solidFill>
              </a:rPr>
              <a:t> system</a:t>
            </a:r>
          </a:p>
          <a:p>
            <a:pPr marL="119063" indent="-119063">
              <a:lnSpc>
                <a:spcPct val="90000"/>
              </a:lnSpc>
              <a:spcBef>
                <a:spcPct val="30000"/>
              </a:spcBef>
              <a:buClr>
                <a:srgbClr val="000066"/>
              </a:buClr>
              <a:buFont typeface="Wingdings" pitchFamily="2" charset="2"/>
              <a:buChar char="§"/>
            </a:pPr>
            <a:r>
              <a:rPr lang="en-US" sz="900" b="0" dirty="0" err="1">
                <a:solidFill>
                  <a:srgbClr val="000066"/>
                </a:solidFill>
              </a:rPr>
              <a:t>Takt</a:t>
            </a:r>
            <a:r>
              <a:rPr lang="en-US" sz="900" b="0" dirty="0">
                <a:solidFill>
                  <a:srgbClr val="000066"/>
                </a:solidFill>
              </a:rPr>
              <a:t> time</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Cycle time diagram</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Load balancing </a:t>
            </a:r>
          </a:p>
        </p:txBody>
      </p:sp>
      <p:sp>
        <p:nvSpPr>
          <p:cNvPr id="70" name="Text Box 39"/>
          <p:cNvSpPr txBox="1">
            <a:spLocks noChangeArrowheads="1"/>
          </p:cNvSpPr>
          <p:nvPr/>
        </p:nvSpPr>
        <p:spPr bwMode="gray">
          <a:xfrm>
            <a:off x="2030413" y="4545014"/>
            <a:ext cx="1306512"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a:solidFill>
                  <a:srgbClr val="000066"/>
                </a:solidFill>
              </a:rPr>
              <a:t>Lean simulation game</a:t>
            </a:r>
          </a:p>
          <a:p>
            <a:pPr marL="119063" indent="-119063">
              <a:lnSpc>
                <a:spcPct val="90000"/>
              </a:lnSpc>
              <a:spcBef>
                <a:spcPct val="30000"/>
              </a:spcBef>
              <a:buClr>
                <a:srgbClr val="000066"/>
              </a:buClr>
              <a:buFont typeface="Wingdings" pitchFamily="2" charset="2"/>
              <a:buChar char="§"/>
            </a:pPr>
            <a:r>
              <a:rPr lang="en-US" sz="900" b="0">
                <a:solidFill>
                  <a:srgbClr val="000066"/>
                </a:solidFill>
              </a:rPr>
              <a:t>VOC data &amp; CTQ</a:t>
            </a:r>
          </a:p>
          <a:p>
            <a:pPr marL="119063" indent="-119063">
              <a:lnSpc>
                <a:spcPct val="90000"/>
              </a:lnSpc>
              <a:spcBef>
                <a:spcPct val="30000"/>
              </a:spcBef>
              <a:buClr>
                <a:srgbClr val="000066"/>
              </a:buClr>
              <a:buFont typeface="Wingdings" pitchFamily="2" charset="2"/>
              <a:buChar char="§"/>
            </a:pPr>
            <a:r>
              <a:rPr lang="en-GB" sz="900" b="0">
                <a:solidFill>
                  <a:srgbClr val="000066"/>
                </a:solidFill>
              </a:rPr>
              <a:t>Understand demand -  Mississippi Chart</a:t>
            </a:r>
          </a:p>
          <a:p>
            <a:pPr marL="119063" indent="-119063">
              <a:lnSpc>
                <a:spcPct val="90000"/>
              </a:lnSpc>
              <a:spcBef>
                <a:spcPct val="30000"/>
              </a:spcBef>
              <a:buClr>
                <a:srgbClr val="000066"/>
              </a:buClr>
              <a:buFont typeface="Wingdings" pitchFamily="2" charset="2"/>
              <a:buChar char="§"/>
            </a:pPr>
            <a:r>
              <a:rPr lang="en-US" sz="900" b="0">
                <a:solidFill>
                  <a:srgbClr val="000066"/>
                </a:solidFill>
              </a:rPr>
              <a:t>Runners, Repeaters and Strangers</a:t>
            </a:r>
          </a:p>
          <a:p>
            <a:pPr marL="119063" indent="-119063">
              <a:lnSpc>
                <a:spcPct val="90000"/>
              </a:lnSpc>
              <a:spcBef>
                <a:spcPct val="30000"/>
              </a:spcBef>
              <a:buClr>
                <a:srgbClr val="000066"/>
              </a:buClr>
              <a:buFont typeface="Wingdings" pitchFamily="2" charset="2"/>
              <a:buChar char="§"/>
            </a:pPr>
            <a:r>
              <a:rPr lang="en-US" sz="900" b="0">
                <a:solidFill>
                  <a:srgbClr val="000066"/>
                </a:solidFill>
              </a:rPr>
              <a:t>Value tree</a:t>
            </a:r>
          </a:p>
        </p:txBody>
      </p:sp>
      <p:sp>
        <p:nvSpPr>
          <p:cNvPr id="71" name="Rectangle 40"/>
          <p:cNvSpPr>
            <a:spLocks noChangeArrowheads="1"/>
          </p:cNvSpPr>
          <p:nvPr/>
        </p:nvSpPr>
        <p:spPr bwMode="auto">
          <a:xfrm rot="10800000">
            <a:off x="334962" y="4546600"/>
            <a:ext cx="263525" cy="1596481"/>
          </a:xfrm>
          <a:prstGeom prst="rect">
            <a:avLst/>
          </a:prstGeom>
          <a:solidFill>
            <a:schemeClr val="accent1"/>
          </a:solidFill>
          <a:ln w="9525">
            <a:noFill/>
            <a:miter lim="800000"/>
            <a:headEnd/>
            <a:tailEnd/>
          </a:ln>
        </p:spPr>
        <p:txBody>
          <a:bodyPr vert="eaVert" wrap="none" lIns="0" tIns="0" rIns="0" bIns="0" anchor="ctr"/>
          <a:lstStyle/>
          <a:p>
            <a:pPr algn="ctr"/>
            <a:r>
              <a:rPr lang="en-GB" sz="1000" b="1" dirty="0">
                <a:solidFill>
                  <a:schemeClr val="bg1"/>
                </a:solidFill>
              </a:rPr>
              <a:t>Tools and techniques</a:t>
            </a:r>
          </a:p>
        </p:txBody>
      </p:sp>
      <p:sp>
        <p:nvSpPr>
          <p:cNvPr id="72" name="Text Box 41"/>
          <p:cNvSpPr txBox="1">
            <a:spLocks noChangeArrowheads="1"/>
          </p:cNvSpPr>
          <p:nvPr/>
        </p:nvSpPr>
        <p:spPr bwMode="gray">
          <a:xfrm>
            <a:off x="7575550" y="4545014"/>
            <a:ext cx="1306513" cy="1596480"/>
          </a:xfrm>
          <a:prstGeom prst="rect">
            <a:avLst/>
          </a:prstGeom>
          <a:solidFill>
            <a:schemeClr val="bg2"/>
          </a:solidFill>
          <a:ln w="9525">
            <a:noFill/>
            <a:miter lim="800000"/>
            <a:headEnd/>
            <a:tailEnd/>
          </a:ln>
        </p:spPr>
        <p:txBody>
          <a:bodyPr lIns="18288" rIns="18288"/>
          <a:lstStyle/>
          <a:p>
            <a:pPr marL="119063" indent="-119063">
              <a:lnSpc>
                <a:spcPct val="90000"/>
              </a:lnSpc>
              <a:spcBef>
                <a:spcPct val="30000"/>
              </a:spcBef>
              <a:buClr>
                <a:srgbClr val="000066"/>
              </a:buClr>
              <a:buFont typeface="Wingdings" pitchFamily="2" charset="2"/>
              <a:buChar char="§"/>
            </a:pPr>
            <a:r>
              <a:rPr lang="en-US" sz="900" b="0" dirty="0">
                <a:solidFill>
                  <a:srgbClr val="000066"/>
                </a:solidFill>
              </a:rPr>
              <a:t>Work pilot mission</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5S environment</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Standard Work</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Decision Tree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Skill matrix</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KPI &amp; Run chart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Control charts</a:t>
            </a:r>
          </a:p>
          <a:p>
            <a:pPr marL="119063" indent="-119063">
              <a:lnSpc>
                <a:spcPct val="90000"/>
              </a:lnSpc>
              <a:spcBef>
                <a:spcPct val="30000"/>
              </a:spcBef>
              <a:buClr>
                <a:srgbClr val="000066"/>
              </a:buClr>
              <a:buFont typeface="Wingdings" pitchFamily="2" charset="2"/>
              <a:buChar char="§"/>
            </a:pPr>
            <a:r>
              <a:rPr lang="en-US" sz="900" b="0" dirty="0">
                <a:solidFill>
                  <a:srgbClr val="000066"/>
                </a:solidFill>
              </a:rPr>
              <a:t>Quality matrix, FMEA</a:t>
            </a:r>
          </a:p>
          <a:p>
            <a:pPr marL="119063" indent="-119063">
              <a:lnSpc>
                <a:spcPct val="90000"/>
              </a:lnSpc>
              <a:spcBef>
                <a:spcPct val="30000"/>
              </a:spcBef>
              <a:buClr>
                <a:srgbClr val="000066"/>
              </a:buClr>
              <a:buFont typeface="Wingdings" pitchFamily="2" charset="2"/>
              <a:buChar char="§"/>
            </a:pPr>
            <a:r>
              <a:rPr lang="en-US" sz="900" b="0" dirty="0" smtClean="0">
                <a:solidFill>
                  <a:srgbClr val="000066"/>
                </a:solidFill>
              </a:rPr>
              <a:t>Problem solving </a:t>
            </a:r>
            <a:r>
              <a:rPr lang="en-US" sz="900" b="0" dirty="0">
                <a:solidFill>
                  <a:srgbClr val="000066"/>
                </a:solidFill>
              </a:rPr>
              <a:t>&amp; 8D</a:t>
            </a:r>
          </a:p>
        </p:txBody>
      </p:sp>
      <p:sp>
        <p:nvSpPr>
          <p:cNvPr id="127014" name="Rectangle 37"/>
          <p:cNvSpPr>
            <a:spLocks noChangeArrowheads="1"/>
          </p:cNvSpPr>
          <p:nvPr/>
        </p:nvSpPr>
        <p:spPr bwMode="auto">
          <a:xfrm>
            <a:off x="6151440" y="1120776"/>
            <a:ext cx="1333623" cy="5044528"/>
          </a:xfrm>
          <a:prstGeom prst="rect">
            <a:avLst/>
          </a:prstGeom>
          <a:noFill/>
          <a:ln w="57150" algn="ctr">
            <a:solidFill>
              <a:srgbClr val="FF0000"/>
            </a:solidFill>
            <a:miter lim="800000"/>
            <a:headEnd/>
            <a:tailEnd/>
          </a:ln>
        </p:spPr>
        <p:txBody>
          <a:bodyPr wrap="none" lIns="91430" tIns="45716" rIns="91430" bIns="45716" anchor="ctr"/>
          <a:lstStyle/>
          <a:p>
            <a:endParaRPr lang="en-US" b="0">
              <a:solidFill>
                <a:srgbClr val="FFFFFF"/>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a:spLocks noGrp="1"/>
          </p:cNvSpPr>
          <p:nvPr>
            <p:ph type="title"/>
          </p:nvPr>
        </p:nvSpPr>
        <p:spPr/>
        <p:txBody>
          <a:bodyPr/>
          <a:lstStyle/>
          <a:p>
            <a:pPr eaLnBrk="1" hangingPunct="1"/>
            <a:r>
              <a:rPr lang="en-US" sz="2400" dirty="0"/>
              <a:t>Lean management tools &amp; techniques</a:t>
            </a:r>
            <a:r>
              <a:rPr lang="en-GB" dirty="0" smtClean="0"/>
              <a:t/>
            </a:r>
            <a:br>
              <a:rPr lang="en-GB" dirty="0" smtClean="0"/>
            </a:br>
            <a:r>
              <a:rPr lang="en-US" sz="2000" dirty="0">
                <a:solidFill>
                  <a:schemeClr val="accent2"/>
                </a:solidFill>
              </a:rPr>
              <a:t>5S: </a:t>
            </a:r>
            <a:r>
              <a:rPr lang="en-GB" sz="1600" b="1" dirty="0">
                <a:solidFill>
                  <a:srgbClr val="99CC33"/>
                </a:solidFill>
                <a:cs typeface="Arial" pitchFamily="34" charset="0"/>
              </a:rPr>
              <a:t>Sort  </a:t>
            </a:r>
            <a:r>
              <a:rPr lang="en-GB" sz="1600" b="1" dirty="0">
                <a:solidFill>
                  <a:srgbClr val="99CC33"/>
                </a:solidFill>
                <a:cs typeface="Arial" pitchFamily="34" charset="0"/>
                <a:sym typeface="Wingdings" pitchFamily="2" charset="2"/>
              </a:rPr>
              <a:t> Straighten  Shine  </a:t>
            </a:r>
            <a:r>
              <a:rPr lang="en-GB" sz="1600" b="1" dirty="0" err="1">
                <a:solidFill>
                  <a:srgbClr val="99CC33"/>
                </a:solidFill>
                <a:cs typeface="Arial" pitchFamily="34" charset="0"/>
                <a:sym typeface="Wingdings" pitchFamily="2" charset="2"/>
              </a:rPr>
              <a:t>Standarise</a:t>
            </a:r>
            <a:r>
              <a:rPr lang="en-GB" sz="1600" b="1" dirty="0">
                <a:solidFill>
                  <a:srgbClr val="99CC33"/>
                </a:solidFill>
                <a:cs typeface="Arial" pitchFamily="34" charset="0"/>
                <a:sym typeface="Wingdings" pitchFamily="2" charset="2"/>
              </a:rPr>
              <a:t>  Sustain</a:t>
            </a:r>
            <a:r>
              <a:rPr lang="en-GB" sz="1600" b="1" dirty="0">
                <a:solidFill>
                  <a:srgbClr val="99CC33"/>
                </a:solidFill>
                <a:cs typeface="Arial" pitchFamily="34" charset="0"/>
              </a:rPr>
              <a:t/>
            </a:r>
            <a:br>
              <a:rPr lang="en-GB" sz="1600" b="1" dirty="0">
                <a:solidFill>
                  <a:srgbClr val="99CC33"/>
                </a:solidFill>
                <a:cs typeface="Arial" pitchFamily="34" charset="0"/>
              </a:rPr>
            </a:br>
            <a:endParaRPr lang="en-GB" sz="1600" dirty="0" smtClean="0"/>
          </a:p>
        </p:txBody>
      </p:sp>
      <p:sp>
        <p:nvSpPr>
          <p:cNvPr id="4" name="Slide Number Placeholder 3"/>
          <p:cNvSpPr>
            <a:spLocks noGrp="1"/>
          </p:cNvSpPr>
          <p:nvPr>
            <p:ph type="sldNum" sz="quarter" idx="11"/>
          </p:nvPr>
        </p:nvSpPr>
        <p:spPr/>
        <p:txBody>
          <a:bodyPr/>
          <a:lstStyle/>
          <a:p>
            <a:pPr>
              <a:defRPr/>
            </a:pPr>
            <a:fld id="{C5F14C61-931A-4236-A27B-A4A5BA7BA053}" type="slidenum">
              <a:rPr lang="en-GB">
                <a:latin typeface="+mj-lt"/>
              </a:rPr>
              <a:pPr>
                <a:defRPr/>
              </a:pPr>
              <a:t>40</a:t>
            </a:fld>
            <a:endParaRPr lang="en-GB" dirty="0">
              <a:latin typeface="+mj-lt"/>
            </a:endParaRPr>
          </a:p>
        </p:txBody>
      </p:sp>
      <p:pic>
        <p:nvPicPr>
          <p:cNvPr id="22" name="Picture 21" descr="Mama shop.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800" y="979396"/>
            <a:ext cx="7865217" cy="5489922"/>
          </a:xfrm>
          <a:prstGeom prst="rect">
            <a:avLst/>
          </a:prstGeom>
        </p:spPr>
      </p:pic>
    </p:spTree>
    <p:extLst>
      <p:ext uri="{BB962C8B-B14F-4D97-AF65-F5344CB8AC3E}">
        <p14:creationId xmlns:p14="http://schemas.microsoft.com/office/powerpoint/2010/main" val="85213049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a:spLocks noGrp="1"/>
          </p:cNvSpPr>
          <p:nvPr>
            <p:ph type="title"/>
          </p:nvPr>
        </p:nvSpPr>
        <p:spPr/>
        <p:txBody>
          <a:bodyPr/>
          <a:lstStyle/>
          <a:p>
            <a:pPr eaLnBrk="1" hangingPunct="1"/>
            <a:r>
              <a:rPr lang="en-US" sz="2400" dirty="0"/>
              <a:t>Tools &amp; Techniques</a:t>
            </a:r>
            <a:r>
              <a:rPr lang="en-GB" dirty="0" smtClean="0"/>
              <a:t/>
            </a:r>
            <a:br>
              <a:rPr lang="en-GB" dirty="0" smtClean="0"/>
            </a:br>
            <a:endParaRPr lang="en-GB" sz="1600" dirty="0" smtClean="0"/>
          </a:p>
        </p:txBody>
      </p:sp>
      <p:sp>
        <p:nvSpPr>
          <p:cNvPr id="4" name="Slide Number Placeholder 3"/>
          <p:cNvSpPr>
            <a:spLocks noGrp="1"/>
          </p:cNvSpPr>
          <p:nvPr>
            <p:ph type="sldNum" sz="quarter" idx="11"/>
          </p:nvPr>
        </p:nvSpPr>
        <p:spPr/>
        <p:txBody>
          <a:bodyPr/>
          <a:lstStyle/>
          <a:p>
            <a:pPr>
              <a:defRPr/>
            </a:pPr>
            <a:fld id="{C5F14C61-931A-4236-A27B-A4A5BA7BA053}" type="slidenum">
              <a:rPr lang="en-GB">
                <a:latin typeface="+mj-lt"/>
              </a:rPr>
              <a:pPr>
                <a:defRPr/>
              </a:pPr>
              <a:t>41</a:t>
            </a:fld>
            <a:endParaRPr lang="en-GB" dirty="0">
              <a:latin typeface="+mj-lt"/>
            </a:endParaRPr>
          </a:p>
        </p:txBody>
      </p:sp>
      <p:pic>
        <p:nvPicPr>
          <p:cNvPr id="5" name="Picture 4" descr="Messy shop 2.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0"/>
            <a:ext cx="9157063" cy="6858000"/>
          </a:xfrm>
          <a:prstGeom prst="rect">
            <a:avLst/>
          </a:prstGeom>
        </p:spPr>
      </p:pic>
    </p:spTree>
    <p:extLst>
      <p:ext uri="{BB962C8B-B14F-4D97-AF65-F5344CB8AC3E}">
        <p14:creationId xmlns:p14="http://schemas.microsoft.com/office/powerpoint/2010/main" val="428460981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a:spLocks noGrp="1"/>
          </p:cNvSpPr>
          <p:nvPr>
            <p:ph type="title"/>
          </p:nvPr>
        </p:nvSpPr>
        <p:spPr/>
        <p:txBody>
          <a:bodyPr/>
          <a:lstStyle/>
          <a:p>
            <a:pPr eaLnBrk="1" hangingPunct="1"/>
            <a:r>
              <a:rPr lang="en-US" sz="2400" dirty="0"/>
              <a:t>Lean management tools &amp; techniques</a:t>
            </a:r>
            <a:r>
              <a:rPr lang="en-GB" dirty="0" smtClean="0"/>
              <a:t/>
            </a:r>
            <a:br>
              <a:rPr lang="en-GB" dirty="0" smtClean="0"/>
            </a:br>
            <a:r>
              <a:rPr lang="en-GB" sz="1800" b="1" dirty="0" smtClean="0">
                <a:solidFill>
                  <a:schemeClr val="accent2"/>
                </a:solidFill>
              </a:rPr>
              <a:t>One of the foundation of </a:t>
            </a:r>
            <a:r>
              <a:rPr lang="en-GB" sz="1800" b="1" dirty="0" smtClean="0">
                <a:solidFill>
                  <a:schemeClr val="accent2"/>
                </a:solidFill>
                <a:cs typeface="Arial" pitchFamily="34" charset="0"/>
              </a:rPr>
              <a:t>5</a:t>
            </a:r>
            <a:r>
              <a:rPr lang="en-GB" sz="1800" b="1" dirty="0" smtClean="0">
                <a:solidFill>
                  <a:srgbClr val="99CC33"/>
                </a:solidFill>
                <a:cs typeface="Arial" pitchFamily="34" charset="0"/>
              </a:rPr>
              <a:t>S is Visual management</a:t>
            </a:r>
            <a:endParaRPr lang="en-GB" sz="1600" dirty="0" smtClean="0"/>
          </a:p>
        </p:txBody>
      </p:sp>
      <p:sp>
        <p:nvSpPr>
          <p:cNvPr id="4" name="Slide Number Placeholder 3"/>
          <p:cNvSpPr>
            <a:spLocks noGrp="1"/>
          </p:cNvSpPr>
          <p:nvPr>
            <p:ph type="sldNum" sz="quarter" idx="11"/>
          </p:nvPr>
        </p:nvSpPr>
        <p:spPr/>
        <p:txBody>
          <a:bodyPr/>
          <a:lstStyle/>
          <a:p>
            <a:pPr>
              <a:defRPr/>
            </a:pPr>
            <a:fld id="{C5F14C61-931A-4236-A27B-A4A5BA7BA053}" type="slidenum">
              <a:rPr lang="en-GB">
                <a:latin typeface="+mj-lt"/>
              </a:rPr>
              <a:pPr>
                <a:defRPr/>
              </a:pPr>
              <a:t>42</a:t>
            </a:fld>
            <a:endParaRPr lang="en-GB" dirty="0">
              <a:latin typeface="+mj-lt"/>
            </a:endParaRPr>
          </a:p>
        </p:txBody>
      </p:sp>
      <p:sp>
        <p:nvSpPr>
          <p:cNvPr id="14" name="Rectangle 13"/>
          <p:cNvSpPr/>
          <p:nvPr/>
        </p:nvSpPr>
        <p:spPr>
          <a:xfrm>
            <a:off x="5594922" y="4539419"/>
            <a:ext cx="3081338" cy="1768475"/>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latin typeface="+mj-lt"/>
            </a:endParaRPr>
          </a:p>
        </p:txBody>
      </p:sp>
      <p:sp>
        <p:nvSpPr>
          <p:cNvPr id="15" name="Rectangle 14"/>
          <p:cNvSpPr/>
          <p:nvPr/>
        </p:nvSpPr>
        <p:spPr>
          <a:xfrm>
            <a:off x="2928938" y="1156787"/>
            <a:ext cx="3081337" cy="1770063"/>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latin typeface="+mj-lt"/>
            </a:endParaRPr>
          </a:p>
        </p:txBody>
      </p:sp>
      <p:sp>
        <p:nvSpPr>
          <p:cNvPr id="16" name="Rectangle 15"/>
          <p:cNvSpPr/>
          <p:nvPr/>
        </p:nvSpPr>
        <p:spPr>
          <a:xfrm>
            <a:off x="506413" y="4539419"/>
            <a:ext cx="3079750" cy="1768475"/>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latin typeface="+mj-lt"/>
            </a:endParaRPr>
          </a:p>
        </p:txBody>
      </p:sp>
      <p:sp>
        <p:nvSpPr>
          <p:cNvPr id="17" name="Rectangle 2054"/>
          <p:cNvSpPr>
            <a:spLocks noChangeArrowheads="1"/>
          </p:cNvSpPr>
          <p:nvPr/>
        </p:nvSpPr>
        <p:spPr bwMode="auto">
          <a:xfrm>
            <a:off x="3194050" y="1593350"/>
            <a:ext cx="2590800" cy="1066800"/>
          </a:xfrm>
          <a:prstGeom prst="rect">
            <a:avLst/>
          </a:prstGeom>
          <a:noFill/>
          <a:ln w="9525">
            <a:noFill/>
            <a:miter lim="800000"/>
            <a:headEnd/>
            <a:tailEnd/>
          </a:ln>
        </p:spPr>
        <p:txBody>
          <a:bodyPr wrap="none" anchor="ctr"/>
          <a:lstStyle/>
          <a:p>
            <a:pPr marL="285750" indent="-285750">
              <a:spcBef>
                <a:spcPts val="600"/>
              </a:spcBef>
              <a:buFont typeface="Wingdings" panose="05000000000000000000" pitchFamily="2" charset="2"/>
              <a:buChar char="§"/>
              <a:defRPr/>
            </a:pPr>
            <a:endParaRPr lang="en-US" sz="1600" b="0" dirty="0">
              <a:solidFill>
                <a:schemeClr val="bg1"/>
              </a:solidFill>
              <a:latin typeface="+mj-lt"/>
            </a:endParaRPr>
          </a:p>
          <a:p>
            <a:pPr marL="285750" indent="-285750">
              <a:lnSpc>
                <a:spcPct val="95000"/>
              </a:lnSpc>
              <a:spcBef>
                <a:spcPts val="600"/>
              </a:spcBef>
              <a:buFont typeface="Wingdings" panose="05000000000000000000" pitchFamily="2" charset="2"/>
              <a:buChar char="§"/>
              <a:defRPr/>
            </a:pPr>
            <a:r>
              <a:rPr lang="en-US" sz="1600" b="0" dirty="0">
                <a:solidFill>
                  <a:schemeClr val="bg1"/>
                </a:solidFill>
                <a:latin typeface="+mj-lt"/>
              </a:rPr>
              <a:t>Production Status</a:t>
            </a:r>
          </a:p>
          <a:p>
            <a:pPr marL="285750" indent="-285750">
              <a:lnSpc>
                <a:spcPct val="95000"/>
              </a:lnSpc>
              <a:spcBef>
                <a:spcPts val="600"/>
              </a:spcBef>
              <a:buFont typeface="Wingdings" panose="05000000000000000000" pitchFamily="2" charset="2"/>
              <a:buChar char="§"/>
              <a:defRPr/>
            </a:pPr>
            <a:r>
              <a:rPr lang="en-US" sz="1600" b="0" dirty="0">
                <a:solidFill>
                  <a:schemeClr val="bg1"/>
                </a:solidFill>
                <a:latin typeface="+mj-lt"/>
              </a:rPr>
              <a:t>Inventory Levels</a:t>
            </a:r>
          </a:p>
          <a:p>
            <a:pPr marL="285750" indent="-285750">
              <a:lnSpc>
                <a:spcPct val="95000"/>
              </a:lnSpc>
              <a:spcBef>
                <a:spcPts val="600"/>
              </a:spcBef>
              <a:buFont typeface="Wingdings" panose="05000000000000000000" pitchFamily="2" charset="2"/>
              <a:buChar char="§"/>
              <a:defRPr/>
            </a:pPr>
            <a:r>
              <a:rPr lang="en-US" sz="1600" b="0" dirty="0">
                <a:solidFill>
                  <a:schemeClr val="bg1"/>
                </a:solidFill>
                <a:latin typeface="+mj-lt"/>
              </a:rPr>
              <a:t>Equipment Availability</a:t>
            </a:r>
          </a:p>
        </p:txBody>
      </p:sp>
      <p:sp>
        <p:nvSpPr>
          <p:cNvPr id="18" name="Rectangle 2076"/>
          <p:cNvSpPr>
            <a:spLocks noChangeArrowheads="1"/>
          </p:cNvSpPr>
          <p:nvPr/>
        </p:nvSpPr>
        <p:spPr bwMode="auto">
          <a:xfrm>
            <a:off x="3167063" y="1214843"/>
            <a:ext cx="2210862" cy="369332"/>
          </a:xfrm>
          <a:prstGeom prst="rect">
            <a:avLst/>
          </a:prstGeom>
          <a:noFill/>
          <a:ln w="9525">
            <a:noFill/>
            <a:miter lim="800000"/>
            <a:headEnd/>
            <a:tailEnd/>
          </a:ln>
        </p:spPr>
        <p:txBody>
          <a:bodyPr wrap="none">
            <a:spAutoFit/>
          </a:bodyPr>
          <a:lstStyle/>
          <a:p>
            <a:pPr>
              <a:spcBef>
                <a:spcPts val="600"/>
              </a:spcBef>
              <a:defRPr/>
            </a:pPr>
            <a:r>
              <a:rPr lang="en-US" b="1" dirty="0">
                <a:solidFill>
                  <a:schemeClr val="bg1"/>
                </a:solidFill>
                <a:latin typeface="+mj-lt"/>
              </a:rPr>
              <a:t>Seeing as a Group</a:t>
            </a:r>
          </a:p>
        </p:txBody>
      </p:sp>
      <p:sp>
        <p:nvSpPr>
          <p:cNvPr id="19" name="Rectangle 2081"/>
          <p:cNvSpPr>
            <a:spLocks noChangeArrowheads="1"/>
          </p:cNvSpPr>
          <p:nvPr/>
        </p:nvSpPr>
        <p:spPr bwMode="auto">
          <a:xfrm>
            <a:off x="621066" y="4976312"/>
            <a:ext cx="2590800" cy="1066800"/>
          </a:xfrm>
          <a:prstGeom prst="rect">
            <a:avLst/>
          </a:prstGeom>
          <a:noFill/>
          <a:ln w="9525">
            <a:noFill/>
            <a:miter lim="800000"/>
            <a:headEnd/>
            <a:tailEnd/>
          </a:ln>
        </p:spPr>
        <p:txBody>
          <a:bodyPr wrap="none" anchor="ctr"/>
          <a:lstStyle/>
          <a:p>
            <a:pPr marL="285750" indent="-285750">
              <a:lnSpc>
                <a:spcPct val="95000"/>
              </a:lnSpc>
              <a:buFont typeface="Wingdings" panose="05000000000000000000" pitchFamily="2" charset="2"/>
              <a:buChar char="§"/>
              <a:defRPr/>
            </a:pPr>
            <a:endParaRPr lang="en-US" sz="1600" b="0" dirty="0">
              <a:solidFill>
                <a:schemeClr val="bg1"/>
              </a:solidFill>
              <a:latin typeface="+mj-lt"/>
            </a:endParaRPr>
          </a:p>
          <a:p>
            <a:pPr marL="285750" indent="-285750">
              <a:lnSpc>
                <a:spcPct val="95000"/>
              </a:lnSpc>
              <a:spcBef>
                <a:spcPts val="600"/>
              </a:spcBef>
              <a:buFont typeface="Wingdings" panose="05000000000000000000" pitchFamily="2" charset="2"/>
              <a:buChar char="§"/>
              <a:defRPr/>
            </a:pPr>
            <a:r>
              <a:rPr lang="en-US" sz="1600" b="0" dirty="0">
                <a:solidFill>
                  <a:schemeClr val="bg1"/>
                </a:solidFill>
                <a:latin typeface="+mj-lt"/>
              </a:rPr>
              <a:t>Delivery Commitments</a:t>
            </a:r>
          </a:p>
          <a:p>
            <a:pPr marL="285750" indent="-285750">
              <a:lnSpc>
                <a:spcPct val="95000"/>
              </a:lnSpc>
              <a:spcBef>
                <a:spcPts val="600"/>
              </a:spcBef>
              <a:buFont typeface="Wingdings" panose="05000000000000000000" pitchFamily="2" charset="2"/>
              <a:buChar char="§"/>
              <a:defRPr/>
            </a:pPr>
            <a:r>
              <a:rPr lang="en-US" sz="1600" b="0" dirty="0">
                <a:solidFill>
                  <a:schemeClr val="bg1"/>
                </a:solidFill>
                <a:latin typeface="+mj-lt"/>
              </a:rPr>
              <a:t>Goals And Schedules</a:t>
            </a:r>
          </a:p>
        </p:txBody>
      </p:sp>
      <p:sp>
        <p:nvSpPr>
          <p:cNvPr id="20" name="Rectangle 2082"/>
          <p:cNvSpPr>
            <a:spLocks noChangeArrowheads="1"/>
          </p:cNvSpPr>
          <p:nvPr/>
        </p:nvSpPr>
        <p:spPr bwMode="auto">
          <a:xfrm>
            <a:off x="590549" y="4643843"/>
            <a:ext cx="2849841" cy="369332"/>
          </a:xfrm>
          <a:prstGeom prst="rect">
            <a:avLst/>
          </a:prstGeom>
          <a:noFill/>
          <a:ln w="9525">
            <a:noFill/>
            <a:miter lim="800000"/>
            <a:headEnd/>
            <a:tailEnd/>
          </a:ln>
        </p:spPr>
        <p:txBody>
          <a:bodyPr wrap="square">
            <a:spAutoFit/>
          </a:bodyPr>
          <a:lstStyle/>
          <a:p>
            <a:pPr algn="ctr">
              <a:spcBef>
                <a:spcPts val="600"/>
              </a:spcBef>
              <a:defRPr/>
            </a:pPr>
            <a:r>
              <a:rPr lang="en-US" b="1" dirty="0">
                <a:solidFill>
                  <a:schemeClr val="bg1"/>
                </a:solidFill>
                <a:latin typeface="+mj-lt"/>
              </a:rPr>
              <a:t>Knowing as a Group</a:t>
            </a:r>
          </a:p>
        </p:txBody>
      </p:sp>
      <p:sp>
        <p:nvSpPr>
          <p:cNvPr id="21" name="Rectangle 2085"/>
          <p:cNvSpPr>
            <a:spLocks noChangeArrowheads="1"/>
          </p:cNvSpPr>
          <p:nvPr/>
        </p:nvSpPr>
        <p:spPr bwMode="auto">
          <a:xfrm>
            <a:off x="5714647" y="4687962"/>
            <a:ext cx="2815206" cy="369332"/>
          </a:xfrm>
          <a:prstGeom prst="rect">
            <a:avLst/>
          </a:prstGeom>
          <a:noFill/>
          <a:ln w="9525">
            <a:noFill/>
            <a:miter lim="800000"/>
            <a:headEnd/>
            <a:tailEnd/>
          </a:ln>
        </p:spPr>
        <p:txBody>
          <a:bodyPr wrap="square">
            <a:spAutoFit/>
          </a:bodyPr>
          <a:lstStyle/>
          <a:p>
            <a:pPr algn="ctr">
              <a:spcBef>
                <a:spcPts val="600"/>
              </a:spcBef>
              <a:defRPr/>
            </a:pPr>
            <a:r>
              <a:rPr lang="en-US" b="1" dirty="0">
                <a:solidFill>
                  <a:schemeClr val="bg1"/>
                </a:solidFill>
                <a:latin typeface="+mj-lt"/>
              </a:rPr>
              <a:t>Acting as a Group</a:t>
            </a:r>
          </a:p>
        </p:txBody>
      </p:sp>
      <p:sp>
        <p:nvSpPr>
          <p:cNvPr id="23" name="TextBox 13"/>
          <p:cNvSpPr txBox="1">
            <a:spLocks noChangeArrowheads="1"/>
          </p:cNvSpPr>
          <p:nvPr/>
        </p:nvSpPr>
        <p:spPr bwMode="auto">
          <a:xfrm>
            <a:off x="5666029" y="5116253"/>
            <a:ext cx="3013075" cy="1104918"/>
          </a:xfrm>
          <a:prstGeom prst="rect">
            <a:avLst/>
          </a:prstGeom>
          <a:noFill/>
          <a:ln w="9525">
            <a:noFill/>
            <a:miter lim="800000"/>
            <a:headEnd/>
            <a:tailEnd/>
          </a:ln>
        </p:spPr>
        <p:txBody>
          <a:bodyPr>
            <a:spAutoFit/>
          </a:bodyPr>
          <a:lstStyle/>
          <a:p>
            <a:pPr marL="285750" indent="-285750">
              <a:lnSpc>
                <a:spcPct val="95000"/>
              </a:lnSpc>
              <a:spcBef>
                <a:spcPts val="600"/>
              </a:spcBef>
              <a:buFont typeface="Wingdings" panose="05000000000000000000" pitchFamily="2" charset="2"/>
              <a:buChar char="§"/>
              <a:defRPr/>
            </a:pPr>
            <a:r>
              <a:rPr lang="en-US" sz="1600" b="0" dirty="0" smtClean="0">
                <a:solidFill>
                  <a:schemeClr val="bg1"/>
                </a:solidFill>
                <a:latin typeface="+mj-lt"/>
              </a:rPr>
              <a:t>Consensus </a:t>
            </a:r>
            <a:r>
              <a:rPr lang="en-US" sz="1600" b="0" dirty="0">
                <a:solidFill>
                  <a:schemeClr val="bg1"/>
                </a:solidFill>
                <a:latin typeface="+mj-lt"/>
              </a:rPr>
              <a:t>on Objectives, Plans and Targets</a:t>
            </a:r>
          </a:p>
          <a:p>
            <a:pPr marL="285750" indent="-285750">
              <a:lnSpc>
                <a:spcPct val="95000"/>
              </a:lnSpc>
              <a:spcBef>
                <a:spcPts val="600"/>
              </a:spcBef>
              <a:buFont typeface="Wingdings" panose="05000000000000000000" pitchFamily="2" charset="2"/>
              <a:buChar char="§"/>
              <a:defRPr/>
            </a:pPr>
            <a:r>
              <a:rPr lang="en-US" sz="1600" b="0" dirty="0">
                <a:solidFill>
                  <a:schemeClr val="bg1"/>
                </a:solidFill>
                <a:latin typeface="+mj-lt"/>
              </a:rPr>
              <a:t>Involvement in Improvement Activities</a:t>
            </a:r>
            <a:endParaRPr lang="en-GB" sz="1600" b="0" dirty="0">
              <a:solidFill>
                <a:schemeClr val="bg1"/>
              </a:solidFill>
              <a:latin typeface="+mj-lt"/>
            </a:endParaRPr>
          </a:p>
        </p:txBody>
      </p:sp>
      <p:sp>
        <p:nvSpPr>
          <p:cNvPr id="34" name="Freeform 12"/>
          <p:cNvSpPr>
            <a:spLocks/>
          </p:cNvSpPr>
          <p:nvPr/>
        </p:nvSpPr>
        <p:spPr bwMode="blackWhite">
          <a:xfrm>
            <a:off x="3600149" y="3020385"/>
            <a:ext cx="1778602" cy="84582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solidFill>
            <a:srgbClr val="00A1DE"/>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36" name="Freeform 13"/>
          <p:cNvSpPr>
            <a:spLocks/>
          </p:cNvSpPr>
          <p:nvPr/>
        </p:nvSpPr>
        <p:spPr bwMode="blackWhite">
          <a:xfrm>
            <a:off x="3440391" y="3766352"/>
            <a:ext cx="1398588" cy="120332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solidFill>
            <a:srgbClr val="72C7E7"/>
          </a:solidFill>
          <a:ln w="12700" cap="rnd">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Arial"/>
              <a:cs typeface="+mn-cs"/>
            </a:endParaRPr>
          </a:p>
        </p:txBody>
      </p:sp>
      <p:sp>
        <p:nvSpPr>
          <p:cNvPr id="37" name="Freeform 14"/>
          <p:cNvSpPr>
            <a:spLocks/>
          </p:cNvSpPr>
          <p:nvPr/>
        </p:nvSpPr>
        <p:spPr bwMode="blackWhite">
          <a:xfrm>
            <a:off x="4670167" y="3399005"/>
            <a:ext cx="908587" cy="1617345"/>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rgbClr val="92D400"/>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Tree>
    <p:extLst>
      <p:ext uri="{BB962C8B-B14F-4D97-AF65-F5344CB8AC3E}">
        <p14:creationId xmlns:p14="http://schemas.microsoft.com/office/powerpoint/2010/main" val="27804867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a:spLocks noGrp="1"/>
          </p:cNvSpPr>
          <p:nvPr>
            <p:ph type="title"/>
          </p:nvPr>
        </p:nvSpPr>
        <p:spPr/>
        <p:txBody>
          <a:bodyPr/>
          <a:lstStyle/>
          <a:p>
            <a:pPr eaLnBrk="1" hangingPunct="1"/>
            <a:r>
              <a:rPr lang="en-US" sz="2400" dirty="0"/>
              <a:t>Lean management tools &amp; techniques</a:t>
            </a:r>
            <a:r>
              <a:rPr lang="en-GB" dirty="0" smtClean="0"/>
              <a:t/>
            </a:r>
            <a:br>
              <a:rPr lang="en-GB" dirty="0" smtClean="0"/>
            </a:br>
            <a:r>
              <a:rPr lang="en-GB" sz="1800" b="1" dirty="0" smtClean="0">
                <a:solidFill>
                  <a:srgbClr val="99CC33"/>
                </a:solidFill>
                <a:cs typeface="Arial" pitchFamily="34" charset="0"/>
              </a:rPr>
              <a:t>Visual management is here everyday</a:t>
            </a:r>
            <a:endParaRPr lang="en-GB" sz="1600" dirty="0" smtClean="0"/>
          </a:p>
        </p:txBody>
      </p:sp>
      <p:sp>
        <p:nvSpPr>
          <p:cNvPr id="4" name="Slide Number Placeholder 3"/>
          <p:cNvSpPr>
            <a:spLocks noGrp="1"/>
          </p:cNvSpPr>
          <p:nvPr>
            <p:ph type="sldNum" sz="quarter" idx="11"/>
          </p:nvPr>
        </p:nvSpPr>
        <p:spPr/>
        <p:txBody>
          <a:bodyPr/>
          <a:lstStyle/>
          <a:p>
            <a:pPr>
              <a:defRPr/>
            </a:pPr>
            <a:fld id="{C5F14C61-931A-4236-A27B-A4A5BA7BA053}" type="slidenum">
              <a:rPr lang="en-GB">
                <a:latin typeface="+mj-lt"/>
              </a:rPr>
              <a:pPr>
                <a:defRPr/>
              </a:pPr>
              <a:t>43</a:t>
            </a:fld>
            <a:endParaRPr lang="en-GB" dirty="0">
              <a:latin typeface="+mj-lt"/>
            </a:endParaRPr>
          </a:p>
        </p:txBody>
      </p:sp>
      <p:sp>
        <p:nvSpPr>
          <p:cNvPr id="22" name="Rectangle 3"/>
          <p:cNvSpPr txBox="1">
            <a:spLocks noChangeArrowheads="1"/>
          </p:cNvSpPr>
          <p:nvPr/>
        </p:nvSpPr>
        <p:spPr bwMode="auto">
          <a:xfrm>
            <a:off x="361950" y="1274763"/>
            <a:ext cx="8285163" cy="46815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90500" indent="-190500" algn="l" rtl="0" eaLnBrk="0" fontAlgn="base" hangingPunct="0">
              <a:lnSpc>
                <a:spcPct val="102000"/>
              </a:lnSpc>
              <a:spcBef>
                <a:spcPct val="0"/>
              </a:spcBef>
              <a:spcAft>
                <a:spcPct val="37000"/>
              </a:spcAft>
              <a:tabLst>
                <a:tab pos="5715000" algn="l"/>
              </a:tabLst>
              <a:defRPr>
                <a:solidFill>
                  <a:srgbClr val="000066"/>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00066"/>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00066"/>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00066"/>
                </a:solidFill>
                <a:latin typeface="+mn-lt"/>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Verdana" pitchFamily="34" charset="0"/>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Verdana" pitchFamily="34" charset="0"/>
              </a:defRPr>
            </a:lvl9pPr>
          </a:lstStyle>
          <a:p>
            <a:pPr>
              <a:lnSpc>
                <a:spcPct val="100000"/>
              </a:lnSpc>
            </a:pPr>
            <a:r>
              <a:rPr lang="en-US" sz="2000" b="0" kern="0" dirty="0" smtClean="0"/>
              <a:t>We see and use visual management every day</a:t>
            </a:r>
          </a:p>
          <a:p>
            <a:pPr marL="342900" indent="-342900">
              <a:lnSpc>
                <a:spcPct val="100000"/>
              </a:lnSpc>
            </a:pPr>
            <a:r>
              <a:rPr lang="en-US" sz="2000" b="0" kern="0" dirty="0" smtClean="0"/>
              <a:t>When processing and delivering orders we see:</a:t>
            </a:r>
          </a:p>
          <a:p>
            <a:pPr marL="790576" lvl="1" indent="-263525">
              <a:lnSpc>
                <a:spcPct val="100000"/>
              </a:lnSpc>
            </a:pPr>
            <a:r>
              <a:rPr lang="en-US" sz="1800" b="0" kern="0" dirty="0" smtClean="0"/>
              <a:t>SAP error messages (</a:t>
            </a:r>
            <a:r>
              <a:rPr lang="en-US" sz="1800" b="0" i="1" kern="0" dirty="0" smtClean="0"/>
              <a:t>that need our attention</a:t>
            </a:r>
            <a:r>
              <a:rPr lang="en-US" sz="1800" b="0" kern="0" dirty="0" smtClean="0"/>
              <a:t>)</a:t>
            </a:r>
          </a:p>
          <a:p>
            <a:pPr marL="790576" lvl="1" indent="-263525">
              <a:lnSpc>
                <a:spcPct val="100000"/>
              </a:lnSpc>
            </a:pPr>
            <a:r>
              <a:rPr lang="en-US" sz="1800" b="0" kern="0" dirty="0" smtClean="0"/>
              <a:t>Control reports (</a:t>
            </a:r>
            <a:r>
              <a:rPr lang="en-US" sz="1800" b="0" i="1" kern="0" dirty="0" smtClean="0"/>
              <a:t>highlighting activities not completed)</a:t>
            </a:r>
          </a:p>
          <a:p>
            <a:pPr marL="790576" lvl="1" indent="-263525">
              <a:lnSpc>
                <a:spcPct val="100000"/>
              </a:lnSpc>
            </a:pPr>
            <a:r>
              <a:rPr lang="en-US" sz="1800" b="0" kern="0" dirty="0" smtClean="0"/>
              <a:t>Vehicle Signs/Lights (</a:t>
            </a:r>
            <a:r>
              <a:rPr lang="en-US" sz="1800" b="0" i="1" kern="0" dirty="0" smtClean="0"/>
              <a:t>assisting </a:t>
            </a:r>
            <a:r>
              <a:rPr lang="en-US" sz="1800" b="0" i="1" kern="0" dirty="0" err="1" smtClean="0"/>
              <a:t>haulier</a:t>
            </a:r>
            <a:r>
              <a:rPr lang="en-US" sz="1800" b="0" i="1" kern="0" dirty="0" smtClean="0"/>
              <a:t> drivers with loading)</a:t>
            </a:r>
          </a:p>
          <a:p>
            <a:pPr marL="790576" lvl="1" indent="-263525">
              <a:lnSpc>
                <a:spcPct val="100000"/>
              </a:lnSpc>
            </a:pPr>
            <a:r>
              <a:rPr lang="en-GB" sz="1800" b="0" kern="0" dirty="0" smtClean="0"/>
              <a:t>Smart suppliers/employees set up and amend templates (</a:t>
            </a:r>
            <a:r>
              <a:rPr lang="en-GB" sz="1800" b="0" i="1" kern="0" dirty="0" smtClean="0"/>
              <a:t>that identify where data has not been entered</a:t>
            </a:r>
            <a:r>
              <a:rPr lang="en-GB" sz="1800" b="0" kern="0" dirty="0" smtClean="0"/>
              <a:t>)</a:t>
            </a:r>
          </a:p>
          <a:p>
            <a:pPr marL="790576" lvl="1" indent="-263525">
              <a:lnSpc>
                <a:spcPct val="100000"/>
              </a:lnSpc>
            </a:pPr>
            <a:r>
              <a:rPr lang="en-GB" sz="1800" b="0" kern="0" dirty="0" smtClean="0"/>
              <a:t>Visual identification signs in warehouses </a:t>
            </a:r>
            <a:r>
              <a:rPr lang="en-GB" sz="1800" b="0" i="1" kern="0" dirty="0" smtClean="0"/>
              <a:t>(to locate product inventory)</a:t>
            </a:r>
            <a:endParaRPr lang="en-US" sz="1800" b="0" i="1" kern="0" dirty="0" smtClean="0"/>
          </a:p>
          <a:p>
            <a:pPr marL="790576" lvl="1" indent="-263525">
              <a:lnSpc>
                <a:spcPct val="100000"/>
              </a:lnSpc>
              <a:buFontTx/>
              <a:buNone/>
            </a:pPr>
            <a:endParaRPr lang="en-US" sz="2000" b="0" kern="0" dirty="0" smtClean="0"/>
          </a:p>
        </p:txBody>
      </p:sp>
      <p:sp>
        <p:nvSpPr>
          <p:cNvPr id="5" name="Text Box 5"/>
          <p:cNvSpPr txBox="1">
            <a:spLocks noChangeArrowheads="1"/>
          </p:cNvSpPr>
          <p:nvPr/>
        </p:nvSpPr>
        <p:spPr bwMode="auto">
          <a:xfrm>
            <a:off x="361950" y="4494308"/>
            <a:ext cx="8455025" cy="3263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wrap="square" lIns="79333" tIns="39667" rIns="79333" bIns="39667">
            <a:spAutoFit/>
          </a:bodyPr>
          <a:lstStyle>
            <a:lvl1pPr algn="l" defTabSz="793750">
              <a:defRPr sz="2400">
                <a:solidFill>
                  <a:schemeClr val="tx1"/>
                </a:solidFill>
                <a:latin typeface="Times New Roman" pitchFamily="18" charset="0"/>
              </a:defRPr>
            </a:lvl1pPr>
            <a:lvl2pPr marL="396875" algn="l" defTabSz="793750">
              <a:defRPr sz="2400">
                <a:solidFill>
                  <a:schemeClr val="tx1"/>
                </a:solidFill>
                <a:latin typeface="Times New Roman" pitchFamily="18" charset="0"/>
              </a:defRPr>
            </a:lvl2pPr>
            <a:lvl3pPr marL="793750" algn="l" defTabSz="793750">
              <a:defRPr sz="2400">
                <a:solidFill>
                  <a:schemeClr val="tx1"/>
                </a:solidFill>
                <a:latin typeface="Times New Roman" pitchFamily="18" charset="0"/>
              </a:defRPr>
            </a:lvl3pPr>
            <a:lvl4pPr marL="1190625" algn="l" defTabSz="793750">
              <a:defRPr sz="2400">
                <a:solidFill>
                  <a:schemeClr val="tx1"/>
                </a:solidFill>
                <a:latin typeface="Times New Roman" pitchFamily="18" charset="0"/>
              </a:defRPr>
            </a:lvl4pPr>
            <a:lvl5pPr marL="1585913" algn="l" defTabSz="793750">
              <a:defRPr sz="2400">
                <a:solidFill>
                  <a:schemeClr val="tx1"/>
                </a:solidFill>
                <a:latin typeface="Times New Roman" pitchFamily="18" charset="0"/>
              </a:defRPr>
            </a:lvl5pPr>
            <a:lvl6pPr marL="2043113" defTabSz="793750" eaLnBrk="0" fontAlgn="base" hangingPunct="0">
              <a:spcBef>
                <a:spcPct val="0"/>
              </a:spcBef>
              <a:spcAft>
                <a:spcPct val="0"/>
              </a:spcAft>
              <a:defRPr sz="2400">
                <a:solidFill>
                  <a:schemeClr val="tx1"/>
                </a:solidFill>
                <a:latin typeface="Times New Roman" pitchFamily="18" charset="0"/>
              </a:defRPr>
            </a:lvl6pPr>
            <a:lvl7pPr marL="2500313" defTabSz="793750" eaLnBrk="0" fontAlgn="base" hangingPunct="0">
              <a:spcBef>
                <a:spcPct val="0"/>
              </a:spcBef>
              <a:spcAft>
                <a:spcPct val="0"/>
              </a:spcAft>
              <a:defRPr sz="2400">
                <a:solidFill>
                  <a:schemeClr val="tx1"/>
                </a:solidFill>
                <a:latin typeface="Times New Roman" pitchFamily="18" charset="0"/>
              </a:defRPr>
            </a:lvl7pPr>
            <a:lvl8pPr marL="2957513" defTabSz="793750" eaLnBrk="0" fontAlgn="base" hangingPunct="0">
              <a:spcBef>
                <a:spcPct val="0"/>
              </a:spcBef>
              <a:spcAft>
                <a:spcPct val="0"/>
              </a:spcAft>
              <a:defRPr sz="2400">
                <a:solidFill>
                  <a:schemeClr val="tx1"/>
                </a:solidFill>
                <a:latin typeface="Times New Roman" pitchFamily="18" charset="0"/>
              </a:defRPr>
            </a:lvl8pPr>
            <a:lvl9pPr marL="3414713" defTabSz="793750" eaLnBrk="0" fontAlgn="base" hangingPunct="0">
              <a:spcBef>
                <a:spcPct val="0"/>
              </a:spcBef>
              <a:spcAft>
                <a:spcPct val="0"/>
              </a:spcAft>
              <a:defRPr sz="2400">
                <a:solidFill>
                  <a:schemeClr val="tx1"/>
                </a:solidFill>
                <a:latin typeface="Times New Roman" pitchFamily="18" charset="0"/>
              </a:defRPr>
            </a:lvl9pPr>
          </a:lstStyle>
          <a:p>
            <a:pPr>
              <a:buClrTx/>
              <a:buSzTx/>
              <a:buFontTx/>
              <a:buNone/>
            </a:pPr>
            <a:r>
              <a:rPr lang="en-GB" altLang="fr-FR" sz="1600" b="1" dirty="0">
                <a:solidFill>
                  <a:schemeClr val="accent1"/>
                </a:solidFill>
                <a:latin typeface="+mj-lt"/>
              </a:rPr>
              <a:t>We are surrounded by </a:t>
            </a:r>
            <a:r>
              <a:rPr lang="en-GB" altLang="fr-FR" sz="1600" b="1" dirty="0" smtClean="0">
                <a:solidFill>
                  <a:schemeClr val="accent1"/>
                </a:solidFill>
                <a:latin typeface="+mj-lt"/>
              </a:rPr>
              <a:t>Visual </a:t>
            </a:r>
            <a:r>
              <a:rPr lang="en-GB" altLang="fr-FR" sz="1600" b="1" dirty="0">
                <a:solidFill>
                  <a:schemeClr val="accent1"/>
                </a:solidFill>
                <a:latin typeface="+mj-lt"/>
              </a:rPr>
              <a:t>Management, </a:t>
            </a:r>
            <a:r>
              <a:rPr lang="en-GB" altLang="fr-FR" sz="1600" b="1" dirty="0" smtClean="0">
                <a:solidFill>
                  <a:schemeClr val="accent1"/>
                </a:solidFill>
                <a:latin typeface="+mj-lt"/>
              </a:rPr>
              <a:t>but </a:t>
            </a:r>
            <a:r>
              <a:rPr lang="en-GB" altLang="fr-FR" sz="1600" b="1" dirty="0">
                <a:solidFill>
                  <a:schemeClr val="accent1"/>
                </a:solidFill>
                <a:latin typeface="+mj-lt"/>
              </a:rPr>
              <a:t>we rarely bring it to work with </a:t>
            </a:r>
            <a:r>
              <a:rPr lang="en-GB" altLang="fr-FR" sz="1600" b="1" dirty="0" smtClean="0">
                <a:solidFill>
                  <a:schemeClr val="accent1"/>
                </a:solidFill>
                <a:latin typeface="+mj-lt"/>
              </a:rPr>
              <a:t>us…</a:t>
            </a:r>
            <a:endParaRPr lang="en-GB" altLang="fr-FR" sz="1600" b="1" dirty="0">
              <a:solidFill>
                <a:schemeClr val="accent1"/>
              </a:solidFill>
              <a:latin typeface="+mj-lt"/>
            </a:endParaRPr>
          </a:p>
        </p:txBody>
      </p:sp>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2858" y="5021444"/>
            <a:ext cx="1022730" cy="10153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pic>
      <p:pic>
        <p:nvPicPr>
          <p:cNvPr id="7" name="Picture 6" descr="bus stop"/>
          <p:cNvPicPr>
            <a:picLocks noChangeAspect="1" noChangeArrowheads="1"/>
          </p:cNvPicPr>
          <p:nvPr/>
        </p:nvPicPr>
        <p:blipFill>
          <a:blip r:embed="rId4">
            <a:lum bright="12000"/>
            <a:extLst>
              <a:ext uri="{28A0092B-C50C-407E-A947-70E740481C1C}">
                <a14:useLocalDpi xmlns:a14="http://schemas.microsoft.com/office/drawing/2010/main" val="0"/>
              </a:ext>
            </a:extLst>
          </a:blip>
          <a:srcRect/>
          <a:stretch>
            <a:fillRect/>
          </a:stretch>
        </p:blipFill>
        <p:spPr bwMode="auto">
          <a:xfrm>
            <a:off x="1167074" y="4984159"/>
            <a:ext cx="815666" cy="119233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98413" y="5053656"/>
            <a:ext cx="1084336" cy="9508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pic>
      <p:pic>
        <p:nvPicPr>
          <p:cNvPr id="9" name="Picture 12" descr="Traffic-Lights-For-Bicycle-LED30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1950" y="4923692"/>
            <a:ext cx="503908" cy="128159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4"/>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97807" y="5101892"/>
            <a:ext cx="1000606" cy="9348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pic>
      <p:pic>
        <p:nvPicPr>
          <p:cNvPr id="11" name="Picture 7" descr="100_28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63515" y="5189819"/>
            <a:ext cx="1900238" cy="6127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9" descr="bsr-a500"/>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93894" y="4937405"/>
            <a:ext cx="706438" cy="1117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782239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22" name="Rectangle 7"/>
          <p:cNvSpPr>
            <a:spLocks noChangeArrowheads="1"/>
          </p:cNvSpPr>
          <p:nvPr/>
        </p:nvSpPr>
        <p:spPr bwMode="auto">
          <a:xfrm>
            <a:off x="363701" y="1162899"/>
            <a:ext cx="8342034" cy="822093"/>
          </a:xfrm>
          <a:prstGeom prst="rect">
            <a:avLst/>
          </a:prstGeom>
          <a:noFill/>
          <a:ln w="9525">
            <a:noFill/>
            <a:miter lim="800000"/>
            <a:headEnd/>
            <a:tailEnd/>
          </a:ln>
        </p:spPr>
        <p:txBody>
          <a:bodyPr/>
          <a:lstStyle/>
          <a:p>
            <a:pPr marL="285750" indent="-285750">
              <a:buFont typeface="Wingdings" panose="05000000000000000000" pitchFamily="2" charset="2"/>
              <a:buChar char="§"/>
            </a:pPr>
            <a:r>
              <a:rPr lang="en-GB" sz="1600" b="0" dirty="0" smtClean="0">
                <a:solidFill>
                  <a:schemeClr val="accent1"/>
                </a:solidFill>
              </a:rPr>
              <a:t>Visual management can be used in many different ways</a:t>
            </a:r>
          </a:p>
          <a:p>
            <a:pPr marL="285750" indent="-285750">
              <a:buFont typeface="Wingdings" panose="05000000000000000000" pitchFamily="2" charset="2"/>
              <a:buChar char="§"/>
            </a:pPr>
            <a:endParaRPr lang="en-GB" sz="1600" b="0" dirty="0">
              <a:solidFill>
                <a:schemeClr val="accent1"/>
              </a:solidFill>
            </a:endParaRPr>
          </a:p>
          <a:p>
            <a:pPr marL="285750" indent="-285750">
              <a:buFont typeface="Wingdings" panose="05000000000000000000" pitchFamily="2" charset="2"/>
              <a:buChar char="§"/>
            </a:pPr>
            <a:r>
              <a:rPr lang="en-GB" sz="1600" b="0" dirty="0" smtClean="0">
                <a:solidFill>
                  <a:schemeClr val="accent1"/>
                </a:solidFill>
              </a:rPr>
              <a:t>What examples can you think of from your other clients?</a:t>
            </a:r>
            <a:endParaRPr lang="en-GB" sz="1600" b="0" dirty="0">
              <a:solidFill>
                <a:schemeClr val="accent1"/>
              </a:solidFill>
            </a:endParaRPr>
          </a:p>
        </p:txBody>
      </p:sp>
      <p:sp>
        <p:nvSpPr>
          <p:cNvPr id="162824"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Simple visual aids can be used throughout the workplace</a:t>
            </a:r>
          </a:p>
        </p:txBody>
      </p:sp>
      <p:sp>
        <p:nvSpPr>
          <p:cNvPr id="9" name="Slide Number Placeholder 4"/>
          <p:cNvSpPr>
            <a:spLocks noGrp="1"/>
          </p:cNvSpPr>
          <p:nvPr>
            <p:ph type="sldNum" sz="quarter" idx="11"/>
          </p:nvPr>
        </p:nvSpPr>
        <p:spPr>
          <a:noFill/>
        </p:spPr>
        <p:txBody>
          <a:bodyPr/>
          <a:lstStyle/>
          <a:p>
            <a:fld id="{8378419C-AF56-455E-844A-2F42E2AED845}" type="slidenum">
              <a:rPr lang="en-GB" altLang="en-GB"/>
              <a:pPr/>
              <a:t>44</a:t>
            </a:fld>
            <a:endParaRPr lang="en-GB" altLang="en-GB"/>
          </a:p>
        </p:txBody>
      </p:sp>
      <p:pic>
        <p:nvPicPr>
          <p:cNvPr id="12290" name="Picture 2" descr="http://www.vsi.eu/afbeeldingen/visual%20managemen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429" y="2206172"/>
            <a:ext cx="8215714" cy="4020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486221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smtClean="0"/>
              <a:t>Examples</a:t>
            </a:r>
            <a:r>
              <a:rPr lang="fr-FR" dirty="0" smtClean="0"/>
              <a:t> of </a:t>
            </a:r>
            <a:r>
              <a:rPr lang="fr-FR" dirty="0" err="1" smtClean="0"/>
              <a:t>visual</a:t>
            </a:r>
            <a:r>
              <a:rPr lang="fr-FR" dirty="0" smtClean="0"/>
              <a:t> management</a:t>
            </a:r>
            <a:endParaRPr lang="fr-FR" dirty="0"/>
          </a:p>
        </p:txBody>
      </p:sp>
      <p:sp>
        <p:nvSpPr>
          <p:cNvPr id="3" name="Footer Placeholder 2"/>
          <p:cNvSpPr>
            <a:spLocks noGrp="1"/>
          </p:cNvSpPr>
          <p:nvPr>
            <p:ph type="ftr" sz="quarter" idx="10"/>
          </p:nvPr>
        </p:nvSpPr>
        <p:spPr/>
        <p:txBody>
          <a:bodyPr/>
          <a:lstStyle/>
          <a:p>
            <a:pPr>
              <a:defRPr/>
            </a:pPr>
            <a:r>
              <a:rPr lang="en-GB" altLang="en-GB" smtClean="0"/>
              <a:t>Lean Workshops</a:t>
            </a:r>
            <a:endParaRPr lang="en-GB" altLang="en-GB"/>
          </a:p>
        </p:txBody>
      </p:sp>
      <p:sp>
        <p:nvSpPr>
          <p:cNvPr id="4" name="Slide Number Placeholder 3"/>
          <p:cNvSpPr>
            <a:spLocks noGrp="1"/>
          </p:cNvSpPr>
          <p:nvPr>
            <p:ph type="sldNum" sz="quarter" idx="11"/>
          </p:nvPr>
        </p:nvSpPr>
        <p:spPr/>
        <p:txBody>
          <a:bodyPr/>
          <a:lstStyle/>
          <a:p>
            <a:pPr>
              <a:defRPr/>
            </a:pPr>
            <a:fld id="{52E1F56E-0AD8-4EA9-9BCA-27C227E9B0E9}" type="slidenum">
              <a:rPr lang="en-GB" altLang="en-GB" smtClean="0"/>
              <a:pPr>
                <a:defRPr/>
              </a:pPr>
              <a:t>45</a:t>
            </a:fld>
            <a:endParaRPr lang="en-GB" altLang="en-GB"/>
          </a:p>
        </p:txBody>
      </p:sp>
      <p:sp>
        <p:nvSpPr>
          <p:cNvPr id="5" name="Rectangle 4"/>
          <p:cNvSpPr/>
          <p:nvPr/>
        </p:nvSpPr>
        <p:spPr>
          <a:xfrm>
            <a:off x="21772" y="36286"/>
            <a:ext cx="9072000" cy="67680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97" descr="6-29-06 4.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361950" y="4179032"/>
            <a:ext cx="2174379" cy="213282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9" descr="7.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950" y="1287462"/>
            <a:ext cx="2174379" cy="2132823"/>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100"/>
          <p:cNvSpPr txBox="1">
            <a:spLocks noChangeArrowheads="1"/>
          </p:cNvSpPr>
          <p:nvPr/>
        </p:nvSpPr>
        <p:spPr bwMode="gray">
          <a:xfrm>
            <a:off x="361950" y="6318250"/>
            <a:ext cx="2495360"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219075" indent="-219075" algn="l" defTabSz="844550">
              <a:defRPr sz="2400">
                <a:solidFill>
                  <a:schemeClr val="tx1"/>
                </a:solidFill>
                <a:latin typeface="Times New Roman" pitchFamily="18" charset="0"/>
              </a:defRPr>
            </a:lvl1pPr>
            <a:lvl2pPr algn="l" defTabSz="844550">
              <a:defRPr sz="2400">
                <a:solidFill>
                  <a:schemeClr val="tx1"/>
                </a:solidFill>
                <a:latin typeface="Times New Roman" pitchFamily="18" charset="0"/>
              </a:defRPr>
            </a:lvl2pPr>
            <a:lvl3pPr algn="l" defTabSz="844550">
              <a:defRPr sz="2400">
                <a:solidFill>
                  <a:schemeClr val="tx1"/>
                </a:solidFill>
                <a:latin typeface="Times New Roman" pitchFamily="18" charset="0"/>
              </a:defRPr>
            </a:lvl3pPr>
            <a:lvl4pPr algn="l" defTabSz="844550">
              <a:defRPr sz="2400">
                <a:solidFill>
                  <a:schemeClr val="tx1"/>
                </a:solidFill>
                <a:latin typeface="Times New Roman" pitchFamily="18" charset="0"/>
              </a:defRPr>
            </a:lvl4pPr>
            <a:lvl5pPr algn="l" defTabSz="844550">
              <a:defRPr sz="2400">
                <a:solidFill>
                  <a:schemeClr val="tx1"/>
                </a:solidFill>
                <a:latin typeface="Times New Roman" pitchFamily="18" charset="0"/>
              </a:defRPr>
            </a:lvl5pPr>
            <a:lvl6pPr defTabSz="844550" eaLnBrk="0" fontAlgn="base" hangingPunct="0">
              <a:spcBef>
                <a:spcPct val="0"/>
              </a:spcBef>
              <a:spcAft>
                <a:spcPct val="0"/>
              </a:spcAft>
              <a:defRPr sz="2400">
                <a:solidFill>
                  <a:schemeClr val="tx1"/>
                </a:solidFill>
                <a:latin typeface="Times New Roman" pitchFamily="18" charset="0"/>
              </a:defRPr>
            </a:lvl6pPr>
            <a:lvl7pPr defTabSz="844550" eaLnBrk="0" fontAlgn="base" hangingPunct="0">
              <a:spcBef>
                <a:spcPct val="0"/>
              </a:spcBef>
              <a:spcAft>
                <a:spcPct val="0"/>
              </a:spcAft>
              <a:defRPr sz="2400">
                <a:solidFill>
                  <a:schemeClr val="tx1"/>
                </a:solidFill>
                <a:latin typeface="Times New Roman" pitchFamily="18" charset="0"/>
              </a:defRPr>
            </a:lvl7pPr>
            <a:lvl8pPr defTabSz="844550" eaLnBrk="0" fontAlgn="base" hangingPunct="0">
              <a:spcBef>
                <a:spcPct val="0"/>
              </a:spcBef>
              <a:spcAft>
                <a:spcPct val="0"/>
              </a:spcAft>
              <a:defRPr sz="2400">
                <a:solidFill>
                  <a:schemeClr val="tx1"/>
                </a:solidFill>
                <a:latin typeface="Times New Roman" pitchFamily="18" charset="0"/>
              </a:defRPr>
            </a:lvl8pPr>
            <a:lvl9pPr defTabSz="844550" eaLnBrk="0" fontAlgn="base" hangingPunct="0">
              <a:spcBef>
                <a:spcPct val="0"/>
              </a:spcBef>
              <a:spcAft>
                <a:spcPct val="0"/>
              </a:spcAft>
              <a:defRPr sz="2400">
                <a:solidFill>
                  <a:schemeClr val="tx1"/>
                </a:solidFill>
                <a:latin typeface="Times New Roman" pitchFamily="18" charset="0"/>
              </a:defRPr>
            </a:lvl9pPr>
          </a:lstStyle>
          <a:p>
            <a:r>
              <a:rPr lang="en-GB" altLang="fr-FR" sz="1400" b="1" i="1" dirty="0">
                <a:latin typeface="Barclays Sans" pitchFamily="34" charset="0"/>
              </a:rPr>
              <a:t>Stationery cupboard</a:t>
            </a:r>
          </a:p>
        </p:txBody>
      </p:sp>
      <p:sp>
        <p:nvSpPr>
          <p:cNvPr id="9" name="Text Box 101"/>
          <p:cNvSpPr txBox="1">
            <a:spLocks noChangeArrowheads="1"/>
          </p:cNvSpPr>
          <p:nvPr/>
        </p:nvSpPr>
        <p:spPr bwMode="gray">
          <a:xfrm>
            <a:off x="361950" y="3429000"/>
            <a:ext cx="2174379"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219075" indent="-219075" algn="l" defTabSz="844550">
              <a:defRPr sz="2400">
                <a:solidFill>
                  <a:schemeClr val="tx1"/>
                </a:solidFill>
                <a:latin typeface="Times New Roman" pitchFamily="18" charset="0"/>
              </a:defRPr>
            </a:lvl1pPr>
            <a:lvl2pPr algn="l" defTabSz="844550">
              <a:defRPr sz="2400">
                <a:solidFill>
                  <a:schemeClr val="tx1"/>
                </a:solidFill>
                <a:latin typeface="Times New Roman" pitchFamily="18" charset="0"/>
              </a:defRPr>
            </a:lvl2pPr>
            <a:lvl3pPr algn="l" defTabSz="844550">
              <a:defRPr sz="2400">
                <a:solidFill>
                  <a:schemeClr val="tx1"/>
                </a:solidFill>
                <a:latin typeface="Times New Roman" pitchFamily="18" charset="0"/>
              </a:defRPr>
            </a:lvl3pPr>
            <a:lvl4pPr algn="l" defTabSz="844550">
              <a:defRPr sz="2400">
                <a:solidFill>
                  <a:schemeClr val="tx1"/>
                </a:solidFill>
                <a:latin typeface="Times New Roman" pitchFamily="18" charset="0"/>
              </a:defRPr>
            </a:lvl4pPr>
            <a:lvl5pPr algn="l" defTabSz="844550">
              <a:defRPr sz="2400">
                <a:solidFill>
                  <a:schemeClr val="tx1"/>
                </a:solidFill>
                <a:latin typeface="Times New Roman" pitchFamily="18" charset="0"/>
              </a:defRPr>
            </a:lvl5pPr>
            <a:lvl6pPr defTabSz="844550" eaLnBrk="0" fontAlgn="base" hangingPunct="0">
              <a:spcBef>
                <a:spcPct val="0"/>
              </a:spcBef>
              <a:spcAft>
                <a:spcPct val="0"/>
              </a:spcAft>
              <a:defRPr sz="2400">
                <a:solidFill>
                  <a:schemeClr val="tx1"/>
                </a:solidFill>
                <a:latin typeface="Times New Roman" pitchFamily="18" charset="0"/>
              </a:defRPr>
            </a:lvl6pPr>
            <a:lvl7pPr defTabSz="844550" eaLnBrk="0" fontAlgn="base" hangingPunct="0">
              <a:spcBef>
                <a:spcPct val="0"/>
              </a:spcBef>
              <a:spcAft>
                <a:spcPct val="0"/>
              </a:spcAft>
              <a:defRPr sz="2400">
                <a:solidFill>
                  <a:schemeClr val="tx1"/>
                </a:solidFill>
                <a:latin typeface="Times New Roman" pitchFamily="18" charset="0"/>
              </a:defRPr>
            </a:lvl7pPr>
            <a:lvl8pPr defTabSz="844550" eaLnBrk="0" fontAlgn="base" hangingPunct="0">
              <a:spcBef>
                <a:spcPct val="0"/>
              </a:spcBef>
              <a:spcAft>
                <a:spcPct val="0"/>
              </a:spcAft>
              <a:defRPr sz="2400">
                <a:solidFill>
                  <a:schemeClr val="tx1"/>
                </a:solidFill>
                <a:latin typeface="Times New Roman" pitchFamily="18" charset="0"/>
              </a:defRPr>
            </a:lvl8pPr>
            <a:lvl9pPr defTabSz="844550" eaLnBrk="0" fontAlgn="base" hangingPunct="0">
              <a:spcBef>
                <a:spcPct val="0"/>
              </a:spcBef>
              <a:spcAft>
                <a:spcPct val="0"/>
              </a:spcAft>
              <a:defRPr sz="2400">
                <a:solidFill>
                  <a:schemeClr val="tx1"/>
                </a:solidFill>
                <a:latin typeface="Times New Roman" pitchFamily="18" charset="0"/>
              </a:defRPr>
            </a:lvl9pPr>
          </a:lstStyle>
          <a:p>
            <a:r>
              <a:rPr lang="en-GB" altLang="fr-FR" sz="1400" b="1" i="1" dirty="0">
                <a:latin typeface="Barclays Sans" pitchFamily="34" charset="0"/>
              </a:rPr>
              <a:t>File cupboard</a:t>
            </a:r>
          </a:p>
        </p:txBody>
      </p:sp>
      <p:pic>
        <p:nvPicPr>
          <p:cNvPr id="10" name="Picture 2" descr="DSC0018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3112" y="1287463"/>
            <a:ext cx="2684287" cy="2166514"/>
          </a:xfrm>
          <a:prstGeom prst="rect">
            <a:avLst/>
          </a:prstGeom>
          <a:noFill/>
          <a:extLst>
            <a:ext uri="{909E8E84-426E-40DD-AFC4-6F175D3DCCD1}">
              <a14:hiddenFill xmlns:a14="http://schemas.microsoft.com/office/drawing/2010/main">
                <a:solidFill>
                  <a:srgbClr val="FFFFFF"/>
                </a:solidFill>
              </a14:hiddenFill>
            </a:ext>
          </a:extLst>
        </p:spPr>
      </p:pic>
      <p:sp>
        <p:nvSpPr>
          <p:cNvPr id="11" name="Oval 7"/>
          <p:cNvSpPr>
            <a:spLocks noChangeArrowheads="1"/>
          </p:cNvSpPr>
          <p:nvPr/>
        </p:nvSpPr>
        <p:spPr bwMode="gray">
          <a:xfrm>
            <a:off x="3119590" y="2086092"/>
            <a:ext cx="1551002" cy="1039245"/>
          </a:xfrm>
          <a:prstGeom prst="ellipse">
            <a:avLst/>
          </a:prstGeom>
          <a:noFill/>
          <a:ln w="38100" algn="ctr">
            <a:solidFill>
              <a:srgbClr val="FF0000"/>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fr-FR"/>
          </a:p>
        </p:txBody>
      </p:sp>
      <p:pic>
        <p:nvPicPr>
          <p:cNvPr id="12" name="Picture 4" descr="Stadeln_001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83112" y="4226066"/>
            <a:ext cx="2684287" cy="2092184"/>
          </a:xfrm>
          <a:prstGeom prst="rect">
            <a:avLst/>
          </a:prstGeom>
          <a:noFill/>
          <a:extLst>
            <a:ext uri="{909E8E84-426E-40DD-AFC4-6F175D3DCCD1}">
              <a14:hiddenFill xmlns:a14="http://schemas.microsoft.com/office/drawing/2010/main">
                <a:solidFill>
                  <a:srgbClr val="FFFFFF"/>
                </a:solidFill>
              </a14:hiddenFill>
            </a:ext>
          </a:extLst>
        </p:spPr>
      </p:pic>
      <p:sp>
        <p:nvSpPr>
          <p:cNvPr id="13" name="Oval 8"/>
          <p:cNvSpPr>
            <a:spLocks noChangeArrowheads="1"/>
          </p:cNvSpPr>
          <p:nvPr/>
        </p:nvSpPr>
        <p:spPr bwMode="gray">
          <a:xfrm>
            <a:off x="2891036" y="5427139"/>
            <a:ext cx="2776363" cy="617041"/>
          </a:xfrm>
          <a:prstGeom prst="ellipse">
            <a:avLst/>
          </a:prstGeom>
          <a:noFill/>
          <a:ln w="38100" algn="ctr">
            <a:solidFill>
              <a:srgbClr val="00FF00"/>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fr-FR"/>
          </a:p>
        </p:txBody>
      </p:sp>
      <p:cxnSp>
        <p:nvCxnSpPr>
          <p:cNvPr id="16" name="Straight Arrow Connector 15"/>
          <p:cNvCxnSpPr>
            <a:stCxn id="10" idx="2"/>
            <a:endCxn id="12" idx="0"/>
          </p:cNvCxnSpPr>
          <p:nvPr/>
        </p:nvCxnSpPr>
        <p:spPr bwMode="auto">
          <a:xfrm>
            <a:off x="4325256" y="3453977"/>
            <a:ext cx="0" cy="772089"/>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14" name="Text Box 101"/>
          <p:cNvSpPr txBox="1">
            <a:spLocks noChangeArrowheads="1"/>
          </p:cNvSpPr>
          <p:nvPr/>
        </p:nvSpPr>
        <p:spPr bwMode="gray">
          <a:xfrm>
            <a:off x="2996760" y="3592776"/>
            <a:ext cx="2684287" cy="436017"/>
          </a:xfrm>
          <a:prstGeom prst="rect">
            <a:avLst/>
          </a:prstGeom>
          <a:solidFill>
            <a:schemeClr val="bg1"/>
          </a:solidFill>
          <a:ln>
            <a:noFill/>
          </a:ln>
          <a:effectLst/>
        </p:spPr>
        <p:txBody>
          <a:bodyPr wrap="square" lIns="0" tIns="0" rIns="0" bIns="0">
            <a:spAutoFit/>
          </a:bodyPr>
          <a:lstStyle>
            <a:lvl1pPr marL="219075" indent="-219075" algn="l" defTabSz="844550">
              <a:defRPr sz="2400">
                <a:solidFill>
                  <a:schemeClr val="tx1"/>
                </a:solidFill>
                <a:latin typeface="Times New Roman" pitchFamily="18" charset="0"/>
              </a:defRPr>
            </a:lvl1pPr>
            <a:lvl2pPr algn="l" defTabSz="844550">
              <a:defRPr sz="2400">
                <a:solidFill>
                  <a:schemeClr val="tx1"/>
                </a:solidFill>
                <a:latin typeface="Times New Roman" pitchFamily="18" charset="0"/>
              </a:defRPr>
            </a:lvl2pPr>
            <a:lvl3pPr algn="l" defTabSz="844550">
              <a:defRPr sz="2400">
                <a:solidFill>
                  <a:schemeClr val="tx1"/>
                </a:solidFill>
                <a:latin typeface="Times New Roman" pitchFamily="18" charset="0"/>
              </a:defRPr>
            </a:lvl3pPr>
            <a:lvl4pPr algn="l" defTabSz="844550">
              <a:defRPr sz="2400">
                <a:solidFill>
                  <a:schemeClr val="tx1"/>
                </a:solidFill>
                <a:latin typeface="Times New Roman" pitchFamily="18" charset="0"/>
              </a:defRPr>
            </a:lvl4pPr>
            <a:lvl5pPr algn="l" defTabSz="844550">
              <a:defRPr sz="2400">
                <a:solidFill>
                  <a:schemeClr val="tx1"/>
                </a:solidFill>
                <a:latin typeface="Times New Roman" pitchFamily="18" charset="0"/>
              </a:defRPr>
            </a:lvl5pPr>
            <a:lvl6pPr defTabSz="844550" eaLnBrk="0" fontAlgn="base" hangingPunct="0">
              <a:spcBef>
                <a:spcPct val="0"/>
              </a:spcBef>
              <a:spcAft>
                <a:spcPct val="0"/>
              </a:spcAft>
              <a:defRPr sz="2400">
                <a:solidFill>
                  <a:schemeClr val="tx1"/>
                </a:solidFill>
                <a:latin typeface="Times New Roman" pitchFamily="18" charset="0"/>
              </a:defRPr>
            </a:lvl6pPr>
            <a:lvl7pPr defTabSz="844550" eaLnBrk="0" fontAlgn="base" hangingPunct="0">
              <a:spcBef>
                <a:spcPct val="0"/>
              </a:spcBef>
              <a:spcAft>
                <a:spcPct val="0"/>
              </a:spcAft>
              <a:defRPr sz="2400">
                <a:solidFill>
                  <a:schemeClr val="tx1"/>
                </a:solidFill>
                <a:latin typeface="Times New Roman" pitchFamily="18" charset="0"/>
              </a:defRPr>
            </a:lvl7pPr>
            <a:lvl8pPr defTabSz="844550" eaLnBrk="0" fontAlgn="base" hangingPunct="0">
              <a:spcBef>
                <a:spcPct val="0"/>
              </a:spcBef>
              <a:spcAft>
                <a:spcPct val="0"/>
              </a:spcAft>
              <a:defRPr sz="2400">
                <a:solidFill>
                  <a:schemeClr val="tx1"/>
                </a:solidFill>
                <a:latin typeface="Times New Roman" pitchFamily="18" charset="0"/>
              </a:defRPr>
            </a:lvl8pPr>
            <a:lvl9pPr defTabSz="844550" eaLnBrk="0" fontAlgn="base" hangingPunct="0">
              <a:spcBef>
                <a:spcPct val="0"/>
              </a:spcBef>
              <a:spcAft>
                <a:spcPct val="0"/>
              </a:spcAft>
              <a:defRPr sz="2400">
                <a:solidFill>
                  <a:schemeClr val="tx1"/>
                </a:solidFill>
                <a:latin typeface="Times New Roman" pitchFamily="18" charset="0"/>
              </a:defRPr>
            </a:lvl9pPr>
          </a:lstStyle>
          <a:p>
            <a:pPr marL="0" indent="0" algn="ctr">
              <a:lnSpc>
                <a:spcPts val="1700"/>
              </a:lnSpc>
            </a:pPr>
            <a:r>
              <a:rPr lang="en-GB" altLang="fr-FR" sz="1400" b="1" i="1" dirty="0" smtClean="0">
                <a:latin typeface="Barclays Sans" pitchFamily="34" charset="0"/>
              </a:rPr>
              <a:t>From hidden to making </a:t>
            </a:r>
          </a:p>
          <a:p>
            <a:pPr marL="0" indent="0" algn="ctr">
              <a:lnSpc>
                <a:spcPts val="1700"/>
              </a:lnSpc>
            </a:pPr>
            <a:r>
              <a:rPr lang="en-GB" altLang="fr-FR" sz="1400" b="1" i="1" dirty="0" smtClean="0">
                <a:latin typeface="Barclays Sans" pitchFamily="34" charset="0"/>
              </a:rPr>
              <a:t>the work visible :</a:t>
            </a:r>
            <a:endParaRPr lang="en-GB" altLang="fr-FR" sz="1400" b="1" i="1" dirty="0">
              <a:latin typeface="Barclays Sans" pitchFamily="34" charset="0"/>
            </a:endParaRPr>
          </a:p>
        </p:txBody>
      </p:sp>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67475" y="1280394"/>
            <a:ext cx="2741283" cy="3937753"/>
          </a:xfrm>
          <a:prstGeom prst="rect">
            <a:avLst/>
          </a:prstGeom>
        </p:spPr>
      </p:pic>
      <p:sp>
        <p:nvSpPr>
          <p:cNvPr id="20" name="Text Box 101"/>
          <p:cNvSpPr txBox="1">
            <a:spLocks noChangeArrowheads="1"/>
          </p:cNvSpPr>
          <p:nvPr/>
        </p:nvSpPr>
        <p:spPr bwMode="gray">
          <a:xfrm>
            <a:off x="6105392" y="5245443"/>
            <a:ext cx="2684287" cy="654025"/>
          </a:xfrm>
          <a:prstGeom prst="rect">
            <a:avLst/>
          </a:prstGeom>
          <a:solidFill>
            <a:schemeClr val="bg1"/>
          </a:solidFill>
          <a:ln>
            <a:noFill/>
          </a:ln>
          <a:effectLst/>
        </p:spPr>
        <p:txBody>
          <a:bodyPr wrap="square" lIns="0" tIns="0" rIns="0" bIns="0">
            <a:spAutoFit/>
          </a:bodyPr>
          <a:lstStyle>
            <a:lvl1pPr marL="219075" indent="-219075" algn="l" defTabSz="844550">
              <a:defRPr sz="2400">
                <a:solidFill>
                  <a:schemeClr val="tx1"/>
                </a:solidFill>
                <a:latin typeface="Times New Roman" pitchFamily="18" charset="0"/>
              </a:defRPr>
            </a:lvl1pPr>
            <a:lvl2pPr algn="l" defTabSz="844550">
              <a:defRPr sz="2400">
                <a:solidFill>
                  <a:schemeClr val="tx1"/>
                </a:solidFill>
                <a:latin typeface="Times New Roman" pitchFamily="18" charset="0"/>
              </a:defRPr>
            </a:lvl2pPr>
            <a:lvl3pPr algn="l" defTabSz="844550">
              <a:defRPr sz="2400">
                <a:solidFill>
                  <a:schemeClr val="tx1"/>
                </a:solidFill>
                <a:latin typeface="Times New Roman" pitchFamily="18" charset="0"/>
              </a:defRPr>
            </a:lvl3pPr>
            <a:lvl4pPr algn="l" defTabSz="844550">
              <a:defRPr sz="2400">
                <a:solidFill>
                  <a:schemeClr val="tx1"/>
                </a:solidFill>
                <a:latin typeface="Times New Roman" pitchFamily="18" charset="0"/>
              </a:defRPr>
            </a:lvl4pPr>
            <a:lvl5pPr algn="l" defTabSz="844550">
              <a:defRPr sz="2400">
                <a:solidFill>
                  <a:schemeClr val="tx1"/>
                </a:solidFill>
                <a:latin typeface="Times New Roman" pitchFamily="18" charset="0"/>
              </a:defRPr>
            </a:lvl5pPr>
            <a:lvl6pPr defTabSz="844550" eaLnBrk="0" fontAlgn="base" hangingPunct="0">
              <a:spcBef>
                <a:spcPct val="0"/>
              </a:spcBef>
              <a:spcAft>
                <a:spcPct val="0"/>
              </a:spcAft>
              <a:defRPr sz="2400">
                <a:solidFill>
                  <a:schemeClr val="tx1"/>
                </a:solidFill>
                <a:latin typeface="Times New Roman" pitchFamily="18" charset="0"/>
              </a:defRPr>
            </a:lvl6pPr>
            <a:lvl7pPr defTabSz="844550" eaLnBrk="0" fontAlgn="base" hangingPunct="0">
              <a:spcBef>
                <a:spcPct val="0"/>
              </a:spcBef>
              <a:spcAft>
                <a:spcPct val="0"/>
              </a:spcAft>
              <a:defRPr sz="2400">
                <a:solidFill>
                  <a:schemeClr val="tx1"/>
                </a:solidFill>
                <a:latin typeface="Times New Roman" pitchFamily="18" charset="0"/>
              </a:defRPr>
            </a:lvl7pPr>
            <a:lvl8pPr defTabSz="844550" eaLnBrk="0" fontAlgn="base" hangingPunct="0">
              <a:spcBef>
                <a:spcPct val="0"/>
              </a:spcBef>
              <a:spcAft>
                <a:spcPct val="0"/>
              </a:spcAft>
              <a:defRPr sz="2400">
                <a:solidFill>
                  <a:schemeClr val="tx1"/>
                </a:solidFill>
                <a:latin typeface="Times New Roman" pitchFamily="18" charset="0"/>
              </a:defRPr>
            </a:lvl8pPr>
            <a:lvl9pPr defTabSz="844550" eaLnBrk="0" fontAlgn="base" hangingPunct="0">
              <a:spcBef>
                <a:spcPct val="0"/>
              </a:spcBef>
              <a:spcAft>
                <a:spcPct val="0"/>
              </a:spcAft>
              <a:defRPr sz="2400">
                <a:solidFill>
                  <a:schemeClr val="tx1"/>
                </a:solidFill>
                <a:latin typeface="Times New Roman" pitchFamily="18" charset="0"/>
              </a:defRPr>
            </a:lvl9pPr>
          </a:lstStyle>
          <a:p>
            <a:pPr marL="0" indent="0">
              <a:lnSpc>
                <a:spcPts val="1700"/>
              </a:lnSpc>
            </a:pPr>
            <a:r>
              <a:rPr lang="en-GB" altLang="fr-FR" sz="1400" b="1" i="1" dirty="0" smtClean="0">
                <a:latin typeface="Barclays Sans" pitchFamily="34" charset="0"/>
              </a:rPr>
              <a:t>Progress board : to share with the team the progress to date and the actions to complete</a:t>
            </a:r>
            <a:endParaRPr lang="en-GB" altLang="fr-FR" sz="1400" b="1" i="1" dirty="0">
              <a:latin typeface="Barclays Sans" pitchFamily="34" charset="0"/>
            </a:endParaRPr>
          </a:p>
        </p:txBody>
      </p:sp>
    </p:spTree>
    <p:extLst>
      <p:ext uri="{BB962C8B-B14F-4D97-AF65-F5344CB8AC3E}">
        <p14:creationId xmlns:p14="http://schemas.microsoft.com/office/powerpoint/2010/main" val="28008129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06"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Visual Management - KPI &amp; Metrics</a:t>
            </a:r>
          </a:p>
        </p:txBody>
      </p:sp>
      <p:sp>
        <p:nvSpPr>
          <p:cNvPr id="161794" name="Rectangle 33"/>
          <p:cNvSpPr>
            <a:spLocks noGrp="1" noChangeArrowheads="1"/>
          </p:cNvSpPr>
          <p:nvPr>
            <p:ph idx="1"/>
          </p:nvPr>
        </p:nvSpPr>
        <p:spPr>
          <a:xfrm>
            <a:off x="463550" y="1258206"/>
            <a:ext cx="8237537" cy="1058862"/>
          </a:xfrm>
        </p:spPr>
        <p:txBody>
          <a:bodyPr/>
          <a:lstStyle/>
          <a:p>
            <a:pPr marL="285750" indent="-285750" eaLnBrk="1" hangingPunct="1">
              <a:buFont typeface="Wingdings" panose="05000000000000000000" pitchFamily="2" charset="2"/>
              <a:buChar char="§"/>
            </a:pPr>
            <a:r>
              <a:rPr lang="en-GB" sz="1600" dirty="0" smtClean="0"/>
              <a:t>Visual management shows KPIs that inform you of the </a:t>
            </a:r>
            <a:r>
              <a:rPr lang="en-GB" sz="1600" b="1" dirty="0" smtClean="0"/>
              <a:t>CURRENT STATUS </a:t>
            </a:r>
            <a:r>
              <a:rPr lang="en-GB" sz="1600" dirty="0" smtClean="0"/>
              <a:t>enabling you to make a controlled change.</a:t>
            </a:r>
          </a:p>
          <a:p>
            <a:pPr marL="285750" indent="-285750" eaLnBrk="1" hangingPunct="1">
              <a:buFont typeface="Wingdings" panose="05000000000000000000" pitchFamily="2" charset="2"/>
              <a:buChar char="§"/>
            </a:pPr>
            <a:r>
              <a:rPr lang="en-GB" sz="1600" dirty="0" smtClean="0"/>
              <a:t>Can your resources react to a change in customer demand?</a:t>
            </a:r>
          </a:p>
        </p:txBody>
      </p:sp>
      <p:sp>
        <p:nvSpPr>
          <p:cNvPr id="31" name="Slide Number Placeholder 4"/>
          <p:cNvSpPr>
            <a:spLocks noGrp="1"/>
          </p:cNvSpPr>
          <p:nvPr>
            <p:ph type="sldNum" sz="quarter" idx="11"/>
          </p:nvPr>
        </p:nvSpPr>
        <p:spPr>
          <a:noFill/>
        </p:spPr>
        <p:txBody>
          <a:bodyPr/>
          <a:lstStyle/>
          <a:p>
            <a:fld id="{8378419C-AF56-455E-844A-2F42E2AED845}" type="slidenum">
              <a:rPr lang="en-GB" altLang="en-GB"/>
              <a:pPr/>
              <a:t>46</a:t>
            </a:fld>
            <a:endParaRPr lang="en-GB" altLang="en-GB"/>
          </a:p>
        </p:txBody>
      </p:sp>
      <p:sp>
        <p:nvSpPr>
          <p:cNvPr id="161796" name="Rectangle 4"/>
          <p:cNvSpPr>
            <a:spLocks noChangeArrowheads="1"/>
          </p:cNvSpPr>
          <p:nvPr/>
        </p:nvSpPr>
        <p:spPr bwMode="auto">
          <a:xfrm>
            <a:off x="361950" y="5621338"/>
            <a:ext cx="8455025" cy="669925"/>
          </a:xfrm>
          <a:prstGeom prst="rect">
            <a:avLst/>
          </a:prstGeom>
          <a:solidFill>
            <a:schemeClr val="accent3"/>
          </a:solidFill>
          <a:ln w="28575" algn="ctr">
            <a:noFill/>
            <a:miter lim="800000"/>
            <a:headEnd/>
            <a:tailEnd/>
          </a:ln>
        </p:spPr>
        <p:txBody>
          <a:bodyPr wrap="square" lIns="91429" tIns="45715" rIns="91429" bIns="45715">
            <a:spAutoFit/>
          </a:bodyPr>
          <a:lstStyle/>
          <a:p>
            <a:pPr algn="ctr" eaLnBrk="0" hangingPunct="0">
              <a:buClr>
                <a:srgbClr val="009900"/>
              </a:buClr>
              <a:buFont typeface="Monotype Sorts" pitchFamily="2" charset="2"/>
              <a:buNone/>
            </a:pPr>
            <a:r>
              <a:rPr lang="en-GB" dirty="0">
                <a:solidFill>
                  <a:schemeClr val="bg1"/>
                </a:solidFill>
              </a:rPr>
              <a:t>Visual Displays allow us to highlight the gap between actual and expected performance and can act as the kick-off to improvement projects</a:t>
            </a:r>
          </a:p>
        </p:txBody>
      </p:sp>
      <p:sp>
        <p:nvSpPr>
          <p:cNvPr id="161797" name="Text Box 6"/>
          <p:cNvSpPr txBox="1">
            <a:spLocks noChangeArrowheads="1"/>
          </p:cNvSpPr>
          <p:nvPr/>
        </p:nvSpPr>
        <p:spPr bwMode="auto">
          <a:xfrm>
            <a:off x="831850" y="5087938"/>
            <a:ext cx="3659188" cy="336550"/>
          </a:xfrm>
          <a:prstGeom prst="rect">
            <a:avLst/>
          </a:prstGeom>
          <a:noFill/>
          <a:ln w="28575" algn="ctr">
            <a:noFill/>
            <a:miter lim="800000"/>
            <a:headEnd/>
            <a:tailEnd/>
          </a:ln>
        </p:spPr>
        <p:txBody>
          <a:bodyPr>
            <a:spAutoFit/>
          </a:bodyPr>
          <a:lstStyle/>
          <a:p>
            <a:pPr algn="ctr">
              <a:spcBef>
                <a:spcPct val="5000"/>
              </a:spcBef>
            </a:pPr>
            <a:r>
              <a:rPr lang="en-GB" sz="1600" b="0"/>
              <a:t>Limited scope to improve</a:t>
            </a:r>
          </a:p>
        </p:txBody>
      </p:sp>
      <p:sp>
        <p:nvSpPr>
          <p:cNvPr id="161798" name="Text Box 7"/>
          <p:cNvSpPr txBox="1">
            <a:spLocks noChangeArrowheads="1"/>
          </p:cNvSpPr>
          <p:nvPr/>
        </p:nvSpPr>
        <p:spPr bwMode="auto">
          <a:xfrm>
            <a:off x="5122863" y="5087938"/>
            <a:ext cx="3084512" cy="336550"/>
          </a:xfrm>
          <a:prstGeom prst="rect">
            <a:avLst/>
          </a:prstGeom>
          <a:noFill/>
          <a:ln w="28575" algn="ctr">
            <a:noFill/>
            <a:miter lim="800000"/>
            <a:headEnd/>
            <a:tailEnd/>
          </a:ln>
        </p:spPr>
        <p:txBody>
          <a:bodyPr wrap="none">
            <a:spAutoFit/>
          </a:bodyPr>
          <a:lstStyle/>
          <a:p>
            <a:pPr algn="ctr">
              <a:spcBef>
                <a:spcPct val="5000"/>
              </a:spcBef>
            </a:pPr>
            <a:r>
              <a:rPr lang="en-GB" sz="1600" b="0"/>
              <a:t>Enable continuous improvement</a:t>
            </a:r>
          </a:p>
        </p:txBody>
      </p:sp>
      <p:sp>
        <p:nvSpPr>
          <p:cNvPr id="161799" name="Text Box 8"/>
          <p:cNvSpPr txBox="1">
            <a:spLocks noChangeArrowheads="1"/>
          </p:cNvSpPr>
          <p:nvPr/>
        </p:nvSpPr>
        <p:spPr bwMode="auto">
          <a:xfrm>
            <a:off x="4295775" y="2300288"/>
            <a:ext cx="3182938" cy="938212"/>
          </a:xfrm>
          <a:prstGeom prst="rect">
            <a:avLst/>
          </a:prstGeom>
          <a:noFill/>
          <a:ln w="28575" algn="ctr">
            <a:noFill/>
            <a:miter lim="800000"/>
            <a:headEnd/>
            <a:tailEnd/>
          </a:ln>
        </p:spPr>
        <p:txBody>
          <a:bodyPr wrap="none"/>
          <a:lstStyle/>
          <a:p>
            <a:pPr algn="ctr">
              <a:spcBef>
                <a:spcPct val="5000"/>
              </a:spcBef>
            </a:pPr>
            <a:r>
              <a:rPr lang="en-GB" dirty="0"/>
              <a:t>Improving the future:</a:t>
            </a:r>
            <a:endParaRPr lang="en-GB" sz="1600" dirty="0"/>
          </a:p>
          <a:p>
            <a:pPr algn="ctr">
              <a:spcBef>
                <a:spcPct val="5000"/>
              </a:spcBef>
            </a:pPr>
            <a:r>
              <a:rPr lang="en-GB" sz="1600" b="0" dirty="0">
                <a:solidFill>
                  <a:srgbClr val="92D400"/>
                </a:solidFill>
              </a:rPr>
              <a:t>Reacting to current progress</a:t>
            </a:r>
          </a:p>
          <a:p>
            <a:pPr algn="ctr">
              <a:spcBef>
                <a:spcPct val="5000"/>
              </a:spcBef>
            </a:pPr>
            <a:r>
              <a:rPr lang="en-GB" sz="1600" b="0" dirty="0">
                <a:solidFill>
                  <a:srgbClr val="92D400"/>
                </a:solidFill>
              </a:rPr>
              <a:t>Addressing today's issues</a:t>
            </a:r>
          </a:p>
        </p:txBody>
      </p:sp>
      <p:sp>
        <p:nvSpPr>
          <p:cNvPr id="161800" name="Text Box 9"/>
          <p:cNvSpPr txBox="1">
            <a:spLocks noChangeArrowheads="1"/>
          </p:cNvSpPr>
          <p:nvPr/>
        </p:nvSpPr>
        <p:spPr bwMode="auto">
          <a:xfrm>
            <a:off x="1695450" y="2300288"/>
            <a:ext cx="2868613" cy="938212"/>
          </a:xfrm>
          <a:prstGeom prst="rect">
            <a:avLst/>
          </a:prstGeom>
          <a:noFill/>
          <a:ln w="28575" algn="ctr">
            <a:noFill/>
            <a:miter lim="800000"/>
            <a:headEnd/>
            <a:tailEnd/>
          </a:ln>
        </p:spPr>
        <p:txBody>
          <a:bodyPr/>
          <a:lstStyle/>
          <a:p>
            <a:pPr algn="ctr">
              <a:spcBef>
                <a:spcPct val="5000"/>
              </a:spcBef>
            </a:pPr>
            <a:r>
              <a:rPr lang="en-GB"/>
              <a:t>Reviewing the past:</a:t>
            </a:r>
            <a:endParaRPr lang="en-GB" sz="1600"/>
          </a:p>
          <a:p>
            <a:pPr algn="ctr">
              <a:spcBef>
                <a:spcPct val="5000"/>
              </a:spcBef>
            </a:pPr>
            <a:r>
              <a:rPr lang="en-GB" sz="1600" b="0" i="1">
                <a:solidFill>
                  <a:srgbClr val="92D400"/>
                </a:solidFill>
              </a:rPr>
              <a:t>Last months productivity</a:t>
            </a:r>
          </a:p>
          <a:p>
            <a:pPr algn="ctr">
              <a:spcBef>
                <a:spcPct val="5000"/>
              </a:spcBef>
            </a:pPr>
            <a:r>
              <a:rPr lang="en-GB" sz="1600" b="0" i="1">
                <a:solidFill>
                  <a:srgbClr val="92D400"/>
                </a:solidFill>
              </a:rPr>
              <a:t>Last years errors</a:t>
            </a:r>
            <a:endParaRPr lang="en-GB" sz="1600">
              <a:solidFill>
                <a:srgbClr val="92D400"/>
              </a:solidFill>
            </a:endParaRPr>
          </a:p>
        </p:txBody>
      </p:sp>
      <p:pic>
        <p:nvPicPr>
          <p:cNvPr id="161801" name="Picture 36" descr="DSCN1682 (Larg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164388" y="3178175"/>
            <a:ext cx="1908175" cy="1431925"/>
          </a:xfrm>
          <a:prstGeom prst="rect">
            <a:avLst/>
          </a:prstGeom>
          <a:noFill/>
          <a:ln w="9525">
            <a:noFill/>
            <a:miter lim="800000"/>
            <a:headEnd/>
            <a:tailEnd/>
          </a:ln>
        </p:spPr>
      </p:pic>
      <p:pic>
        <p:nvPicPr>
          <p:cNvPr id="161802" name="Picture 37" descr="j030435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83175" y="3262313"/>
            <a:ext cx="2505075" cy="1714500"/>
          </a:xfrm>
          <a:prstGeom prst="rect">
            <a:avLst/>
          </a:prstGeom>
          <a:noFill/>
          <a:ln w="9525">
            <a:noFill/>
            <a:miter lim="800000"/>
            <a:headEnd/>
            <a:tailEnd/>
          </a:ln>
        </p:spPr>
      </p:pic>
      <p:sp>
        <p:nvSpPr>
          <p:cNvPr id="161803" name="AutoShape 38"/>
          <p:cNvSpPr>
            <a:spLocks noChangeArrowheads="1"/>
          </p:cNvSpPr>
          <p:nvPr/>
        </p:nvSpPr>
        <p:spPr bwMode="auto">
          <a:xfrm>
            <a:off x="4306888" y="3787775"/>
            <a:ext cx="574675" cy="557213"/>
          </a:xfrm>
          <a:prstGeom prst="rightArrow">
            <a:avLst>
              <a:gd name="adj1" fmla="val 50000"/>
              <a:gd name="adj2" fmla="val 25783"/>
            </a:avLst>
          </a:prstGeom>
          <a:solidFill>
            <a:schemeClr val="tx1"/>
          </a:solidFill>
          <a:ln w="9525" algn="ctr">
            <a:noFill/>
            <a:miter lim="800000"/>
            <a:headEnd/>
            <a:tailEnd/>
          </a:ln>
        </p:spPr>
        <p:txBody>
          <a:bodyPr anchor="ctr">
            <a:spAutoFit/>
          </a:bodyPr>
          <a:lstStyle/>
          <a:p>
            <a:endParaRPr lang="en-US"/>
          </a:p>
        </p:txBody>
      </p:sp>
      <p:pic>
        <p:nvPicPr>
          <p:cNvPr id="161804" name="Picture 39"/>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3025" y="3178175"/>
            <a:ext cx="1906588" cy="1430338"/>
          </a:xfrm>
          <a:prstGeom prst="rect">
            <a:avLst/>
          </a:prstGeom>
          <a:noFill/>
          <a:ln w="6350" algn="ctr">
            <a:noFill/>
            <a:miter lim="800000"/>
            <a:headEnd/>
            <a:tailEnd/>
          </a:ln>
        </p:spPr>
      </p:pic>
      <p:grpSp>
        <p:nvGrpSpPr>
          <p:cNvPr id="161805" name="Group 40"/>
          <p:cNvGrpSpPr>
            <a:grpSpLocks/>
          </p:cNvGrpSpPr>
          <p:nvPr/>
        </p:nvGrpSpPr>
        <p:grpSpPr bwMode="auto">
          <a:xfrm>
            <a:off x="1549400" y="3262313"/>
            <a:ext cx="2505075" cy="1714500"/>
            <a:chOff x="698" y="1289"/>
            <a:chExt cx="1778" cy="1216"/>
          </a:xfrm>
        </p:grpSpPr>
        <p:sp>
          <p:nvSpPr>
            <p:cNvPr id="161807" name="AutoShape 41"/>
            <p:cNvSpPr>
              <a:spLocks noChangeAspect="1" noChangeArrowheads="1" noTextEdit="1"/>
            </p:cNvSpPr>
            <p:nvPr/>
          </p:nvSpPr>
          <p:spPr bwMode="auto">
            <a:xfrm flipH="1">
              <a:off x="698" y="1289"/>
              <a:ext cx="1778" cy="1216"/>
            </a:xfrm>
            <a:prstGeom prst="rect">
              <a:avLst/>
            </a:prstGeom>
            <a:noFill/>
            <a:ln w="9525">
              <a:noFill/>
              <a:miter lim="800000"/>
              <a:headEnd/>
              <a:tailEnd/>
            </a:ln>
          </p:spPr>
          <p:txBody>
            <a:bodyPr/>
            <a:lstStyle/>
            <a:p>
              <a:endParaRPr lang="en-GB"/>
            </a:p>
          </p:txBody>
        </p:sp>
        <p:sp>
          <p:nvSpPr>
            <p:cNvPr id="161808" name="Freeform 42"/>
            <p:cNvSpPr>
              <a:spLocks/>
            </p:cNvSpPr>
            <p:nvPr/>
          </p:nvSpPr>
          <p:spPr bwMode="auto">
            <a:xfrm flipH="1">
              <a:off x="1253" y="1289"/>
              <a:ext cx="1216" cy="1216"/>
            </a:xfrm>
            <a:custGeom>
              <a:avLst/>
              <a:gdLst>
                <a:gd name="T0" fmla="*/ 68 w 2433"/>
                <a:gd name="T1" fmla="*/ 152 h 2432"/>
                <a:gd name="T2" fmla="*/ 57 w 2433"/>
                <a:gd name="T3" fmla="*/ 150 h 2432"/>
                <a:gd name="T4" fmla="*/ 46 w 2433"/>
                <a:gd name="T5" fmla="*/ 146 h 2432"/>
                <a:gd name="T6" fmla="*/ 36 w 2433"/>
                <a:gd name="T7" fmla="*/ 141 h 2432"/>
                <a:gd name="T8" fmla="*/ 27 w 2433"/>
                <a:gd name="T9" fmla="*/ 135 h 2432"/>
                <a:gd name="T10" fmla="*/ 19 w 2433"/>
                <a:gd name="T11" fmla="*/ 127 h 2432"/>
                <a:gd name="T12" fmla="*/ 13 w 2433"/>
                <a:gd name="T13" fmla="*/ 118 h 2432"/>
                <a:gd name="T14" fmla="*/ 7 w 2433"/>
                <a:gd name="T15" fmla="*/ 108 h 2432"/>
                <a:gd name="T16" fmla="*/ 3 w 2433"/>
                <a:gd name="T17" fmla="*/ 98 h 2432"/>
                <a:gd name="T18" fmla="*/ 0 w 2433"/>
                <a:gd name="T19" fmla="*/ 87 h 2432"/>
                <a:gd name="T20" fmla="*/ 0 w 2433"/>
                <a:gd name="T21" fmla="*/ 76 h 2432"/>
                <a:gd name="T22" fmla="*/ 0 w 2433"/>
                <a:gd name="T23" fmla="*/ 65 h 2432"/>
                <a:gd name="T24" fmla="*/ 3 w 2433"/>
                <a:gd name="T25" fmla="*/ 53 h 2432"/>
                <a:gd name="T26" fmla="*/ 7 w 2433"/>
                <a:gd name="T27" fmla="*/ 43 h 2432"/>
                <a:gd name="T28" fmla="*/ 13 w 2433"/>
                <a:gd name="T29" fmla="*/ 34 h 2432"/>
                <a:gd name="T30" fmla="*/ 19 w 2433"/>
                <a:gd name="T31" fmla="*/ 24 h 2432"/>
                <a:gd name="T32" fmla="*/ 27 w 2433"/>
                <a:gd name="T33" fmla="*/ 18 h 2432"/>
                <a:gd name="T34" fmla="*/ 36 w 2433"/>
                <a:gd name="T35" fmla="*/ 11 h 2432"/>
                <a:gd name="T36" fmla="*/ 46 w 2433"/>
                <a:gd name="T37" fmla="*/ 6 h 2432"/>
                <a:gd name="T38" fmla="*/ 57 w 2433"/>
                <a:gd name="T39" fmla="*/ 2 h 2432"/>
                <a:gd name="T40" fmla="*/ 68 w 2433"/>
                <a:gd name="T41" fmla="*/ 1 h 2432"/>
                <a:gd name="T42" fmla="*/ 80 w 2433"/>
                <a:gd name="T43" fmla="*/ 1 h 2432"/>
                <a:gd name="T44" fmla="*/ 91 w 2433"/>
                <a:gd name="T45" fmla="*/ 1 h 2432"/>
                <a:gd name="T46" fmla="*/ 102 w 2433"/>
                <a:gd name="T47" fmla="*/ 5 h 2432"/>
                <a:gd name="T48" fmla="*/ 112 w 2433"/>
                <a:gd name="T49" fmla="*/ 10 h 2432"/>
                <a:gd name="T50" fmla="*/ 121 w 2433"/>
                <a:gd name="T51" fmla="*/ 15 h 2432"/>
                <a:gd name="T52" fmla="*/ 129 w 2433"/>
                <a:gd name="T53" fmla="*/ 22 h 2432"/>
                <a:gd name="T54" fmla="*/ 136 w 2433"/>
                <a:gd name="T55" fmla="*/ 30 h 2432"/>
                <a:gd name="T56" fmla="*/ 142 w 2433"/>
                <a:gd name="T57" fmla="*/ 39 h 2432"/>
                <a:gd name="T58" fmla="*/ 147 w 2433"/>
                <a:gd name="T59" fmla="*/ 49 h 2432"/>
                <a:gd name="T60" fmla="*/ 150 w 2433"/>
                <a:gd name="T61" fmla="*/ 60 h 2432"/>
                <a:gd name="T62" fmla="*/ 151 w 2433"/>
                <a:gd name="T63" fmla="*/ 73 h 2432"/>
                <a:gd name="T64" fmla="*/ 151 w 2433"/>
                <a:gd name="T65" fmla="*/ 83 h 2432"/>
                <a:gd name="T66" fmla="*/ 149 w 2433"/>
                <a:gd name="T67" fmla="*/ 95 h 2432"/>
                <a:gd name="T68" fmla="*/ 146 w 2433"/>
                <a:gd name="T69" fmla="*/ 105 h 2432"/>
                <a:gd name="T70" fmla="*/ 141 w 2433"/>
                <a:gd name="T71" fmla="*/ 115 h 2432"/>
                <a:gd name="T72" fmla="*/ 134 w 2433"/>
                <a:gd name="T73" fmla="*/ 124 h 2432"/>
                <a:gd name="T74" fmla="*/ 127 w 2433"/>
                <a:gd name="T75" fmla="*/ 133 h 2432"/>
                <a:gd name="T76" fmla="*/ 118 w 2433"/>
                <a:gd name="T77" fmla="*/ 139 h 2432"/>
                <a:gd name="T78" fmla="*/ 109 w 2433"/>
                <a:gd name="T79" fmla="*/ 145 h 2432"/>
                <a:gd name="T80" fmla="*/ 98 w 2433"/>
                <a:gd name="T81" fmla="*/ 149 h 2432"/>
                <a:gd name="T82" fmla="*/ 87 w 2433"/>
                <a:gd name="T83" fmla="*/ 152 h 2432"/>
                <a:gd name="T84" fmla="*/ 76 w 2433"/>
                <a:gd name="T85" fmla="*/ 152 h 24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33"/>
                <a:gd name="T130" fmla="*/ 0 h 2432"/>
                <a:gd name="T131" fmla="*/ 2433 w 2433"/>
                <a:gd name="T132" fmla="*/ 2432 h 243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33" h="2432">
                  <a:moveTo>
                    <a:pt x="1218" y="2432"/>
                  </a:moveTo>
                  <a:lnTo>
                    <a:pt x="1156" y="2430"/>
                  </a:lnTo>
                  <a:lnTo>
                    <a:pt x="1094" y="2425"/>
                  </a:lnTo>
                  <a:lnTo>
                    <a:pt x="1033" y="2418"/>
                  </a:lnTo>
                  <a:lnTo>
                    <a:pt x="972" y="2407"/>
                  </a:lnTo>
                  <a:lnTo>
                    <a:pt x="914" y="2393"/>
                  </a:lnTo>
                  <a:lnTo>
                    <a:pt x="857" y="2377"/>
                  </a:lnTo>
                  <a:lnTo>
                    <a:pt x="800" y="2359"/>
                  </a:lnTo>
                  <a:lnTo>
                    <a:pt x="745" y="2336"/>
                  </a:lnTo>
                  <a:lnTo>
                    <a:pt x="689" y="2313"/>
                  </a:lnTo>
                  <a:lnTo>
                    <a:pt x="638" y="2286"/>
                  </a:lnTo>
                  <a:lnTo>
                    <a:pt x="586" y="2256"/>
                  </a:lnTo>
                  <a:lnTo>
                    <a:pt x="536" y="2224"/>
                  </a:lnTo>
                  <a:lnTo>
                    <a:pt x="490" y="2190"/>
                  </a:lnTo>
                  <a:lnTo>
                    <a:pt x="444" y="2154"/>
                  </a:lnTo>
                  <a:lnTo>
                    <a:pt x="399" y="2115"/>
                  </a:lnTo>
                  <a:lnTo>
                    <a:pt x="356" y="2076"/>
                  </a:lnTo>
                  <a:lnTo>
                    <a:pt x="317" y="2033"/>
                  </a:lnTo>
                  <a:lnTo>
                    <a:pt x="278" y="1989"/>
                  </a:lnTo>
                  <a:lnTo>
                    <a:pt x="242" y="1945"/>
                  </a:lnTo>
                  <a:lnTo>
                    <a:pt x="209" y="1896"/>
                  </a:lnTo>
                  <a:lnTo>
                    <a:pt x="177" y="1847"/>
                  </a:lnTo>
                  <a:lnTo>
                    <a:pt x="148" y="1795"/>
                  </a:lnTo>
                  <a:lnTo>
                    <a:pt x="120" y="1743"/>
                  </a:lnTo>
                  <a:lnTo>
                    <a:pt x="96" y="1690"/>
                  </a:lnTo>
                  <a:lnTo>
                    <a:pt x="73" y="1635"/>
                  </a:lnTo>
                  <a:lnTo>
                    <a:pt x="55" y="1578"/>
                  </a:lnTo>
                  <a:lnTo>
                    <a:pt x="39" y="1521"/>
                  </a:lnTo>
                  <a:lnTo>
                    <a:pt x="25" y="1462"/>
                  </a:lnTo>
                  <a:lnTo>
                    <a:pt x="14" y="1402"/>
                  </a:lnTo>
                  <a:lnTo>
                    <a:pt x="7" y="1341"/>
                  </a:lnTo>
                  <a:lnTo>
                    <a:pt x="2" y="1279"/>
                  </a:lnTo>
                  <a:lnTo>
                    <a:pt x="0" y="1217"/>
                  </a:lnTo>
                  <a:lnTo>
                    <a:pt x="2" y="1155"/>
                  </a:lnTo>
                  <a:lnTo>
                    <a:pt x="7" y="1092"/>
                  </a:lnTo>
                  <a:lnTo>
                    <a:pt x="14" y="1032"/>
                  </a:lnTo>
                  <a:lnTo>
                    <a:pt x="25" y="971"/>
                  </a:lnTo>
                  <a:lnTo>
                    <a:pt x="39" y="913"/>
                  </a:lnTo>
                  <a:lnTo>
                    <a:pt x="55" y="856"/>
                  </a:lnTo>
                  <a:lnTo>
                    <a:pt x="73" y="799"/>
                  </a:lnTo>
                  <a:lnTo>
                    <a:pt x="96" y="744"/>
                  </a:lnTo>
                  <a:lnTo>
                    <a:pt x="120" y="690"/>
                  </a:lnTo>
                  <a:lnTo>
                    <a:pt x="148" y="637"/>
                  </a:lnTo>
                  <a:lnTo>
                    <a:pt x="177" y="587"/>
                  </a:lnTo>
                  <a:lnTo>
                    <a:pt x="209" y="537"/>
                  </a:lnTo>
                  <a:lnTo>
                    <a:pt x="242" y="489"/>
                  </a:lnTo>
                  <a:lnTo>
                    <a:pt x="278" y="443"/>
                  </a:lnTo>
                  <a:lnTo>
                    <a:pt x="317" y="399"/>
                  </a:lnTo>
                  <a:lnTo>
                    <a:pt x="356" y="358"/>
                  </a:lnTo>
                  <a:lnTo>
                    <a:pt x="399" y="317"/>
                  </a:lnTo>
                  <a:lnTo>
                    <a:pt x="444" y="278"/>
                  </a:lnTo>
                  <a:lnTo>
                    <a:pt x="490" y="242"/>
                  </a:lnTo>
                  <a:lnTo>
                    <a:pt x="536" y="208"/>
                  </a:lnTo>
                  <a:lnTo>
                    <a:pt x="586" y="176"/>
                  </a:lnTo>
                  <a:lnTo>
                    <a:pt x="638" y="148"/>
                  </a:lnTo>
                  <a:lnTo>
                    <a:pt x="689" y="121"/>
                  </a:lnTo>
                  <a:lnTo>
                    <a:pt x="745" y="96"/>
                  </a:lnTo>
                  <a:lnTo>
                    <a:pt x="800" y="75"/>
                  </a:lnTo>
                  <a:lnTo>
                    <a:pt x="857" y="55"/>
                  </a:lnTo>
                  <a:lnTo>
                    <a:pt x="914" y="39"/>
                  </a:lnTo>
                  <a:lnTo>
                    <a:pt x="972" y="25"/>
                  </a:lnTo>
                  <a:lnTo>
                    <a:pt x="1033" y="14"/>
                  </a:lnTo>
                  <a:lnTo>
                    <a:pt x="1094" y="7"/>
                  </a:lnTo>
                  <a:lnTo>
                    <a:pt x="1156" y="2"/>
                  </a:lnTo>
                  <a:lnTo>
                    <a:pt x="1218" y="0"/>
                  </a:lnTo>
                  <a:lnTo>
                    <a:pt x="1281" y="2"/>
                  </a:lnTo>
                  <a:lnTo>
                    <a:pt x="1343" y="7"/>
                  </a:lnTo>
                  <a:lnTo>
                    <a:pt x="1403" y="14"/>
                  </a:lnTo>
                  <a:lnTo>
                    <a:pt x="1462" y="25"/>
                  </a:lnTo>
                  <a:lnTo>
                    <a:pt x="1521" y="39"/>
                  </a:lnTo>
                  <a:lnTo>
                    <a:pt x="1580" y="55"/>
                  </a:lnTo>
                  <a:lnTo>
                    <a:pt x="1635" y="75"/>
                  </a:lnTo>
                  <a:lnTo>
                    <a:pt x="1690" y="96"/>
                  </a:lnTo>
                  <a:lnTo>
                    <a:pt x="1744" y="121"/>
                  </a:lnTo>
                  <a:lnTo>
                    <a:pt x="1797" y="148"/>
                  </a:lnTo>
                  <a:lnTo>
                    <a:pt x="1847" y="176"/>
                  </a:lnTo>
                  <a:lnTo>
                    <a:pt x="1897" y="208"/>
                  </a:lnTo>
                  <a:lnTo>
                    <a:pt x="1945" y="242"/>
                  </a:lnTo>
                  <a:lnTo>
                    <a:pt x="1991" y="278"/>
                  </a:lnTo>
                  <a:lnTo>
                    <a:pt x="2034" y="317"/>
                  </a:lnTo>
                  <a:lnTo>
                    <a:pt x="2077" y="358"/>
                  </a:lnTo>
                  <a:lnTo>
                    <a:pt x="2117" y="399"/>
                  </a:lnTo>
                  <a:lnTo>
                    <a:pt x="2155" y="443"/>
                  </a:lnTo>
                  <a:lnTo>
                    <a:pt x="2190" y="489"/>
                  </a:lnTo>
                  <a:lnTo>
                    <a:pt x="2224" y="537"/>
                  </a:lnTo>
                  <a:lnTo>
                    <a:pt x="2256" y="587"/>
                  </a:lnTo>
                  <a:lnTo>
                    <a:pt x="2287" y="637"/>
                  </a:lnTo>
                  <a:lnTo>
                    <a:pt x="2313" y="690"/>
                  </a:lnTo>
                  <a:lnTo>
                    <a:pt x="2336" y="744"/>
                  </a:lnTo>
                  <a:lnTo>
                    <a:pt x="2360" y="799"/>
                  </a:lnTo>
                  <a:lnTo>
                    <a:pt x="2377" y="856"/>
                  </a:lnTo>
                  <a:lnTo>
                    <a:pt x="2393" y="913"/>
                  </a:lnTo>
                  <a:lnTo>
                    <a:pt x="2408" y="971"/>
                  </a:lnTo>
                  <a:lnTo>
                    <a:pt x="2418" y="1032"/>
                  </a:lnTo>
                  <a:lnTo>
                    <a:pt x="2426" y="1092"/>
                  </a:lnTo>
                  <a:lnTo>
                    <a:pt x="2431" y="1155"/>
                  </a:lnTo>
                  <a:lnTo>
                    <a:pt x="2433" y="1217"/>
                  </a:lnTo>
                  <a:lnTo>
                    <a:pt x="2431" y="1279"/>
                  </a:lnTo>
                  <a:lnTo>
                    <a:pt x="2426" y="1341"/>
                  </a:lnTo>
                  <a:lnTo>
                    <a:pt x="2418" y="1402"/>
                  </a:lnTo>
                  <a:lnTo>
                    <a:pt x="2408" y="1462"/>
                  </a:lnTo>
                  <a:lnTo>
                    <a:pt x="2393" y="1521"/>
                  </a:lnTo>
                  <a:lnTo>
                    <a:pt x="2377" y="1578"/>
                  </a:lnTo>
                  <a:lnTo>
                    <a:pt x="2360" y="1635"/>
                  </a:lnTo>
                  <a:lnTo>
                    <a:pt x="2336" y="1690"/>
                  </a:lnTo>
                  <a:lnTo>
                    <a:pt x="2313" y="1743"/>
                  </a:lnTo>
                  <a:lnTo>
                    <a:pt x="2287" y="1795"/>
                  </a:lnTo>
                  <a:lnTo>
                    <a:pt x="2256" y="1847"/>
                  </a:lnTo>
                  <a:lnTo>
                    <a:pt x="2224" y="1896"/>
                  </a:lnTo>
                  <a:lnTo>
                    <a:pt x="2190" y="1945"/>
                  </a:lnTo>
                  <a:lnTo>
                    <a:pt x="2155" y="1989"/>
                  </a:lnTo>
                  <a:lnTo>
                    <a:pt x="2117" y="2033"/>
                  </a:lnTo>
                  <a:lnTo>
                    <a:pt x="2077" y="2076"/>
                  </a:lnTo>
                  <a:lnTo>
                    <a:pt x="2034" y="2115"/>
                  </a:lnTo>
                  <a:lnTo>
                    <a:pt x="1991" y="2154"/>
                  </a:lnTo>
                  <a:lnTo>
                    <a:pt x="1945" y="2190"/>
                  </a:lnTo>
                  <a:lnTo>
                    <a:pt x="1897" y="2224"/>
                  </a:lnTo>
                  <a:lnTo>
                    <a:pt x="1847" y="2256"/>
                  </a:lnTo>
                  <a:lnTo>
                    <a:pt x="1797" y="2286"/>
                  </a:lnTo>
                  <a:lnTo>
                    <a:pt x="1744" y="2313"/>
                  </a:lnTo>
                  <a:lnTo>
                    <a:pt x="1690" y="2336"/>
                  </a:lnTo>
                  <a:lnTo>
                    <a:pt x="1635" y="2359"/>
                  </a:lnTo>
                  <a:lnTo>
                    <a:pt x="1580" y="2377"/>
                  </a:lnTo>
                  <a:lnTo>
                    <a:pt x="1521" y="2393"/>
                  </a:lnTo>
                  <a:lnTo>
                    <a:pt x="1462" y="2407"/>
                  </a:lnTo>
                  <a:lnTo>
                    <a:pt x="1403" y="2418"/>
                  </a:lnTo>
                  <a:lnTo>
                    <a:pt x="1343" y="2425"/>
                  </a:lnTo>
                  <a:lnTo>
                    <a:pt x="1281" y="2430"/>
                  </a:lnTo>
                  <a:lnTo>
                    <a:pt x="1218" y="2432"/>
                  </a:lnTo>
                  <a:close/>
                </a:path>
              </a:pathLst>
            </a:custGeom>
            <a:solidFill>
              <a:srgbClr val="FF0000"/>
            </a:solidFill>
            <a:ln w="9525">
              <a:noFill/>
              <a:round/>
              <a:headEnd/>
              <a:tailEnd/>
            </a:ln>
          </p:spPr>
          <p:txBody>
            <a:bodyPr/>
            <a:lstStyle/>
            <a:p>
              <a:endParaRPr lang="en-GB"/>
            </a:p>
          </p:txBody>
        </p:sp>
        <p:sp>
          <p:nvSpPr>
            <p:cNvPr id="161809" name="Freeform 43"/>
            <p:cNvSpPr>
              <a:spLocks/>
            </p:cNvSpPr>
            <p:nvPr/>
          </p:nvSpPr>
          <p:spPr bwMode="auto">
            <a:xfrm flipH="1">
              <a:off x="1392" y="1552"/>
              <a:ext cx="417" cy="417"/>
            </a:xfrm>
            <a:custGeom>
              <a:avLst/>
              <a:gdLst>
                <a:gd name="T0" fmla="*/ 52 w 833"/>
                <a:gd name="T1" fmla="*/ 24 h 834"/>
                <a:gd name="T2" fmla="*/ 51 w 833"/>
                <a:gd name="T3" fmla="*/ 19 h 834"/>
                <a:gd name="T4" fmla="*/ 49 w 833"/>
                <a:gd name="T5" fmla="*/ 13 h 834"/>
                <a:gd name="T6" fmla="*/ 47 w 833"/>
                <a:gd name="T7" fmla="*/ 10 h 834"/>
                <a:gd name="T8" fmla="*/ 44 w 833"/>
                <a:gd name="T9" fmla="*/ 7 h 834"/>
                <a:gd name="T10" fmla="*/ 42 w 833"/>
                <a:gd name="T11" fmla="*/ 6 h 834"/>
                <a:gd name="T12" fmla="*/ 40 w 833"/>
                <a:gd name="T13" fmla="*/ 3 h 834"/>
                <a:gd name="T14" fmla="*/ 38 w 833"/>
                <a:gd name="T15" fmla="*/ 3 h 834"/>
                <a:gd name="T16" fmla="*/ 35 w 833"/>
                <a:gd name="T17" fmla="*/ 2 h 834"/>
                <a:gd name="T18" fmla="*/ 33 w 833"/>
                <a:gd name="T19" fmla="*/ 1 h 834"/>
                <a:gd name="T20" fmla="*/ 30 w 833"/>
                <a:gd name="T21" fmla="*/ 1 h 834"/>
                <a:gd name="T22" fmla="*/ 28 w 833"/>
                <a:gd name="T23" fmla="*/ 0 h 834"/>
                <a:gd name="T24" fmla="*/ 24 w 833"/>
                <a:gd name="T25" fmla="*/ 1 h 834"/>
                <a:gd name="T26" fmla="*/ 19 w 833"/>
                <a:gd name="T27" fmla="*/ 2 h 834"/>
                <a:gd name="T28" fmla="*/ 14 w 833"/>
                <a:gd name="T29" fmla="*/ 3 h 834"/>
                <a:gd name="T30" fmla="*/ 10 w 833"/>
                <a:gd name="T31" fmla="*/ 6 h 834"/>
                <a:gd name="T32" fmla="*/ 6 w 833"/>
                <a:gd name="T33" fmla="*/ 10 h 834"/>
                <a:gd name="T34" fmla="*/ 4 w 833"/>
                <a:gd name="T35" fmla="*/ 13 h 834"/>
                <a:gd name="T36" fmla="*/ 2 w 833"/>
                <a:gd name="T37" fmla="*/ 19 h 834"/>
                <a:gd name="T38" fmla="*/ 1 w 833"/>
                <a:gd name="T39" fmla="*/ 24 h 834"/>
                <a:gd name="T40" fmla="*/ 1 w 833"/>
                <a:gd name="T41" fmla="*/ 28 h 834"/>
                <a:gd name="T42" fmla="*/ 2 w 833"/>
                <a:gd name="T43" fmla="*/ 34 h 834"/>
                <a:gd name="T44" fmla="*/ 4 w 833"/>
                <a:gd name="T45" fmla="*/ 39 h 834"/>
                <a:gd name="T46" fmla="*/ 6 w 833"/>
                <a:gd name="T47" fmla="*/ 43 h 834"/>
                <a:gd name="T48" fmla="*/ 9 w 833"/>
                <a:gd name="T49" fmla="*/ 46 h 834"/>
                <a:gd name="T50" fmla="*/ 11 w 833"/>
                <a:gd name="T51" fmla="*/ 47 h 834"/>
                <a:gd name="T52" fmla="*/ 13 w 833"/>
                <a:gd name="T53" fmla="*/ 49 h 834"/>
                <a:gd name="T54" fmla="*/ 15 w 833"/>
                <a:gd name="T55" fmla="*/ 50 h 834"/>
                <a:gd name="T56" fmla="*/ 18 w 833"/>
                <a:gd name="T57" fmla="*/ 51 h 834"/>
                <a:gd name="T58" fmla="*/ 20 w 833"/>
                <a:gd name="T59" fmla="*/ 52 h 834"/>
                <a:gd name="T60" fmla="*/ 23 w 833"/>
                <a:gd name="T61" fmla="*/ 52 h 834"/>
                <a:gd name="T62" fmla="*/ 25 w 833"/>
                <a:gd name="T63" fmla="*/ 52 h 834"/>
                <a:gd name="T64" fmla="*/ 28 w 833"/>
                <a:gd name="T65" fmla="*/ 52 h 834"/>
                <a:gd name="T66" fmla="*/ 30 w 833"/>
                <a:gd name="T67" fmla="*/ 52 h 834"/>
                <a:gd name="T68" fmla="*/ 33 w 833"/>
                <a:gd name="T69" fmla="*/ 52 h 834"/>
                <a:gd name="T70" fmla="*/ 35 w 833"/>
                <a:gd name="T71" fmla="*/ 51 h 834"/>
                <a:gd name="T72" fmla="*/ 38 w 833"/>
                <a:gd name="T73" fmla="*/ 50 h 834"/>
                <a:gd name="T74" fmla="*/ 40 w 833"/>
                <a:gd name="T75" fmla="*/ 49 h 834"/>
                <a:gd name="T76" fmla="*/ 42 w 833"/>
                <a:gd name="T77" fmla="*/ 47 h 834"/>
                <a:gd name="T78" fmla="*/ 44 w 833"/>
                <a:gd name="T79" fmla="*/ 46 h 834"/>
                <a:gd name="T80" fmla="*/ 47 w 833"/>
                <a:gd name="T81" fmla="*/ 43 h 834"/>
                <a:gd name="T82" fmla="*/ 49 w 833"/>
                <a:gd name="T83" fmla="*/ 39 h 834"/>
                <a:gd name="T84" fmla="*/ 51 w 833"/>
                <a:gd name="T85" fmla="*/ 34 h 834"/>
                <a:gd name="T86" fmla="*/ 52 w 833"/>
                <a:gd name="T87" fmla="*/ 28 h 8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33"/>
                <a:gd name="T133" fmla="*/ 0 h 834"/>
                <a:gd name="T134" fmla="*/ 833 w 833"/>
                <a:gd name="T135" fmla="*/ 834 h 8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33" h="834">
                  <a:moveTo>
                    <a:pt x="833" y="418"/>
                  </a:moveTo>
                  <a:lnTo>
                    <a:pt x="831" y="377"/>
                  </a:lnTo>
                  <a:lnTo>
                    <a:pt x="824" y="336"/>
                  </a:lnTo>
                  <a:lnTo>
                    <a:pt x="815" y="295"/>
                  </a:lnTo>
                  <a:lnTo>
                    <a:pt x="801" y="258"/>
                  </a:lnTo>
                  <a:lnTo>
                    <a:pt x="783" y="220"/>
                  </a:lnTo>
                  <a:lnTo>
                    <a:pt x="762" y="186"/>
                  </a:lnTo>
                  <a:lnTo>
                    <a:pt x="739" y="153"/>
                  </a:lnTo>
                  <a:lnTo>
                    <a:pt x="710" y="122"/>
                  </a:lnTo>
                  <a:lnTo>
                    <a:pt x="696" y="108"/>
                  </a:lnTo>
                  <a:lnTo>
                    <a:pt x="680" y="94"/>
                  </a:lnTo>
                  <a:lnTo>
                    <a:pt x="664" y="81"/>
                  </a:lnTo>
                  <a:lnTo>
                    <a:pt x="646" y="71"/>
                  </a:lnTo>
                  <a:lnTo>
                    <a:pt x="630" y="58"/>
                  </a:lnTo>
                  <a:lnTo>
                    <a:pt x="612" y="49"/>
                  </a:lnTo>
                  <a:lnTo>
                    <a:pt x="594" y="41"/>
                  </a:lnTo>
                  <a:lnTo>
                    <a:pt x="575" y="32"/>
                  </a:lnTo>
                  <a:lnTo>
                    <a:pt x="557" y="25"/>
                  </a:lnTo>
                  <a:lnTo>
                    <a:pt x="537" y="17"/>
                  </a:lnTo>
                  <a:lnTo>
                    <a:pt x="518" y="12"/>
                  </a:lnTo>
                  <a:lnTo>
                    <a:pt x="498" y="9"/>
                  </a:lnTo>
                  <a:lnTo>
                    <a:pt x="477" y="5"/>
                  </a:lnTo>
                  <a:lnTo>
                    <a:pt x="457" y="1"/>
                  </a:lnTo>
                  <a:lnTo>
                    <a:pt x="438" y="0"/>
                  </a:lnTo>
                  <a:lnTo>
                    <a:pt x="416" y="0"/>
                  </a:lnTo>
                  <a:lnTo>
                    <a:pt x="374" y="1"/>
                  </a:lnTo>
                  <a:lnTo>
                    <a:pt x="333" y="9"/>
                  </a:lnTo>
                  <a:lnTo>
                    <a:pt x="294" y="19"/>
                  </a:lnTo>
                  <a:lnTo>
                    <a:pt x="254" y="33"/>
                  </a:lnTo>
                  <a:lnTo>
                    <a:pt x="219" y="51"/>
                  </a:lnTo>
                  <a:lnTo>
                    <a:pt x="183" y="71"/>
                  </a:lnTo>
                  <a:lnTo>
                    <a:pt x="151" y="96"/>
                  </a:lnTo>
                  <a:lnTo>
                    <a:pt x="123" y="122"/>
                  </a:lnTo>
                  <a:lnTo>
                    <a:pt x="96" y="153"/>
                  </a:lnTo>
                  <a:lnTo>
                    <a:pt x="71" y="185"/>
                  </a:lnTo>
                  <a:lnTo>
                    <a:pt x="50" y="218"/>
                  </a:lnTo>
                  <a:lnTo>
                    <a:pt x="32" y="256"/>
                  </a:lnTo>
                  <a:lnTo>
                    <a:pt x="19" y="293"/>
                  </a:lnTo>
                  <a:lnTo>
                    <a:pt x="9" y="334"/>
                  </a:lnTo>
                  <a:lnTo>
                    <a:pt x="2" y="375"/>
                  </a:lnTo>
                  <a:lnTo>
                    <a:pt x="0" y="418"/>
                  </a:lnTo>
                  <a:lnTo>
                    <a:pt x="2" y="459"/>
                  </a:lnTo>
                  <a:lnTo>
                    <a:pt x="9" y="500"/>
                  </a:lnTo>
                  <a:lnTo>
                    <a:pt x="18" y="539"/>
                  </a:lnTo>
                  <a:lnTo>
                    <a:pt x="32" y="576"/>
                  </a:lnTo>
                  <a:lnTo>
                    <a:pt x="50" y="613"/>
                  </a:lnTo>
                  <a:lnTo>
                    <a:pt x="71" y="647"/>
                  </a:lnTo>
                  <a:lnTo>
                    <a:pt x="94" y="681"/>
                  </a:lnTo>
                  <a:lnTo>
                    <a:pt x="123" y="711"/>
                  </a:lnTo>
                  <a:lnTo>
                    <a:pt x="137" y="725"/>
                  </a:lnTo>
                  <a:lnTo>
                    <a:pt x="153" y="740"/>
                  </a:lnTo>
                  <a:lnTo>
                    <a:pt x="169" y="752"/>
                  </a:lnTo>
                  <a:lnTo>
                    <a:pt x="185" y="763"/>
                  </a:lnTo>
                  <a:lnTo>
                    <a:pt x="203" y="775"/>
                  </a:lnTo>
                  <a:lnTo>
                    <a:pt x="221" y="784"/>
                  </a:lnTo>
                  <a:lnTo>
                    <a:pt x="238" y="793"/>
                  </a:lnTo>
                  <a:lnTo>
                    <a:pt x="256" y="802"/>
                  </a:lnTo>
                  <a:lnTo>
                    <a:pt x="276" y="809"/>
                  </a:lnTo>
                  <a:lnTo>
                    <a:pt x="295" y="816"/>
                  </a:lnTo>
                  <a:lnTo>
                    <a:pt x="315" y="822"/>
                  </a:lnTo>
                  <a:lnTo>
                    <a:pt x="334" y="825"/>
                  </a:lnTo>
                  <a:lnTo>
                    <a:pt x="354" y="829"/>
                  </a:lnTo>
                  <a:lnTo>
                    <a:pt x="375" y="832"/>
                  </a:lnTo>
                  <a:lnTo>
                    <a:pt x="395" y="834"/>
                  </a:lnTo>
                  <a:lnTo>
                    <a:pt x="416" y="834"/>
                  </a:lnTo>
                  <a:lnTo>
                    <a:pt x="438" y="834"/>
                  </a:lnTo>
                  <a:lnTo>
                    <a:pt x="457" y="832"/>
                  </a:lnTo>
                  <a:lnTo>
                    <a:pt x="477" y="829"/>
                  </a:lnTo>
                  <a:lnTo>
                    <a:pt x="498" y="825"/>
                  </a:lnTo>
                  <a:lnTo>
                    <a:pt x="518" y="822"/>
                  </a:lnTo>
                  <a:lnTo>
                    <a:pt x="537" y="816"/>
                  </a:lnTo>
                  <a:lnTo>
                    <a:pt x="557" y="809"/>
                  </a:lnTo>
                  <a:lnTo>
                    <a:pt x="575" y="802"/>
                  </a:lnTo>
                  <a:lnTo>
                    <a:pt x="594" y="793"/>
                  </a:lnTo>
                  <a:lnTo>
                    <a:pt x="612" y="784"/>
                  </a:lnTo>
                  <a:lnTo>
                    <a:pt x="630" y="775"/>
                  </a:lnTo>
                  <a:lnTo>
                    <a:pt x="646" y="763"/>
                  </a:lnTo>
                  <a:lnTo>
                    <a:pt x="664" y="752"/>
                  </a:lnTo>
                  <a:lnTo>
                    <a:pt x="680" y="740"/>
                  </a:lnTo>
                  <a:lnTo>
                    <a:pt x="696" y="725"/>
                  </a:lnTo>
                  <a:lnTo>
                    <a:pt x="710" y="711"/>
                  </a:lnTo>
                  <a:lnTo>
                    <a:pt x="739" y="681"/>
                  </a:lnTo>
                  <a:lnTo>
                    <a:pt x="762" y="647"/>
                  </a:lnTo>
                  <a:lnTo>
                    <a:pt x="783" y="613"/>
                  </a:lnTo>
                  <a:lnTo>
                    <a:pt x="801" y="576"/>
                  </a:lnTo>
                  <a:lnTo>
                    <a:pt x="815" y="539"/>
                  </a:lnTo>
                  <a:lnTo>
                    <a:pt x="824" y="500"/>
                  </a:lnTo>
                  <a:lnTo>
                    <a:pt x="831" y="459"/>
                  </a:lnTo>
                  <a:lnTo>
                    <a:pt x="833" y="418"/>
                  </a:lnTo>
                  <a:close/>
                </a:path>
              </a:pathLst>
            </a:custGeom>
            <a:solidFill>
              <a:srgbClr val="000000"/>
            </a:solidFill>
            <a:ln w="9525">
              <a:noFill/>
              <a:round/>
              <a:headEnd/>
              <a:tailEnd/>
            </a:ln>
          </p:spPr>
          <p:txBody>
            <a:bodyPr/>
            <a:lstStyle/>
            <a:p>
              <a:endParaRPr lang="en-GB"/>
            </a:p>
          </p:txBody>
        </p:sp>
        <p:sp>
          <p:nvSpPr>
            <p:cNvPr id="161810" name="Freeform 44"/>
            <p:cNvSpPr>
              <a:spLocks/>
            </p:cNvSpPr>
            <p:nvPr/>
          </p:nvSpPr>
          <p:spPr bwMode="auto">
            <a:xfrm flipH="1">
              <a:off x="1486" y="1646"/>
              <a:ext cx="230" cy="230"/>
            </a:xfrm>
            <a:custGeom>
              <a:avLst/>
              <a:gdLst>
                <a:gd name="T0" fmla="*/ 15 w 459"/>
                <a:gd name="T1" fmla="*/ 28 h 461"/>
                <a:gd name="T2" fmla="*/ 13 w 459"/>
                <a:gd name="T3" fmla="*/ 28 h 461"/>
                <a:gd name="T4" fmla="*/ 12 w 459"/>
                <a:gd name="T5" fmla="*/ 28 h 461"/>
                <a:gd name="T6" fmla="*/ 11 w 459"/>
                <a:gd name="T7" fmla="*/ 28 h 461"/>
                <a:gd name="T8" fmla="*/ 9 w 459"/>
                <a:gd name="T9" fmla="*/ 27 h 461"/>
                <a:gd name="T10" fmla="*/ 8 w 459"/>
                <a:gd name="T11" fmla="*/ 27 h 461"/>
                <a:gd name="T12" fmla="*/ 7 w 459"/>
                <a:gd name="T13" fmla="*/ 26 h 461"/>
                <a:gd name="T14" fmla="*/ 6 w 459"/>
                <a:gd name="T15" fmla="*/ 25 h 461"/>
                <a:gd name="T16" fmla="*/ 5 w 459"/>
                <a:gd name="T17" fmla="*/ 24 h 461"/>
                <a:gd name="T18" fmla="*/ 4 w 459"/>
                <a:gd name="T19" fmla="*/ 23 h 461"/>
                <a:gd name="T20" fmla="*/ 3 w 459"/>
                <a:gd name="T21" fmla="*/ 22 h 461"/>
                <a:gd name="T22" fmla="*/ 2 w 459"/>
                <a:gd name="T23" fmla="*/ 21 h 461"/>
                <a:gd name="T24" fmla="*/ 2 w 459"/>
                <a:gd name="T25" fmla="*/ 19 h 461"/>
                <a:gd name="T26" fmla="*/ 1 w 459"/>
                <a:gd name="T27" fmla="*/ 18 h 461"/>
                <a:gd name="T28" fmla="*/ 1 w 459"/>
                <a:gd name="T29" fmla="*/ 17 h 461"/>
                <a:gd name="T30" fmla="*/ 1 w 459"/>
                <a:gd name="T31" fmla="*/ 15 h 461"/>
                <a:gd name="T32" fmla="*/ 0 w 459"/>
                <a:gd name="T33" fmla="*/ 14 h 461"/>
                <a:gd name="T34" fmla="*/ 1 w 459"/>
                <a:gd name="T35" fmla="*/ 13 h 461"/>
                <a:gd name="T36" fmla="*/ 1 w 459"/>
                <a:gd name="T37" fmla="*/ 11 h 461"/>
                <a:gd name="T38" fmla="*/ 1 w 459"/>
                <a:gd name="T39" fmla="*/ 10 h 461"/>
                <a:gd name="T40" fmla="*/ 2 w 459"/>
                <a:gd name="T41" fmla="*/ 8 h 461"/>
                <a:gd name="T42" fmla="*/ 2 w 459"/>
                <a:gd name="T43" fmla="*/ 7 h 461"/>
                <a:gd name="T44" fmla="*/ 3 w 459"/>
                <a:gd name="T45" fmla="*/ 6 h 461"/>
                <a:gd name="T46" fmla="*/ 4 w 459"/>
                <a:gd name="T47" fmla="*/ 5 h 461"/>
                <a:gd name="T48" fmla="*/ 5 w 459"/>
                <a:gd name="T49" fmla="*/ 4 h 461"/>
                <a:gd name="T50" fmla="*/ 6 w 459"/>
                <a:gd name="T51" fmla="*/ 3 h 461"/>
                <a:gd name="T52" fmla="*/ 7 w 459"/>
                <a:gd name="T53" fmla="*/ 2 h 461"/>
                <a:gd name="T54" fmla="*/ 8 w 459"/>
                <a:gd name="T55" fmla="*/ 1 h 461"/>
                <a:gd name="T56" fmla="*/ 9 w 459"/>
                <a:gd name="T57" fmla="*/ 1 h 461"/>
                <a:gd name="T58" fmla="*/ 11 w 459"/>
                <a:gd name="T59" fmla="*/ 0 h 461"/>
                <a:gd name="T60" fmla="*/ 12 w 459"/>
                <a:gd name="T61" fmla="*/ 0 h 461"/>
                <a:gd name="T62" fmla="*/ 13 w 459"/>
                <a:gd name="T63" fmla="*/ 0 h 461"/>
                <a:gd name="T64" fmla="*/ 15 w 459"/>
                <a:gd name="T65" fmla="*/ 0 h 461"/>
                <a:gd name="T66" fmla="*/ 16 w 459"/>
                <a:gd name="T67" fmla="*/ 0 h 461"/>
                <a:gd name="T68" fmla="*/ 18 w 459"/>
                <a:gd name="T69" fmla="*/ 0 h 461"/>
                <a:gd name="T70" fmla="*/ 19 w 459"/>
                <a:gd name="T71" fmla="*/ 0 h 461"/>
                <a:gd name="T72" fmla="*/ 20 w 459"/>
                <a:gd name="T73" fmla="*/ 1 h 461"/>
                <a:gd name="T74" fmla="*/ 21 w 459"/>
                <a:gd name="T75" fmla="*/ 1 h 461"/>
                <a:gd name="T76" fmla="*/ 23 w 459"/>
                <a:gd name="T77" fmla="*/ 2 h 461"/>
                <a:gd name="T78" fmla="*/ 24 w 459"/>
                <a:gd name="T79" fmla="*/ 3 h 461"/>
                <a:gd name="T80" fmla="*/ 25 w 459"/>
                <a:gd name="T81" fmla="*/ 4 h 461"/>
                <a:gd name="T82" fmla="*/ 26 w 459"/>
                <a:gd name="T83" fmla="*/ 5 h 461"/>
                <a:gd name="T84" fmla="*/ 27 w 459"/>
                <a:gd name="T85" fmla="*/ 6 h 461"/>
                <a:gd name="T86" fmla="*/ 27 w 459"/>
                <a:gd name="T87" fmla="*/ 7 h 461"/>
                <a:gd name="T88" fmla="*/ 28 w 459"/>
                <a:gd name="T89" fmla="*/ 8 h 461"/>
                <a:gd name="T90" fmla="*/ 28 w 459"/>
                <a:gd name="T91" fmla="*/ 10 h 461"/>
                <a:gd name="T92" fmla="*/ 29 w 459"/>
                <a:gd name="T93" fmla="*/ 11 h 461"/>
                <a:gd name="T94" fmla="*/ 29 w 459"/>
                <a:gd name="T95" fmla="*/ 13 h 461"/>
                <a:gd name="T96" fmla="*/ 29 w 459"/>
                <a:gd name="T97" fmla="*/ 14 h 461"/>
                <a:gd name="T98" fmla="*/ 29 w 459"/>
                <a:gd name="T99" fmla="*/ 17 h 461"/>
                <a:gd name="T100" fmla="*/ 28 w 459"/>
                <a:gd name="T101" fmla="*/ 20 h 461"/>
                <a:gd name="T102" fmla="*/ 27 w 459"/>
                <a:gd name="T103" fmla="*/ 22 h 461"/>
                <a:gd name="T104" fmla="*/ 25 w 459"/>
                <a:gd name="T105" fmla="*/ 24 h 461"/>
                <a:gd name="T106" fmla="*/ 23 w 459"/>
                <a:gd name="T107" fmla="*/ 26 h 461"/>
                <a:gd name="T108" fmla="*/ 20 w 459"/>
                <a:gd name="T109" fmla="*/ 27 h 461"/>
                <a:gd name="T110" fmla="*/ 18 w 459"/>
                <a:gd name="T111" fmla="*/ 28 h 461"/>
                <a:gd name="T112" fmla="*/ 15 w 459"/>
                <a:gd name="T113" fmla="*/ 28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59"/>
                <a:gd name="T172" fmla="*/ 0 h 461"/>
                <a:gd name="T173" fmla="*/ 459 w 459"/>
                <a:gd name="T174" fmla="*/ 461 h 46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59" h="461">
                  <a:moveTo>
                    <a:pt x="229" y="461"/>
                  </a:moveTo>
                  <a:lnTo>
                    <a:pt x="206" y="459"/>
                  </a:lnTo>
                  <a:lnTo>
                    <a:pt x="183" y="456"/>
                  </a:lnTo>
                  <a:lnTo>
                    <a:pt x="162" y="451"/>
                  </a:lnTo>
                  <a:lnTo>
                    <a:pt x="140" y="443"/>
                  </a:lnTo>
                  <a:lnTo>
                    <a:pt x="121" y="435"/>
                  </a:lnTo>
                  <a:lnTo>
                    <a:pt x="101" y="422"/>
                  </a:lnTo>
                  <a:lnTo>
                    <a:pt x="83" y="410"/>
                  </a:lnTo>
                  <a:lnTo>
                    <a:pt x="66" y="394"/>
                  </a:lnTo>
                  <a:lnTo>
                    <a:pt x="51" y="378"/>
                  </a:lnTo>
                  <a:lnTo>
                    <a:pt x="39" y="358"/>
                  </a:lnTo>
                  <a:lnTo>
                    <a:pt x="26" y="340"/>
                  </a:lnTo>
                  <a:lnTo>
                    <a:pt x="17" y="319"/>
                  </a:lnTo>
                  <a:lnTo>
                    <a:pt x="10" y="298"/>
                  </a:lnTo>
                  <a:lnTo>
                    <a:pt x="5" y="276"/>
                  </a:lnTo>
                  <a:lnTo>
                    <a:pt x="1" y="255"/>
                  </a:lnTo>
                  <a:lnTo>
                    <a:pt x="0" y="232"/>
                  </a:lnTo>
                  <a:lnTo>
                    <a:pt x="1" y="209"/>
                  </a:lnTo>
                  <a:lnTo>
                    <a:pt x="5" y="185"/>
                  </a:lnTo>
                  <a:lnTo>
                    <a:pt x="10" y="164"/>
                  </a:lnTo>
                  <a:lnTo>
                    <a:pt x="17" y="143"/>
                  </a:lnTo>
                  <a:lnTo>
                    <a:pt x="26" y="123"/>
                  </a:lnTo>
                  <a:lnTo>
                    <a:pt x="39" y="104"/>
                  </a:lnTo>
                  <a:lnTo>
                    <a:pt x="51" y="86"/>
                  </a:lnTo>
                  <a:lnTo>
                    <a:pt x="66" y="68"/>
                  </a:lnTo>
                  <a:lnTo>
                    <a:pt x="83" y="52"/>
                  </a:lnTo>
                  <a:lnTo>
                    <a:pt x="101" y="40"/>
                  </a:lnTo>
                  <a:lnTo>
                    <a:pt x="121" y="27"/>
                  </a:lnTo>
                  <a:lnTo>
                    <a:pt x="140" y="18"/>
                  </a:lnTo>
                  <a:lnTo>
                    <a:pt x="162" y="11"/>
                  </a:lnTo>
                  <a:lnTo>
                    <a:pt x="183" y="6"/>
                  </a:lnTo>
                  <a:lnTo>
                    <a:pt x="206" y="2"/>
                  </a:lnTo>
                  <a:lnTo>
                    <a:pt x="229" y="0"/>
                  </a:lnTo>
                  <a:lnTo>
                    <a:pt x="253" y="2"/>
                  </a:lnTo>
                  <a:lnTo>
                    <a:pt x="274" y="6"/>
                  </a:lnTo>
                  <a:lnTo>
                    <a:pt x="295" y="11"/>
                  </a:lnTo>
                  <a:lnTo>
                    <a:pt x="317" y="18"/>
                  </a:lnTo>
                  <a:lnTo>
                    <a:pt x="336" y="27"/>
                  </a:lnTo>
                  <a:lnTo>
                    <a:pt x="356" y="40"/>
                  </a:lnTo>
                  <a:lnTo>
                    <a:pt x="374" y="52"/>
                  </a:lnTo>
                  <a:lnTo>
                    <a:pt x="391" y="68"/>
                  </a:lnTo>
                  <a:lnTo>
                    <a:pt x="407" y="86"/>
                  </a:lnTo>
                  <a:lnTo>
                    <a:pt x="420" y="104"/>
                  </a:lnTo>
                  <a:lnTo>
                    <a:pt x="432" y="123"/>
                  </a:lnTo>
                  <a:lnTo>
                    <a:pt x="441" y="143"/>
                  </a:lnTo>
                  <a:lnTo>
                    <a:pt x="448" y="164"/>
                  </a:lnTo>
                  <a:lnTo>
                    <a:pt x="454" y="185"/>
                  </a:lnTo>
                  <a:lnTo>
                    <a:pt x="457" y="209"/>
                  </a:lnTo>
                  <a:lnTo>
                    <a:pt x="459" y="232"/>
                  </a:lnTo>
                  <a:lnTo>
                    <a:pt x="454" y="278"/>
                  </a:lnTo>
                  <a:lnTo>
                    <a:pt x="441" y="321"/>
                  </a:lnTo>
                  <a:lnTo>
                    <a:pt x="420" y="360"/>
                  </a:lnTo>
                  <a:lnTo>
                    <a:pt x="391" y="394"/>
                  </a:lnTo>
                  <a:lnTo>
                    <a:pt x="358" y="422"/>
                  </a:lnTo>
                  <a:lnTo>
                    <a:pt x="318" y="443"/>
                  </a:lnTo>
                  <a:lnTo>
                    <a:pt x="276" y="456"/>
                  </a:lnTo>
                  <a:lnTo>
                    <a:pt x="229" y="461"/>
                  </a:lnTo>
                  <a:close/>
                </a:path>
              </a:pathLst>
            </a:custGeom>
            <a:solidFill>
              <a:srgbClr val="FFFFFF"/>
            </a:solidFill>
            <a:ln w="9525">
              <a:noFill/>
              <a:round/>
              <a:headEnd/>
              <a:tailEnd/>
            </a:ln>
          </p:spPr>
          <p:txBody>
            <a:bodyPr/>
            <a:lstStyle/>
            <a:p>
              <a:endParaRPr lang="en-GB"/>
            </a:p>
          </p:txBody>
        </p:sp>
        <p:sp>
          <p:nvSpPr>
            <p:cNvPr id="161811" name="Freeform 45"/>
            <p:cNvSpPr>
              <a:spLocks/>
            </p:cNvSpPr>
            <p:nvPr/>
          </p:nvSpPr>
          <p:spPr bwMode="auto">
            <a:xfrm flipH="1">
              <a:off x="1051" y="1552"/>
              <a:ext cx="418" cy="417"/>
            </a:xfrm>
            <a:custGeom>
              <a:avLst/>
              <a:gdLst>
                <a:gd name="T0" fmla="*/ 53 w 835"/>
                <a:gd name="T1" fmla="*/ 24 h 834"/>
                <a:gd name="T2" fmla="*/ 52 w 835"/>
                <a:gd name="T3" fmla="*/ 19 h 834"/>
                <a:gd name="T4" fmla="*/ 50 w 835"/>
                <a:gd name="T5" fmla="*/ 13 h 834"/>
                <a:gd name="T6" fmla="*/ 47 w 835"/>
                <a:gd name="T7" fmla="*/ 10 h 834"/>
                <a:gd name="T8" fmla="*/ 44 w 835"/>
                <a:gd name="T9" fmla="*/ 7 h 834"/>
                <a:gd name="T10" fmla="*/ 42 w 835"/>
                <a:gd name="T11" fmla="*/ 6 h 834"/>
                <a:gd name="T12" fmla="*/ 40 w 835"/>
                <a:gd name="T13" fmla="*/ 3 h 834"/>
                <a:gd name="T14" fmla="*/ 38 w 835"/>
                <a:gd name="T15" fmla="*/ 3 h 834"/>
                <a:gd name="T16" fmla="*/ 35 w 835"/>
                <a:gd name="T17" fmla="*/ 2 h 834"/>
                <a:gd name="T18" fmla="*/ 33 w 835"/>
                <a:gd name="T19" fmla="*/ 1 h 834"/>
                <a:gd name="T20" fmla="*/ 30 w 835"/>
                <a:gd name="T21" fmla="*/ 1 h 834"/>
                <a:gd name="T22" fmla="*/ 28 w 835"/>
                <a:gd name="T23" fmla="*/ 0 h 834"/>
                <a:gd name="T24" fmla="*/ 24 w 835"/>
                <a:gd name="T25" fmla="*/ 1 h 834"/>
                <a:gd name="T26" fmla="*/ 19 w 835"/>
                <a:gd name="T27" fmla="*/ 2 h 834"/>
                <a:gd name="T28" fmla="*/ 14 w 835"/>
                <a:gd name="T29" fmla="*/ 3 h 834"/>
                <a:gd name="T30" fmla="*/ 10 w 835"/>
                <a:gd name="T31" fmla="*/ 6 h 834"/>
                <a:gd name="T32" fmla="*/ 6 w 835"/>
                <a:gd name="T33" fmla="*/ 10 h 834"/>
                <a:gd name="T34" fmla="*/ 4 w 835"/>
                <a:gd name="T35" fmla="*/ 13 h 834"/>
                <a:gd name="T36" fmla="*/ 2 w 835"/>
                <a:gd name="T37" fmla="*/ 19 h 834"/>
                <a:gd name="T38" fmla="*/ 1 w 835"/>
                <a:gd name="T39" fmla="*/ 24 h 834"/>
                <a:gd name="T40" fmla="*/ 1 w 835"/>
                <a:gd name="T41" fmla="*/ 28 h 834"/>
                <a:gd name="T42" fmla="*/ 2 w 835"/>
                <a:gd name="T43" fmla="*/ 34 h 834"/>
                <a:gd name="T44" fmla="*/ 4 w 835"/>
                <a:gd name="T45" fmla="*/ 39 h 834"/>
                <a:gd name="T46" fmla="*/ 6 w 835"/>
                <a:gd name="T47" fmla="*/ 43 h 834"/>
                <a:gd name="T48" fmla="*/ 9 w 835"/>
                <a:gd name="T49" fmla="*/ 46 h 834"/>
                <a:gd name="T50" fmla="*/ 11 w 835"/>
                <a:gd name="T51" fmla="*/ 47 h 834"/>
                <a:gd name="T52" fmla="*/ 13 w 835"/>
                <a:gd name="T53" fmla="*/ 49 h 834"/>
                <a:gd name="T54" fmla="*/ 15 w 835"/>
                <a:gd name="T55" fmla="*/ 50 h 834"/>
                <a:gd name="T56" fmla="*/ 18 w 835"/>
                <a:gd name="T57" fmla="*/ 51 h 834"/>
                <a:gd name="T58" fmla="*/ 20 w 835"/>
                <a:gd name="T59" fmla="*/ 52 h 834"/>
                <a:gd name="T60" fmla="*/ 23 w 835"/>
                <a:gd name="T61" fmla="*/ 52 h 834"/>
                <a:gd name="T62" fmla="*/ 25 w 835"/>
                <a:gd name="T63" fmla="*/ 52 h 834"/>
                <a:gd name="T64" fmla="*/ 28 w 835"/>
                <a:gd name="T65" fmla="*/ 52 h 834"/>
                <a:gd name="T66" fmla="*/ 30 w 835"/>
                <a:gd name="T67" fmla="*/ 52 h 834"/>
                <a:gd name="T68" fmla="*/ 33 w 835"/>
                <a:gd name="T69" fmla="*/ 52 h 834"/>
                <a:gd name="T70" fmla="*/ 35 w 835"/>
                <a:gd name="T71" fmla="*/ 51 h 834"/>
                <a:gd name="T72" fmla="*/ 38 w 835"/>
                <a:gd name="T73" fmla="*/ 50 h 834"/>
                <a:gd name="T74" fmla="*/ 40 w 835"/>
                <a:gd name="T75" fmla="*/ 49 h 834"/>
                <a:gd name="T76" fmla="*/ 42 w 835"/>
                <a:gd name="T77" fmla="*/ 47 h 834"/>
                <a:gd name="T78" fmla="*/ 44 w 835"/>
                <a:gd name="T79" fmla="*/ 46 h 834"/>
                <a:gd name="T80" fmla="*/ 47 w 835"/>
                <a:gd name="T81" fmla="*/ 43 h 834"/>
                <a:gd name="T82" fmla="*/ 50 w 835"/>
                <a:gd name="T83" fmla="*/ 39 h 834"/>
                <a:gd name="T84" fmla="*/ 52 w 835"/>
                <a:gd name="T85" fmla="*/ 34 h 834"/>
                <a:gd name="T86" fmla="*/ 53 w 835"/>
                <a:gd name="T87" fmla="*/ 28 h 8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35"/>
                <a:gd name="T133" fmla="*/ 0 h 834"/>
                <a:gd name="T134" fmla="*/ 835 w 835"/>
                <a:gd name="T135" fmla="*/ 834 h 8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35" h="834">
                  <a:moveTo>
                    <a:pt x="835" y="418"/>
                  </a:moveTo>
                  <a:lnTo>
                    <a:pt x="833" y="377"/>
                  </a:lnTo>
                  <a:lnTo>
                    <a:pt x="826" y="336"/>
                  </a:lnTo>
                  <a:lnTo>
                    <a:pt x="817" y="295"/>
                  </a:lnTo>
                  <a:lnTo>
                    <a:pt x="803" y="258"/>
                  </a:lnTo>
                  <a:lnTo>
                    <a:pt x="785" y="220"/>
                  </a:lnTo>
                  <a:lnTo>
                    <a:pt x="764" y="186"/>
                  </a:lnTo>
                  <a:lnTo>
                    <a:pt x="741" y="153"/>
                  </a:lnTo>
                  <a:lnTo>
                    <a:pt x="712" y="122"/>
                  </a:lnTo>
                  <a:lnTo>
                    <a:pt x="698" y="108"/>
                  </a:lnTo>
                  <a:lnTo>
                    <a:pt x="682" y="94"/>
                  </a:lnTo>
                  <a:lnTo>
                    <a:pt x="666" y="81"/>
                  </a:lnTo>
                  <a:lnTo>
                    <a:pt x="648" y="71"/>
                  </a:lnTo>
                  <a:lnTo>
                    <a:pt x="632" y="58"/>
                  </a:lnTo>
                  <a:lnTo>
                    <a:pt x="614" y="49"/>
                  </a:lnTo>
                  <a:lnTo>
                    <a:pt x="596" y="41"/>
                  </a:lnTo>
                  <a:lnTo>
                    <a:pt x="577" y="32"/>
                  </a:lnTo>
                  <a:lnTo>
                    <a:pt x="559" y="25"/>
                  </a:lnTo>
                  <a:lnTo>
                    <a:pt x="539" y="17"/>
                  </a:lnTo>
                  <a:lnTo>
                    <a:pt x="520" y="12"/>
                  </a:lnTo>
                  <a:lnTo>
                    <a:pt x="500" y="9"/>
                  </a:lnTo>
                  <a:lnTo>
                    <a:pt x="479" y="5"/>
                  </a:lnTo>
                  <a:lnTo>
                    <a:pt x="459" y="1"/>
                  </a:lnTo>
                  <a:lnTo>
                    <a:pt x="440" y="0"/>
                  </a:lnTo>
                  <a:lnTo>
                    <a:pt x="418" y="0"/>
                  </a:lnTo>
                  <a:lnTo>
                    <a:pt x="376" y="1"/>
                  </a:lnTo>
                  <a:lnTo>
                    <a:pt x="335" y="9"/>
                  </a:lnTo>
                  <a:lnTo>
                    <a:pt x="294" y="19"/>
                  </a:lnTo>
                  <a:lnTo>
                    <a:pt x="255" y="33"/>
                  </a:lnTo>
                  <a:lnTo>
                    <a:pt x="219" y="51"/>
                  </a:lnTo>
                  <a:lnTo>
                    <a:pt x="185" y="71"/>
                  </a:lnTo>
                  <a:lnTo>
                    <a:pt x="151" y="96"/>
                  </a:lnTo>
                  <a:lnTo>
                    <a:pt x="123" y="122"/>
                  </a:lnTo>
                  <a:lnTo>
                    <a:pt x="96" y="153"/>
                  </a:lnTo>
                  <a:lnTo>
                    <a:pt x="71" y="185"/>
                  </a:lnTo>
                  <a:lnTo>
                    <a:pt x="50" y="218"/>
                  </a:lnTo>
                  <a:lnTo>
                    <a:pt x="32" y="256"/>
                  </a:lnTo>
                  <a:lnTo>
                    <a:pt x="20" y="293"/>
                  </a:lnTo>
                  <a:lnTo>
                    <a:pt x="9" y="334"/>
                  </a:lnTo>
                  <a:lnTo>
                    <a:pt x="2" y="375"/>
                  </a:lnTo>
                  <a:lnTo>
                    <a:pt x="0" y="418"/>
                  </a:lnTo>
                  <a:lnTo>
                    <a:pt x="2" y="459"/>
                  </a:lnTo>
                  <a:lnTo>
                    <a:pt x="9" y="500"/>
                  </a:lnTo>
                  <a:lnTo>
                    <a:pt x="18" y="539"/>
                  </a:lnTo>
                  <a:lnTo>
                    <a:pt x="32" y="576"/>
                  </a:lnTo>
                  <a:lnTo>
                    <a:pt x="50" y="613"/>
                  </a:lnTo>
                  <a:lnTo>
                    <a:pt x="71" y="647"/>
                  </a:lnTo>
                  <a:lnTo>
                    <a:pt x="94" y="681"/>
                  </a:lnTo>
                  <a:lnTo>
                    <a:pt x="123" y="711"/>
                  </a:lnTo>
                  <a:lnTo>
                    <a:pt x="137" y="725"/>
                  </a:lnTo>
                  <a:lnTo>
                    <a:pt x="153" y="740"/>
                  </a:lnTo>
                  <a:lnTo>
                    <a:pt x="169" y="752"/>
                  </a:lnTo>
                  <a:lnTo>
                    <a:pt x="187" y="763"/>
                  </a:lnTo>
                  <a:lnTo>
                    <a:pt x="203" y="775"/>
                  </a:lnTo>
                  <a:lnTo>
                    <a:pt x="221" y="784"/>
                  </a:lnTo>
                  <a:lnTo>
                    <a:pt x="239" y="793"/>
                  </a:lnTo>
                  <a:lnTo>
                    <a:pt x="258" y="802"/>
                  </a:lnTo>
                  <a:lnTo>
                    <a:pt x="278" y="809"/>
                  </a:lnTo>
                  <a:lnTo>
                    <a:pt x="296" y="816"/>
                  </a:lnTo>
                  <a:lnTo>
                    <a:pt x="315" y="822"/>
                  </a:lnTo>
                  <a:lnTo>
                    <a:pt x="336" y="825"/>
                  </a:lnTo>
                  <a:lnTo>
                    <a:pt x="356" y="829"/>
                  </a:lnTo>
                  <a:lnTo>
                    <a:pt x="377" y="832"/>
                  </a:lnTo>
                  <a:lnTo>
                    <a:pt x="397" y="834"/>
                  </a:lnTo>
                  <a:lnTo>
                    <a:pt x="418" y="834"/>
                  </a:lnTo>
                  <a:lnTo>
                    <a:pt x="440" y="834"/>
                  </a:lnTo>
                  <a:lnTo>
                    <a:pt x="459" y="832"/>
                  </a:lnTo>
                  <a:lnTo>
                    <a:pt x="479" y="829"/>
                  </a:lnTo>
                  <a:lnTo>
                    <a:pt x="500" y="825"/>
                  </a:lnTo>
                  <a:lnTo>
                    <a:pt x="520" y="822"/>
                  </a:lnTo>
                  <a:lnTo>
                    <a:pt x="539" y="816"/>
                  </a:lnTo>
                  <a:lnTo>
                    <a:pt x="559" y="809"/>
                  </a:lnTo>
                  <a:lnTo>
                    <a:pt x="577" y="802"/>
                  </a:lnTo>
                  <a:lnTo>
                    <a:pt x="596" y="793"/>
                  </a:lnTo>
                  <a:lnTo>
                    <a:pt x="614" y="784"/>
                  </a:lnTo>
                  <a:lnTo>
                    <a:pt x="632" y="775"/>
                  </a:lnTo>
                  <a:lnTo>
                    <a:pt x="648" y="763"/>
                  </a:lnTo>
                  <a:lnTo>
                    <a:pt x="666" y="752"/>
                  </a:lnTo>
                  <a:lnTo>
                    <a:pt x="682" y="740"/>
                  </a:lnTo>
                  <a:lnTo>
                    <a:pt x="698" y="725"/>
                  </a:lnTo>
                  <a:lnTo>
                    <a:pt x="712" y="711"/>
                  </a:lnTo>
                  <a:lnTo>
                    <a:pt x="741" y="681"/>
                  </a:lnTo>
                  <a:lnTo>
                    <a:pt x="764" y="647"/>
                  </a:lnTo>
                  <a:lnTo>
                    <a:pt x="785" y="613"/>
                  </a:lnTo>
                  <a:lnTo>
                    <a:pt x="803" y="576"/>
                  </a:lnTo>
                  <a:lnTo>
                    <a:pt x="817" y="539"/>
                  </a:lnTo>
                  <a:lnTo>
                    <a:pt x="826" y="500"/>
                  </a:lnTo>
                  <a:lnTo>
                    <a:pt x="833" y="459"/>
                  </a:lnTo>
                  <a:lnTo>
                    <a:pt x="835" y="418"/>
                  </a:lnTo>
                  <a:close/>
                </a:path>
              </a:pathLst>
            </a:custGeom>
            <a:solidFill>
              <a:srgbClr val="000000"/>
            </a:solidFill>
            <a:ln w="9525">
              <a:noFill/>
              <a:round/>
              <a:headEnd/>
              <a:tailEnd/>
            </a:ln>
          </p:spPr>
          <p:txBody>
            <a:bodyPr/>
            <a:lstStyle/>
            <a:p>
              <a:endParaRPr lang="en-GB"/>
            </a:p>
          </p:txBody>
        </p:sp>
        <p:sp>
          <p:nvSpPr>
            <p:cNvPr id="161812" name="Freeform 46"/>
            <p:cNvSpPr>
              <a:spLocks/>
            </p:cNvSpPr>
            <p:nvPr/>
          </p:nvSpPr>
          <p:spPr bwMode="auto">
            <a:xfrm flipH="1">
              <a:off x="1145" y="1646"/>
              <a:ext cx="231" cy="230"/>
            </a:xfrm>
            <a:custGeom>
              <a:avLst/>
              <a:gdLst>
                <a:gd name="T0" fmla="*/ 15 w 461"/>
                <a:gd name="T1" fmla="*/ 28 h 461"/>
                <a:gd name="T2" fmla="*/ 13 w 461"/>
                <a:gd name="T3" fmla="*/ 28 h 461"/>
                <a:gd name="T4" fmla="*/ 12 w 461"/>
                <a:gd name="T5" fmla="*/ 28 h 461"/>
                <a:gd name="T6" fmla="*/ 11 w 461"/>
                <a:gd name="T7" fmla="*/ 28 h 461"/>
                <a:gd name="T8" fmla="*/ 9 w 461"/>
                <a:gd name="T9" fmla="*/ 27 h 461"/>
                <a:gd name="T10" fmla="*/ 8 w 461"/>
                <a:gd name="T11" fmla="*/ 27 h 461"/>
                <a:gd name="T12" fmla="*/ 7 w 461"/>
                <a:gd name="T13" fmla="*/ 26 h 461"/>
                <a:gd name="T14" fmla="*/ 6 w 461"/>
                <a:gd name="T15" fmla="*/ 25 h 461"/>
                <a:gd name="T16" fmla="*/ 5 w 461"/>
                <a:gd name="T17" fmla="*/ 24 h 461"/>
                <a:gd name="T18" fmla="*/ 4 w 461"/>
                <a:gd name="T19" fmla="*/ 23 h 461"/>
                <a:gd name="T20" fmla="*/ 3 w 461"/>
                <a:gd name="T21" fmla="*/ 22 h 461"/>
                <a:gd name="T22" fmla="*/ 2 w 461"/>
                <a:gd name="T23" fmla="*/ 21 h 461"/>
                <a:gd name="T24" fmla="*/ 2 w 461"/>
                <a:gd name="T25" fmla="*/ 19 h 461"/>
                <a:gd name="T26" fmla="*/ 1 w 461"/>
                <a:gd name="T27" fmla="*/ 18 h 461"/>
                <a:gd name="T28" fmla="*/ 1 w 461"/>
                <a:gd name="T29" fmla="*/ 17 h 461"/>
                <a:gd name="T30" fmla="*/ 1 w 461"/>
                <a:gd name="T31" fmla="*/ 15 h 461"/>
                <a:gd name="T32" fmla="*/ 0 w 461"/>
                <a:gd name="T33" fmla="*/ 14 h 461"/>
                <a:gd name="T34" fmla="*/ 1 w 461"/>
                <a:gd name="T35" fmla="*/ 13 h 461"/>
                <a:gd name="T36" fmla="*/ 1 w 461"/>
                <a:gd name="T37" fmla="*/ 11 h 461"/>
                <a:gd name="T38" fmla="*/ 1 w 461"/>
                <a:gd name="T39" fmla="*/ 10 h 461"/>
                <a:gd name="T40" fmla="*/ 2 w 461"/>
                <a:gd name="T41" fmla="*/ 8 h 461"/>
                <a:gd name="T42" fmla="*/ 2 w 461"/>
                <a:gd name="T43" fmla="*/ 7 h 461"/>
                <a:gd name="T44" fmla="*/ 3 w 461"/>
                <a:gd name="T45" fmla="*/ 6 h 461"/>
                <a:gd name="T46" fmla="*/ 4 w 461"/>
                <a:gd name="T47" fmla="*/ 5 h 461"/>
                <a:gd name="T48" fmla="*/ 5 w 461"/>
                <a:gd name="T49" fmla="*/ 4 h 461"/>
                <a:gd name="T50" fmla="*/ 6 w 461"/>
                <a:gd name="T51" fmla="*/ 3 h 461"/>
                <a:gd name="T52" fmla="*/ 7 w 461"/>
                <a:gd name="T53" fmla="*/ 2 h 461"/>
                <a:gd name="T54" fmla="*/ 8 w 461"/>
                <a:gd name="T55" fmla="*/ 1 h 461"/>
                <a:gd name="T56" fmla="*/ 9 w 461"/>
                <a:gd name="T57" fmla="*/ 1 h 461"/>
                <a:gd name="T58" fmla="*/ 11 w 461"/>
                <a:gd name="T59" fmla="*/ 0 h 461"/>
                <a:gd name="T60" fmla="*/ 12 w 461"/>
                <a:gd name="T61" fmla="*/ 0 h 461"/>
                <a:gd name="T62" fmla="*/ 13 w 461"/>
                <a:gd name="T63" fmla="*/ 0 h 461"/>
                <a:gd name="T64" fmla="*/ 15 w 461"/>
                <a:gd name="T65" fmla="*/ 0 h 461"/>
                <a:gd name="T66" fmla="*/ 16 w 461"/>
                <a:gd name="T67" fmla="*/ 0 h 461"/>
                <a:gd name="T68" fmla="*/ 18 w 461"/>
                <a:gd name="T69" fmla="*/ 0 h 461"/>
                <a:gd name="T70" fmla="*/ 19 w 461"/>
                <a:gd name="T71" fmla="*/ 0 h 461"/>
                <a:gd name="T72" fmla="*/ 20 w 461"/>
                <a:gd name="T73" fmla="*/ 1 h 461"/>
                <a:gd name="T74" fmla="*/ 22 w 461"/>
                <a:gd name="T75" fmla="*/ 1 h 461"/>
                <a:gd name="T76" fmla="*/ 23 w 461"/>
                <a:gd name="T77" fmla="*/ 2 h 461"/>
                <a:gd name="T78" fmla="*/ 24 w 461"/>
                <a:gd name="T79" fmla="*/ 3 h 461"/>
                <a:gd name="T80" fmla="*/ 25 w 461"/>
                <a:gd name="T81" fmla="*/ 4 h 461"/>
                <a:gd name="T82" fmla="*/ 26 w 461"/>
                <a:gd name="T83" fmla="*/ 5 h 461"/>
                <a:gd name="T84" fmla="*/ 27 w 461"/>
                <a:gd name="T85" fmla="*/ 6 h 461"/>
                <a:gd name="T86" fmla="*/ 28 w 461"/>
                <a:gd name="T87" fmla="*/ 7 h 461"/>
                <a:gd name="T88" fmla="*/ 28 w 461"/>
                <a:gd name="T89" fmla="*/ 8 h 461"/>
                <a:gd name="T90" fmla="*/ 29 w 461"/>
                <a:gd name="T91" fmla="*/ 10 h 461"/>
                <a:gd name="T92" fmla="*/ 29 w 461"/>
                <a:gd name="T93" fmla="*/ 11 h 461"/>
                <a:gd name="T94" fmla="*/ 29 w 461"/>
                <a:gd name="T95" fmla="*/ 13 h 461"/>
                <a:gd name="T96" fmla="*/ 29 w 461"/>
                <a:gd name="T97" fmla="*/ 14 h 461"/>
                <a:gd name="T98" fmla="*/ 29 w 461"/>
                <a:gd name="T99" fmla="*/ 17 h 461"/>
                <a:gd name="T100" fmla="*/ 28 w 461"/>
                <a:gd name="T101" fmla="*/ 20 h 461"/>
                <a:gd name="T102" fmla="*/ 27 w 461"/>
                <a:gd name="T103" fmla="*/ 22 h 461"/>
                <a:gd name="T104" fmla="*/ 25 w 461"/>
                <a:gd name="T105" fmla="*/ 24 h 461"/>
                <a:gd name="T106" fmla="*/ 23 w 461"/>
                <a:gd name="T107" fmla="*/ 26 h 461"/>
                <a:gd name="T108" fmla="*/ 20 w 461"/>
                <a:gd name="T109" fmla="*/ 27 h 461"/>
                <a:gd name="T110" fmla="*/ 18 w 461"/>
                <a:gd name="T111" fmla="*/ 28 h 461"/>
                <a:gd name="T112" fmla="*/ 15 w 461"/>
                <a:gd name="T113" fmla="*/ 28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61"/>
                <a:gd name="T172" fmla="*/ 0 h 461"/>
                <a:gd name="T173" fmla="*/ 461 w 461"/>
                <a:gd name="T174" fmla="*/ 461 h 46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61" h="461">
                  <a:moveTo>
                    <a:pt x="231" y="461"/>
                  </a:moveTo>
                  <a:lnTo>
                    <a:pt x="208" y="459"/>
                  </a:lnTo>
                  <a:lnTo>
                    <a:pt x="185" y="456"/>
                  </a:lnTo>
                  <a:lnTo>
                    <a:pt x="164" y="451"/>
                  </a:lnTo>
                  <a:lnTo>
                    <a:pt x="142" y="443"/>
                  </a:lnTo>
                  <a:lnTo>
                    <a:pt x="123" y="435"/>
                  </a:lnTo>
                  <a:lnTo>
                    <a:pt x="103" y="422"/>
                  </a:lnTo>
                  <a:lnTo>
                    <a:pt x="85" y="410"/>
                  </a:lnTo>
                  <a:lnTo>
                    <a:pt x="68" y="394"/>
                  </a:lnTo>
                  <a:lnTo>
                    <a:pt x="52" y="378"/>
                  </a:lnTo>
                  <a:lnTo>
                    <a:pt x="39" y="358"/>
                  </a:lnTo>
                  <a:lnTo>
                    <a:pt x="27" y="340"/>
                  </a:lnTo>
                  <a:lnTo>
                    <a:pt x="18" y="319"/>
                  </a:lnTo>
                  <a:lnTo>
                    <a:pt x="11" y="298"/>
                  </a:lnTo>
                  <a:lnTo>
                    <a:pt x="5" y="276"/>
                  </a:lnTo>
                  <a:lnTo>
                    <a:pt x="2" y="255"/>
                  </a:lnTo>
                  <a:lnTo>
                    <a:pt x="0" y="232"/>
                  </a:lnTo>
                  <a:lnTo>
                    <a:pt x="2" y="209"/>
                  </a:lnTo>
                  <a:lnTo>
                    <a:pt x="5" y="185"/>
                  </a:lnTo>
                  <a:lnTo>
                    <a:pt x="11" y="164"/>
                  </a:lnTo>
                  <a:lnTo>
                    <a:pt x="18" y="143"/>
                  </a:lnTo>
                  <a:lnTo>
                    <a:pt x="27" y="123"/>
                  </a:lnTo>
                  <a:lnTo>
                    <a:pt x="39" y="104"/>
                  </a:lnTo>
                  <a:lnTo>
                    <a:pt x="52" y="86"/>
                  </a:lnTo>
                  <a:lnTo>
                    <a:pt x="68" y="68"/>
                  </a:lnTo>
                  <a:lnTo>
                    <a:pt x="85" y="52"/>
                  </a:lnTo>
                  <a:lnTo>
                    <a:pt x="103" y="40"/>
                  </a:lnTo>
                  <a:lnTo>
                    <a:pt x="123" y="27"/>
                  </a:lnTo>
                  <a:lnTo>
                    <a:pt x="142" y="18"/>
                  </a:lnTo>
                  <a:lnTo>
                    <a:pt x="164" y="11"/>
                  </a:lnTo>
                  <a:lnTo>
                    <a:pt x="185" y="6"/>
                  </a:lnTo>
                  <a:lnTo>
                    <a:pt x="208" y="2"/>
                  </a:lnTo>
                  <a:lnTo>
                    <a:pt x="231" y="0"/>
                  </a:lnTo>
                  <a:lnTo>
                    <a:pt x="255" y="2"/>
                  </a:lnTo>
                  <a:lnTo>
                    <a:pt x="276" y="6"/>
                  </a:lnTo>
                  <a:lnTo>
                    <a:pt x="297" y="11"/>
                  </a:lnTo>
                  <a:lnTo>
                    <a:pt x="319" y="18"/>
                  </a:lnTo>
                  <a:lnTo>
                    <a:pt x="338" y="27"/>
                  </a:lnTo>
                  <a:lnTo>
                    <a:pt x="358" y="40"/>
                  </a:lnTo>
                  <a:lnTo>
                    <a:pt x="376" y="52"/>
                  </a:lnTo>
                  <a:lnTo>
                    <a:pt x="393" y="68"/>
                  </a:lnTo>
                  <a:lnTo>
                    <a:pt x="409" y="86"/>
                  </a:lnTo>
                  <a:lnTo>
                    <a:pt x="422" y="104"/>
                  </a:lnTo>
                  <a:lnTo>
                    <a:pt x="434" y="123"/>
                  </a:lnTo>
                  <a:lnTo>
                    <a:pt x="443" y="143"/>
                  </a:lnTo>
                  <a:lnTo>
                    <a:pt x="450" y="164"/>
                  </a:lnTo>
                  <a:lnTo>
                    <a:pt x="456" y="185"/>
                  </a:lnTo>
                  <a:lnTo>
                    <a:pt x="459" y="209"/>
                  </a:lnTo>
                  <a:lnTo>
                    <a:pt x="461" y="232"/>
                  </a:lnTo>
                  <a:lnTo>
                    <a:pt x="456" y="278"/>
                  </a:lnTo>
                  <a:lnTo>
                    <a:pt x="443" y="321"/>
                  </a:lnTo>
                  <a:lnTo>
                    <a:pt x="422" y="360"/>
                  </a:lnTo>
                  <a:lnTo>
                    <a:pt x="393" y="394"/>
                  </a:lnTo>
                  <a:lnTo>
                    <a:pt x="360" y="422"/>
                  </a:lnTo>
                  <a:lnTo>
                    <a:pt x="320" y="443"/>
                  </a:lnTo>
                  <a:lnTo>
                    <a:pt x="278" y="456"/>
                  </a:lnTo>
                  <a:lnTo>
                    <a:pt x="231" y="461"/>
                  </a:lnTo>
                  <a:close/>
                </a:path>
              </a:pathLst>
            </a:custGeom>
            <a:solidFill>
              <a:srgbClr val="FFFFFF"/>
            </a:solidFill>
            <a:ln w="9525">
              <a:noFill/>
              <a:round/>
              <a:headEnd/>
              <a:tailEnd/>
            </a:ln>
          </p:spPr>
          <p:txBody>
            <a:bodyPr/>
            <a:lstStyle/>
            <a:p>
              <a:endParaRPr lang="en-GB"/>
            </a:p>
          </p:txBody>
        </p:sp>
        <p:sp>
          <p:nvSpPr>
            <p:cNvPr id="161813" name="Rectangle 47"/>
            <p:cNvSpPr>
              <a:spLocks noChangeArrowheads="1"/>
            </p:cNvSpPr>
            <p:nvPr/>
          </p:nvSpPr>
          <p:spPr bwMode="auto">
            <a:xfrm flipH="1">
              <a:off x="959" y="1726"/>
              <a:ext cx="67" cy="66"/>
            </a:xfrm>
            <a:prstGeom prst="rect">
              <a:avLst/>
            </a:prstGeom>
            <a:solidFill>
              <a:srgbClr val="000000"/>
            </a:solidFill>
            <a:ln w="9525">
              <a:noFill/>
              <a:miter lim="800000"/>
              <a:headEnd/>
              <a:tailEnd/>
            </a:ln>
          </p:spPr>
          <p:txBody>
            <a:bodyPr/>
            <a:lstStyle/>
            <a:p>
              <a:endParaRPr lang="en-US"/>
            </a:p>
          </p:txBody>
        </p:sp>
        <p:sp>
          <p:nvSpPr>
            <p:cNvPr id="161814" name="Rectangle 48"/>
            <p:cNvSpPr>
              <a:spLocks noChangeArrowheads="1"/>
            </p:cNvSpPr>
            <p:nvPr/>
          </p:nvSpPr>
          <p:spPr bwMode="auto">
            <a:xfrm flipH="1">
              <a:off x="836" y="1726"/>
              <a:ext cx="67" cy="66"/>
            </a:xfrm>
            <a:prstGeom prst="rect">
              <a:avLst/>
            </a:prstGeom>
            <a:solidFill>
              <a:srgbClr val="000000"/>
            </a:solidFill>
            <a:ln w="9525">
              <a:noFill/>
              <a:miter lim="800000"/>
              <a:headEnd/>
              <a:tailEnd/>
            </a:ln>
          </p:spPr>
          <p:txBody>
            <a:bodyPr/>
            <a:lstStyle/>
            <a:p>
              <a:endParaRPr lang="en-US"/>
            </a:p>
          </p:txBody>
        </p:sp>
        <p:sp>
          <p:nvSpPr>
            <p:cNvPr id="161815" name="Freeform 49"/>
            <p:cNvSpPr>
              <a:spLocks/>
            </p:cNvSpPr>
            <p:nvPr/>
          </p:nvSpPr>
          <p:spPr bwMode="auto">
            <a:xfrm flipH="1">
              <a:off x="698" y="1633"/>
              <a:ext cx="139" cy="251"/>
            </a:xfrm>
            <a:custGeom>
              <a:avLst/>
              <a:gdLst>
                <a:gd name="T0" fmla="*/ 17 w 278"/>
                <a:gd name="T1" fmla="*/ 16 h 501"/>
                <a:gd name="T2" fmla="*/ 0 w 278"/>
                <a:gd name="T3" fmla="*/ 0 h 501"/>
                <a:gd name="T4" fmla="*/ 0 w 278"/>
                <a:gd name="T5" fmla="*/ 32 h 501"/>
                <a:gd name="T6" fmla="*/ 17 w 278"/>
                <a:gd name="T7" fmla="*/ 16 h 501"/>
                <a:gd name="T8" fmla="*/ 0 60000 65536"/>
                <a:gd name="T9" fmla="*/ 0 60000 65536"/>
                <a:gd name="T10" fmla="*/ 0 60000 65536"/>
                <a:gd name="T11" fmla="*/ 0 60000 65536"/>
                <a:gd name="T12" fmla="*/ 0 w 278"/>
                <a:gd name="T13" fmla="*/ 0 h 501"/>
                <a:gd name="T14" fmla="*/ 278 w 278"/>
                <a:gd name="T15" fmla="*/ 501 h 501"/>
              </a:gdLst>
              <a:ahLst/>
              <a:cxnLst>
                <a:cxn ang="T8">
                  <a:pos x="T0" y="T1"/>
                </a:cxn>
                <a:cxn ang="T9">
                  <a:pos x="T2" y="T3"/>
                </a:cxn>
                <a:cxn ang="T10">
                  <a:pos x="T4" y="T5"/>
                </a:cxn>
                <a:cxn ang="T11">
                  <a:pos x="T6" y="T7"/>
                </a:cxn>
              </a:cxnLst>
              <a:rect l="T12" t="T13" r="T14" b="T15"/>
              <a:pathLst>
                <a:path w="278" h="501">
                  <a:moveTo>
                    <a:pt x="278" y="250"/>
                  </a:moveTo>
                  <a:lnTo>
                    <a:pt x="0" y="0"/>
                  </a:lnTo>
                  <a:lnTo>
                    <a:pt x="0" y="501"/>
                  </a:lnTo>
                  <a:lnTo>
                    <a:pt x="278" y="250"/>
                  </a:lnTo>
                  <a:close/>
                </a:path>
              </a:pathLst>
            </a:custGeom>
            <a:solidFill>
              <a:srgbClr val="000000"/>
            </a:solidFill>
            <a:ln w="9525">
              <a:noFill/>
              <a:round/>
              <a:headEnd/>
              <a:tailEnd/>
            </a:ln>
          </p:spPr>
          <p:txBody>
            <a:bodyPr/>
            <a:lstStyle/>
            <a:p>
              <a:endParaRPr lang="en-GB"/>
            </a:p>
          </p:txBody>
        </p:sp>
        <p:sp>
          <p:nvSpPr>
            <p:cNvPr id="161816" name="Freeform 50"/>
            <p:cNvSpPr>
              <a:spLocks/>
            </p:cNvSpPr>
            <p:nvPr/>
          </p:nvSpPr>
          <p:spPr bwMode="auto">
            <a:xfrm flipH="1">
              <a:off x="2284" y="1551"/>
              <a:ext cx="109" cy="63"/>
            </a:xfrm>
            <a:custGeom>
              <a:avLst/>
              <a:gdLst>
                <a:gd name="T0" fmla="*/ 13 w 219"/>
                <a:gd name="T1" fmla="*/ 3 h 126"/>
                <a:gd name="T2" fmla="*/ 2 w 219"/>
                <a:gd name="T3" fmla="*/ 0 h 126"/>
                <a:gd name="T4" fmla="*/ 1 w 219"/>
                <a:gd name="T5" fmla="*/ 2 h 126"/>
                <a:gd name="T6" fmla="*/ 1 w 219"/>
                <a:gd name="T7" fmla="*/ 4 h 126"/>
                <a:gd name="T8" fmla="*/ 0 w 219"/>
                <a:gd name="T9" fmla="*/ 6 h 126"/>
                <a:gd name="T10" fmla="*/ 0 w 219"/>
                <a:gd name="T11" fmla="*/ 8 h 126"/>
                <a:gd name="T12" fmla="*/ 11 w 219"/>
                <a:gd name="T13" fmla="*/ 8 h 126"/>
                <a:gd name="T14" fmla="*/ 11 w 219"/>
                <a:gd name="T15" fmla="*/ 7 h 126"/>
                <a:gd name="T16" fmla="*/ 12 w 219"/>
                <a:gd name="T17" fmla="*/ 6 h 126"/>
                <a:gd name="T18" fmla="*/ 13 w 219"/>
                <a:gd name="T19" fmla="*/ 4 h 126"/>
                <a:gd name="T20" fmla="*/ 13 w 219"/>
                <a:gd name="T21" fmla="*/ 3 h 1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9"/>
                <a:gd name="T34" fmla="*/ 0 h 126"/>
                <a:gd name="T35" fmla="*/ 219 w 219"/>
                <a:gd name="T36" fmla="*/ 126 h 1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9" h="126">
                  <a:moveTo>
                    <a:pt x="219" y="45"/>
                  </a:moveTo>
                  <a:lnTo>
                    <a:pt x="41" y="0"/>
                  </a:lnTo>
                  <a:lnTo>
                    <a:pt x="26" y="30"/>
                  </a:lnTo>
                  <a:lnTo>
                    <a:pt x="16" y="62"/>
                  </a:lnTo>
                  <a:lnTo>
                    <a:pt x="7" y="94"/>
                  </a:lnTo>
                  <a:lnTo>
                    <a:pt x="0" y="126"/>
                  </a:lnTo>
                  <a:lnTo>
                    <a:pt x="183" y="125"/>
                  </a:lnTo>
                  <a:lnTo>
                    <a:pt x="190" y="105"/>
                  </a:lnTo>
                  <a:lnTo>
                    <a:pt x="199" y="84"/>
                  </a:lnTo>
                  <a:lnTo>
                    <a:pt x="208" y="64"/>
                  </a:lnTo>
                  <a:lnTo>
                    <a:pt x="219" y="45"/>
                  </a:lnTo>
                  <a:close/>
                </a:path>
              </a:pathLst>
            </a:custGeom>
            <a:solidFill>
              <a:srgbClr val="000000"/>
            </a:solidFill>
            <a:ln w="9525">
              <a:noFill/>
              <a:round/>
              <a:headEnd/>
              <a:tailEnd/>
            </a:ln>
          </p:spPr>
          <p:txBody>
            <a:bodyPr/>
            <a:lstStyle/>
            <a:p>
              <a:endParaRPr lang="en-GB"/>
            </a:p>
          </p:txBody>
        </p:sp>
        <p:sp>
          <p:nvSpPr>
            <p:cNvPr id="161817" name="Freeform 51"/>
            <p:cNvSpPr>
              <a:spLocks/>
            </p:cNvSpPr>
            <p:nvPr/>
          </p:nvSpPr>
          <p:spPr bwMode="auto">
            <a:xfrm flipH="1">
              <a:off x="1550" y="1382"/>
              <a:ext cx="923" cy="993"/>
            </a:xfrm>
            <a:custGeom>
              <a:avLst/>
              <a:gdLst>
                <a:gd name="T0" fmla="*/ 107 w 1847"/>
                <a:gd name="T1" fmla="*/ 72 h 1985"/>
                <a:gd name="T2" fmla="*/ 72 w 1847"/>
                <a:gd name="T3" fmla="*/ 52 h 1985"/>
                <a:gd name="T4" fmla="*/ 70 w 1847"/>
                <a:gd name="T5" fmla="*/ 45 h 1985"/>
                <a:gd name="T6" fmla="*/ 106 w 1847"/>
                <a:gd name="T7" fmla="*/ 33 h 1985"/>
                <a:gd name="T8" fmla="*/ 101 w 1847"/>
                <a:gd name="T9" fmla="*/ 14 h 1985"/>
                <a:gd name="T10" fmla="*/ 86 w 1847"/>
                <a:gd name="T11" fmla="*/ 2 h 1985"/>
                <a:gd name="T12" fmla="*/ 71 w 1847"/>
                <a:gd name="T13" fmla="*/ 1 h 1985"/>
                <a:gd name="T14" fmla="*/ 63 w 1847"/>
                <a:gd name="T15" fmla="*/ 2 h 1985"/>
                <a:gd name="T16" fmla="*/ 55 w 1847"/>
                <a:gd name="T17" fmla="*/ 4 h 1985"/>
                <a:gd name="T18" fmla="*/ 42 w 1847"/>
                <a:gd name="T19" fmla="*/ 2 h 1985"/>
                <a:gd name="T20" fmla="*/ 31 w 1847"/>
                <a:gd name="T21" fmla="*/ 4 h 1985"/>
                <a:gd name="T22" fmla="*/ 21 w 1847"/>
                <a:gd name="T23" fmla="*/ 10 h 1985"/>
                <a:gd name="T24" fmla="*/ 14 w 1847"/>
                <a:gd name="T25" fmla="*/ 18 h 1985"/>
                <a:gd name="T26" fmla="*/ 24 w 1847"/>
                <a:gd name="T27" fmla="*/ 23 h 1985"/>
                <a:gd name="T28" fmla="*/ 30 w 1847"/>
                <a:gd name="T29" fmla="*/ 17 h 1985"/>
                <a:gd name="T30" fmla="*/ 44 w 1847"/>
                <a:gd name="T31" fmla="*/ 13 h 1985"/>
                <a:gd name="T32" fmla="*/ 54 w 1847"/>
                <a:gd name="T33" fmla="*/ 16 h 1985"/>
                <a:gd name="T34" fmla="*/ 59 w 1847"/>
                <a:gd name="T35" fmla="*/ 17 h 1985"/>
                <a:gd name="T36" fmla="*/ 70 w 1847"/>
                <a:gd name="T37" fmla="*/ 12 h 1985"/>
                <a:gd name="T38" fmla="*/ 85 w 1847"/>
                <a:gd name="T39" fmla="*/ 14 h 1985"/>
                <a:gd name="T40" fmla="*/ 93 w 1847"/>
                <a:gd name="T41" fmla="*/ 21 h 1985"/>
                <a:gd name="T42" fmla="*/ 68 w 1847"/>
                <a:gd name="T43" fmla="*/ 31 h 1985"/>
                <a:gd name="T44" fmla="*/ 58 w 1847"/>
                <a:gd name="T45" fmla="*/ 45 h 1985"/>
                <a:gd name="T46" fmla="*/ 50 w 1847"/>
                <a:gd name="T47" fmla="*/ 43 h 1985"/>
                <a:gd name="T48" fmla="*/ 43 w 1847"/>
                <a:gd name="T49" fmla="*/ 44 h 1985"/>
                <a:gd name="T50" fmla="*/ 42 w 1847"/>
                <a:gd name="T51" fmla="*/ 51 h 1985"/>
                <a:gd name="T52" fmla="*/ 45 w 1847"/>
                <a:gd name="T53" fmla="*/ 53 h 1985"/>
                <a:gd name="T54" fmla="*/ 49 w 1847"/>
                <a:gd name="T55" fmla="*/ 60 h 1985"/>
                <a:gd name="T56" fmla="*/ 50 w 1847"/>
                <a:gd name="T57" fmla="*/ 73 h 1985"/>
                <a:gd name="T58" fmla="*/ 42 w 1847"/>
                <a:gd name="T59" fmla="*/ 87 h 1985"/>
                <a:gd name="T60" fmla="*/ 30 w 1847"/>
                <a:gd name="T61" fmla="*/ 92 h 1985"/>
                <a:gd name="T62" fmla="*/ 26 w 1847"/>
                <a:gd name="T63" fmla="*/ 92 h 1985"/>
                <a:gd name="T64" fmla="*/ 16 w 1847"/>
                <a:gd name="T65" fmla="*/ 89 h 1985"/>
                <a:gd name="T66" fmla="*/ 30 w 1847"/>
                <a:gd name="T67" fmla="*/ 69 h 1985"/>
                <a:gd name="T68" fmla="*/ 27 w 1847"/>
                <a:gd name="T69" fmla="*/ 53 h 1985"/>
                <a:gd name="T70" fmla="*/ 24 w 1847"/>
                <a:gd name="T71" fmla="*/ 48 h 1985"/>
                <a:gd name="T72" fmla="*/ 20 w 1847"/>
                <a:gd name="T73" fmla="*/ 35 h 1985"/>
                <a:gd name="T74" fmla="*/ 9 w 1847"/>
                <a:gd name="T75" fmla="*/ 32 h 1985"/>
                <a:gd name="T76" fmla="*/ 12 w 1847"/>
                <a:gd name="T77" fmla="*/ 49 h 1985"/>
                <a:gd name="T78" fmla="*/ 16 w 1847"/>
                <a:gd name="T79" fmla="*/ 56 h 1985"/>
                <a:gd name="T80" fmla="*/ 17 w 1847"/>
                <a:gd name="T81" fmla="*/ 73 h 1985"/>
                <a:gd name="T82" fmla="*/ 3 w 1847"/>
                <a:gd name="T83" fmla="*/ 81 h 1985"/>
                <a:gd name="T84" fmla="*/ 0 w 1847"/>
                <a:gd name="T85" fmla="*/ 85 h 1985"/>
                <a:gd name="T86" fmla="*/ 6 w 1847"/>
                <a:gd name="T87" fmla="*/ 95 h 1985"/>
                <a:gd name="T88" fmla="*/ 18 w 1847"/>
                <a:gd name="T89" fmla="*/ 102 h 1985"/>
                <a:gd name="T90" fmla="*/ 28 w 1847"/>
                <a:gd name="T91" fmla="*/ 103 h 1985"/>
                <a:gd name="T92" fmla="*/ 40 w 1847"/>
                <a:gd name="T93" fmla="*/ 101 h 1985"/>
                <a:gd name="T94" fmla="*/ 50 w 1847"/>
                <a:gd name="T95" fmla="*/ 95 h 1985"/>
                <a:gd name="T96" fmla="*/ 61 w 1847"/>
                <a:gd name="T97" fmla="*/ 76 h 1985"/>
                <a:gd name="T98" fmla="*/ 60 w 1847"/>
                <a:gd name="T99" fmla="*/ 57 h 1985"/>
                <a:gd name="T100" fmla="*/ 64 w 1847"/>
                <a:gd name="T101" fmla="*/ 61 h 1985"/>
                <a:gd name="T102" fmla="*/ 95 w 1847"/>
                <a:gd name="T103" fmla="*/ 72 h 1985"/>
                <a:gd name="T104" fmla="*/ 98 w 1847"/>
                <a:gd name="T105" fmla="*/ 79 h 1985"/>
                <a:gd name="T106" fmla="*/ 76 w 1847"/>
                <a:gd name="T107" fmla="*/ 89 h 1985"/>
                <a:gd name="T108" fmla="*/ 68 w 1847"/>
                <a:gd name="T109" fmla="*/ 80 h 1985"/>
                <a:gd name="T110" fmla="*/ 62 w 1847"/>
                <a:gd name="T111" fmla="*/ 83 h 1985"/>
                <a:gd name="T112" fmla="*/ 63 w 1847"/>
                <a:gd name="T113" fmla="*/ 92 h 1985"/>
                <a:gd name="T114" fmla="*/ 73 w 1847"/>
                <a:gd name="T115" fmla="*/ 101 h 1985"/>
                <a:gd name="T116" fmla="*/ 86 w 1847"/>
                <a:gd name="T117" fmla="*/ 105 h 1985"/>
                <a:gd name="T118" fmla="*/ 98 w 1847"/>
                <a:gd name="T119" fmla="*/ 124 h 198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47"/>
                <a:gd name="T181" fmla="*/ 0 h 1985"/>
                <a:gd name="T182" fmla="*/ 1847 w 1847"/>
                <a:gd name="T183" fmla="*/ 1985 h 198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47" h="1985">
                  <a:moveTo>
                    <a:pt x="1815" y="1277"/>
                  </a:moveTo>
                  <a:lnTo>
                    <a:pt x="1799" y="1261"/>
                  </a:lnTo>
                  <a:lnTo>
                    <a:pt x="1783" y="1243"/>
                  </a:lnTo>
                  <a:lnTo>
                    <a:pt x="1767" y="1222"/>
                  </a:lnTo>
                  <a:lnTo>
                    <a:pt x="1751" y="1199"/>
                  </a:lnTo>
                  <a:lnTo>
                    <a:pt x="1735" y="1174"/>
                  </a:lnTo>
                  <a:lnTo>
                    <a:pt x="1720" y="1146"/>
                  </a:lnTo>
                  <a:lnTo>
                    <a:pt x="1706" y="1115"/>
                  </a:lnTo>
                  <a:lnTo>
                    <a:pt x="1694" y="1083"/>
                  </a:lnTo>
                  <a:lnTo>
                    <a:pt x="1719" y="994"/>
                  </a:lnTo>
                  <a:lnTo>
                    <a:pt x="1190" y="850"/>
                  </a:lnTo>
                  <a:lnTo>
                    <a:pt x="1176" y="841"/>
                  </a:lnTo>
                  <a:lnTo>
                    <a:pt x="1163" y="832"/>
                  </a:lnTo>
                  <a:lnTo>
                    <a:pt x="1152" y="820"/>
                  </a:lnTo>
                  <a:lnTo>
                    <a:pt x="1144" y="808"/>
                  </a:lnTo>
                  <a:lnTo>
                    <a:pt x="1136" y="795"/>
                  </a:lnTo>
                  <a:lnTo>
                    <a:pt x="1131" y="779"/>
                  </a:lnTo>
                  <a:lnTo>
                    <a:pt x="1128" y="765"/>
                  </a:lnTo>
                  <a:lnTo>
                    <a:pt x="1126" y="749"/>
                  </a:lnTo>
                  <a:lnTo>
                    <a:pt x="1128" y="731"/>
                  </a:lnTo>
                  <a:lnTo>
                    <a:pt x="1131" y="715"/>
                  </a:lnTo>
                  <a:lnTo>
                    <a:pt x="1136" y="701"/>
                  </a:lnTo>
                  <a:lnTo>
                    <a:pt x="1145" y="685"/>
                  </a:lnTo>
                  <a:lnTo>
                    <a:pt x="1154" y="672"/>
                  </a:lnTo>
                  <a:lnTo>
                    <a:pt x="1167" y="662"/>
                  </a:lnTo>
                  <a:lnTo>
                    <a:pt x="1179" y="651"/>
                  </a:lnTo>
                  <a:lnTo>
                    <a:pt x="1195" y="644"/>
                  </a:lnTo>
                  <a:lnTo>
                    <a:pt x="1703" y="528"/>
                  </a:lnTo>
                  <a:lnTo>
                    <a:pt x="1680" y="425"/>
                  </a:lnTo>
                  <a:lnTo>
                    <a:pt x="1726" y="418"/>
                  </a:lnTo>
                  <a:lnTo>
                    <a:pt x="1713" y="373"/>
                  </a:lnTo>
                  <a:lnTo>
                    <a:pt x="1697" y="331"/>
                  </a:lnTo>
                  <a:lnTo>
                    <a:pt x="1678" y="292"/>
                  </a:lnTo>
                  <a:lnTo>
                    <a:pt x="1655" y="252"/>
                  </a:lnTo>
                  <a:lnTo>
                    <a:pt x="1628" y="215"/>
                  </a:lnTo>
                  <a:lnTo>
                    <a:pt x="1599" y="181"/>
                  </a:lnTo>
                  <a:lnTo>
                    <a:pt x="1569" y="149"/>
                  </a:lnTo>
                  <a:lnTo>
                    <a:pt x="1535" y="119"/>
                  </a:lnTo>
                  <a:lnTo>
                    <a:pt x="1500" y="92"/>
                  </a:lnTo>
                  <a:lnTo>
                    <a:pt x="1460" y="69"/>
                  </a:lnTo>
                  <a:lnTo>
                    <a:pt x="1421" y="50"/>
                  </a:lnTo>
                  <a:lnTo>
                    <a:pt x="1379" y="32"/>
                  </a:lnTo>
                  <a:lnTo>
                    <a:pt x="1336" y="18"/>
                  </a:lnTo>
                  <a:lnTo>
                    <a:pt x="1290" y="9"/>
                  </a:lnTo>
                  <a:lnTo>
                    <a:pt x="1243" y="2"/>
                  </a:lnTo>
                  <a:lnTo>
                    <a:pt x="1195" y="0"/>
                  </a:lnTo>
                  <a:lnTo>
                    <a:pt x="1176" y="0"/>
                  </a:lnTo>
                  <a:lnTo>
                    <a:pt x="1158" y="2"/>
                  </a:lnTo>
                  <a:lnTo>
                    <a:pt x="1138" y="3"/>
                  </a:lnTo>
                  <a:lnTo>
                    <a:pt x="1119" y="5"/>
                  </a:lnTo>
                  <a:lnTo>
                    <a:pt x="1101" y="9"/>
                  </a:lnTo>
                  <a:lnTo>
                    <a:pt x="1081" y="10"/>
                  </a:lnTo>
                  <a:lnTo>
                    <a:pt x="1063" y="16"/>
                  </a:lnTo>
                  <a:lnTo>
                    <a:pt x="1046" y="19"/>
                  </a:lnTo>
                  <a:lnTo>
                    <a:pt x="1028" y="25"/>
                  </a:lnTo>
                  <a:lnTo>
                    <a:pt x="1010" y="30"/>
                  </a:lnTo>
                  <a:lnTo>
                    <a:pt x="992" y="37"/>
                  </a:lnTo>
                  <a:lnTo>
                    <a:pt x="974" y="43"/>
                  </a:lnTo>
                  <a:lnTo>
                    <a:pt x="957" y="50"/>
                  </a:lnTo>
                  <a:lnTo>
                    <a:pt x="941" y="59"/>
                  </a:lnTo>
                  <a:lnTo>
                    <a:pt x="925" y="66"/>
                  </a:lnTo>
                  <a:lnTo>
                    <a:pt x="908" y="75"/>
                  </a:lnTo>
                  <a:lnTo>
                    <a:pt x="882" y="64"/>
                  </a:lnTo>
                  <a:lnTo>
                    <a:pt x="855" y="55"/>
                  </a:lnTo>
                  <a:lnTo>
                    <a:pt x="827" y="48"/>
                  </a:lnTo>
                  <a:lnTo>
                    <a:pt x="800" y="41"/>
                  </a:lnTo>
                  <a:lnTo>
                    <a:pt x="770" y="35"/>
                  </a:lnTo>
                  <a:lnTo>
                    <a:pt x="741" y="32"/>
                  </a:lnTo>
                  <a:lnTo>
                    <a:pt x="713" y="28"/>
                  </a:lnTo>
                  <a:lnTo>
                    <a:pt x="684" y="28"/>
                  </a:lnTo>
                  <a:lnTo>
                    <a:pt x="657" y="28"/>
                  </a:lnTo>
                  <a:lnTo>
                    <a:pt x="631" y="30"/>
                  </a:lnTo>
                  <a:lnTo>
                    <a:pt x="606" y="34"/>
                  </a:lnTo>
                  <a:lnTo>
                    <a:pt x="579" y="39"/>
                  </a:lnTo>
                  <a:lnTo>
                    <a:pt x="554" y="44"/>
                  </a:lnTo>
                  <a:lnTo>
                    <a:pt x="529" y="51"/>
                  </a:lnTo>
                  <a:lnTo>
                    <a:pt x="504" y="60"/>
                  </a:lnTo>
                  <a:lnTo>
                    <a:pt x="479" y="69"/>
                  </a:lnTo>
                  <a:lnTo>
                    <a:pt x="456" y="80"/>
                  </a:lnTo>
                  <a:lnTo>
                    <a:pt x="433" y="92"/>
                  </a:lnTo>
                  <a:lnTo>
                    <a:pt x="410" y="105"/>
                  </a:lnTo>
                  <a:lnTo>
                    <a:pt x="389" y="119"/>
                  </a:lnTo>
                  <a:lnTo>
                    <a:pt x="367" y="133"/>
                  </a:lnTo>
                  <a:lnTo>
                    <a:pt x="346" y="149"/>
                  </a:lnTo>
                  <a:lnTo>
                    <a:pt x="326" y="167"/>
                  </a:lnTo>
                  <a:lnTo>
                    <a:pt x="307" y="185"/>
                  </a:lnTo>
                  <a:lnTo>
                    <a:pt x="291" y="203"/>
                  </a:lnTo>
                  <a:lnTo>
                    <a:pt x="275" y="219"/>
                  </a:lnTo>
                  <a:lnTo>
                    <a:pt x="260" y="238"/>
                  </a:lnTo>
                  <a:lnTo>
                    <a:pt x="246" y="256"/>
                  </a:lnTo>
                  <a:lnTo>
                    <a:pt x="234" y="276"/>
                  </a:lnTo>
                  <a:lnTo>
                    <a:pt x="223" y="295"/>
                  </a:lnTo>
                  <a:lnTo>
                    <a:pt x="212" y="315"/>
                  </a:lnTo>
                  <a:lnTo>
                    <a:pt x="202" y="336"/>
                  </a:lnTo>
                  <a:lnTo>
                    <a:pt x="380" y="381"/>
                  </a:lnTo>
                  <a:lnTo>
                    <a:pt x="385" y="372"/>
                  </a:lnTo>
                  <a:lnTo>
                    <a:pt x="392" y="363"/>
                  </a:lnTo>
                  <a:lnTo>
                    <a:pt x="399" y="354"/>
                  </a:lnTo>
                  <a:lnTo>
                    <a:pt x="405" y="345"/>
                  </a:lnTo>
                  <a:lnTo>
                    <a:pt x="412" y="336"/>
                  </a:lnTo>
                  <a:lnTo>
                    <a:pt x="419" y="329"/>
                  </a:lnTo>
                  <a:lnTo>
                    <a:pt x="426" y="320"/>
                  </a:lnTo>
                  <a:lnTo>
                    <a:pt x="433" y="313"/>
                  </a:lnTo>
                  <a:lnTo>
                    <a:pt x="460" y="290"/>
                  </a:lnTo>
                  <a:lnTo>
                    <a:pt x="488" y="268"/>
                  </a:lnTo>
                  <a:lnTo>
                    <a:pt x="517" y="251"/>
                  </a:lnTo>
                  <a:lnTo>
                    <a:pt x="549" y="235"/>
                  </a:lnTo>
                  <a:lnTo>
                    <a:pt x="581" y="224"/>
                  </a:lnTo>
                  <a:lnTo>
                    <a:pt x="615" y="215"/>
                  </a:lnTo>
                  <a:lnTo>
                    <a:pt x="649" y="210"/>
                  </a:lnTo>
                  <a:lnTo>
                    <a:pt x="684" y="208"/>
                  </a:lnTo>
                  <a:lnTo>
                    <a:pt x="709" y="208"/>
                  </a:lnTo>
                  <a:lnTo>
                    <a:pt x="732" y="212"/>
                  </a:lnTo>
                  <a:lnTo>
                    <a:pt x="757" y="215"/>
                  </a:lnTo>
                  <a:lnTo>
                    <a:pt x="782" y="220"/>
                  </a:lnTo>
                  <a:lnTo>
                    <a:pt x="805" y="228"/>
                  </a:lnTo>
                  <a:lnTo>
                    <a:pt x="828" y="236"/>
                  </a:lnTo>
                  <a:lnTo>
                    <a:pt x="850" y="245"/>
                  </a:lnTo>
                  <a:lnTo>
                    <a:pt x="869" y="256"/>
                  </a:lnTo>
                  <a:lnTo>
                    <a:pt x="882" y="261"/>
                  </a:lnTo>
                  <a:lnTo>
                    <a:pt x="894" y="265"/>
                  </a:lnTo>
                  <a:lnTo>
                    <a:pt x="907" y="268"/>
                  </a:lnTo>
                  <a:lnTo>
                    <a:pt x="919" y="268"/>
                  </a:lnTo>
                  <a:lnTo>
                    <a:pt x="932" y="267"/>
                  </a:lnTo>
                  <a:lnTo>
                    <a:pt x="944" y="263"/>
                  </a:lnTo>
                  <a:lnTo>
                    <a:pt x="957" y="258"/>
                  </a:lnTo>
                  <a:lnTo>
                    <a:pt x="967" y="251"/>
                  </a:lnTo>
                  <a:lnTo>
                    <a:pt x="990" y="235"/>
                  </a:lnTo>
                  <a:lnTo>
                    <a:pt x="1017" y="220"/>
                  </a:lnTo>
                  <a:lnTo>
                    <a:pt x="1044" y="208"/>
                  </a:lnTo>
                  <a:lnTo>
                    <a:pt x="1072" y="199"/>
                  </a:lnTo>
                  <a:lnTo>
                    <a:pt x="1103" y="190"/>
                  </a:lnTo>
                  <a:lnTo>
                    <a:pt x="1133" y="185"/>
                  </a:lnTo>
                  <a:lnTo>
                    <a:pt x="1163" y="181"/>
                  </a:lnTo>
                  <a:lnTo>
                    <a:pt x="1195" y="179"/>
                  </a:lnTo>
                  <a:lnTo>
                    <a:pt x="1231" y="181"/>
                  </a:lnTo>
                  <a:lnTo>
                    <a:pt x="1268" y="187"/>
                  </a:lnTo>
                  <a:lnTo>
                    <a:pt x="1302" y="196"/>
                  </a:lnTo>
                  <a:lnTo>
                    <a:pt x="1336" y="208"/>
                  </a:lnTo>
                  <a:lnTo>
                    <a:pt x="1368" y="224"/>
                  </a:lnTo>
                  <a:lnTo>
                    <a:pt x="1398" y="242"/>
                  </a:lnTo>
                  <a:lnTo>
                    <a:pt x="1428" y="263"/>
                  </a:lnTo>
                  <a:lnTo>
                    <a:pt x="1455" y="288"/>
                  </a:lnTo>
                  <a:lnTo>
                    <a:pt x="1466" y="299"/>
                  </a:lnTo>
                  <a:lnTo>
                    <a:pt x="1475" y="309"/>
                  </a:lnTo>
                  <a:lnTo>
                    <a:pt x="1484" y="320"/>
                  </a:lnTo>
                  <a:lnTo>
                    <a:pt x="1493" y="331"/>
                  </a:lnTo>
                  <a:lnTo>
                    <a:pt x="1500" y="341"/>
                  </a:lnTo>
                  <a:lnTo>
                    <a:pt x="1509" y="354"/>
                  </a:lnTo>
                  <a:lnTo>
                    <a:pt x="1514" y="366"/>
                  </a:lnTo>
                  <a:lnTo>
                    <a:pt x="1521" y="379"/>
                  </a:lnTo>
                  <a:lnTo>
                    <a:pt x="1140" y="466"/>
                  </a:lnTo>
                  <a:lnTo>
                    <a:pt x="1135" y="468"/>
                  </a:lnTo>
                  <a:lnTo>
                    <a:pt x="1095" y="485"/>
                  </a:lnTo>
                  <a:lnTo>
                    <a:pt x="1062" y="507"/>
                  </a:lnTo>
                  <a:lnTo>
                    <a:pt x="1030" y="534"/>
                  </a:lnTo>
                  <a:lnTo>
                    <a:pt x="1003" y="564"/>
                  </a:lnTo>
                  <a:lnTo>
                    <a:pt x="980" y="598"/>
                  </a:lnTo>
                  <a:lnTo>
                    <a:pt x="962" y="633"/>
                  </a:lnTo>
                  <a:lnTo>
                    <a:pt x="949" y="672"/>
                  </a:lnTo>
                  <a:lnTo>
                    <a:pt x="941" y="713"/>
                  </a:lnTo>
                  <a:lnTo>
                    <a:pt x="921" y="710"/>
                  </a:lnTo>
                  <a:lnTo>
                    <a:pt x="901" y="704"/>
                  </a:lnTo>
                  <a:lnTo>
                    <a:pt x="882" y="699"/>
                  </a:lnTo>
                  <a:lnTo>
                    <a:pt x="862" y="694"/>
                  </a:lnTo>
                  <a:lnTo>
                    <a:pt x="844" y="688"/>
                  </a:lnTo>
                  <a:lnTo>
                    <a:pt x="825" y="683"/>
                  </a:lnTo>
                  <a:lnTo>
                    <a:pt x="807" y="678"/>
                  </a:lnTo>
                  <a:lnTo>
                    <a:pt x="789" y="671"/>
                  </a:lnTo>
                  <a:lnTo>
                    <a:pt x="771" y="665"/>
                  </a:lnTo>
                  <a:lnTo>
                    <a:pt x="754" y="663"/>
                  </a:lnTo>
                  <a:lnTo>
                    <a:pt x="736" y="665"/>
                  </a:lnTo>
                  <a:lnTo>
                    <a:pt x="720" y="671"/>
                  </a:lnTo>
                  <a:lnTo>
                    <a:pt x="704" y="679"/>
                  </a:lnTo>
                  <a:lnTo>
                    <a:pt x="691" y="690"/>
                  </a:lnTo>
                  <a:lnTo>
                    <a:pt x="681" y="704"/>
                  </a:lnTo>
                  <a:lnTo>
                    <a:pt x="672" y="720"/>
                  </a:lnTo>
                  <a:lnTo>
                    <a:pt x="666" y="738"/>
                  </a:lnTo>
                  <a:lnTo>
                    <a:pt x="666" y="756"/>
                  </a:lnTo>
                  <a:lnTo>
                    <a:pt x="668" y="772"/>
                  </a:lnTo>
                  <a:lnTo>
                    <a:pt x="673" y="788"/>
                  </a:lnTo>
                  <a:lnTo>
                    <a:pt x="682" y="804"/>
                  </a:lnTo>
                  <a:lnTo>
                    <a:pt x="693" y="816"/>
                  </a:lnTo>
                  <a:lnTo>
                    <a:pt x="707" y="827"/>
                  </a:lnTo>
                  <a:lnTo>
                    <a:pt x="723" y="836"/>
                  </a:lnTo>
                  <a:lnTo>
                    <a:pt x="725" y="838"/>
                  </a:lnTo>
                  <a:lnTo>
                    <a:pt x="727" y="838"/>
                  </a:lnTo>
                  <a:lnTo>
                    <a:pt x="729" y="840"/>
                  </a:lnTo>
                  <a:lnTo>
                    <a:pt x="732" y="848"/>
                  </a:lnTo>
                  <a:lnTo>
                    <a:pt x="736" y="856"/>
                  </a:lnTo>
                  <a:lnTo>
                    <a:pt x="739" y="864"/>
                  </a:lnTo>
                  <a:lnTo>
                    <a:pt x="745" y="873"/>
                  </a:lnTo>
                  <a:lnTo>
                    <a:pt x="761" y="898"/>
                  </a:lnTo>
                  <a:lnTo>
                    <a:pt x="775" y="923"/>
                  </a:lnTo>
                  <a:lnTo>
                    <a:pt x="787" y="950"/>
                  </a:lnTo>
                  <a:lnTo>
                    <a:pt x="796" y="978"/>
                  </a:lnTo>
                  <a:lnTo>
                    <a:pt x="805" y="1005"/>
                  </a:lnTo>
                  <a:lnTo>
                    <a:pt x="811" y="1035"/>
                  </a:lnTo>
                  <a:lnTo>
                    <a:pt x="812" y="1064"/>
                  </a:lnTo>
                  <a:lnTo>
                    <a:pt x="814" y="1094"/>
                  </a:lnTo>
                  <a:lnTo>
                    <a:pt x="812" y="1131"/>
                  </a:lnTo>
                  <a:lnTo>
                    <a:pt x="807" y="1167"/>
                  </a:lnTo>
                  <a:lnTo>
                    <a:pt x="798" y="1202"/>
                  </a:lnTo>
                  <a:lnTo>
                    <a:pt x="787" y="1236"/>
                  </a:lnTo>
                  <a:lnTo>
                    <a:pt x="771" y="1270"/>
                  </a:lnTo>
                  <a:lnTo>
                    <a:pt x="752" y="1302"/>
                  </a:lnTo>
                  <a:lnTo>
                    <a:pt x="730" y="1331"/>
                  </a:lnTo>
                  <a:lnTo>
                    <a:pt x="705" y="1359"/>
                  </a:lnTo>
                  <a:lnTo>
                    <a:pt x="682" y="1379"/>
                  </a:lnTo>
                  <a:lnTo>
                    <a:pt x="659" y="1398"/>
                  </a:lnTo>
                  <a:lnTo>
                    <a:pt x="634" y="1414"/>
                  </a:lnTo>
                  <a:lnTo>
                    <a:pt x="608" y="1428"/>
                  </a:lnTo>
                  <a:lnTo>
                    <a:pt x="581" y="1439"/>
                  </a:lnTo>
                  <a:lnTo>
                    <a:pt x="552" y="1448"/>
                  </a:lnTo>
                  <a:lnTo>
                    <a:pt x="524" y="1455"/>
                  </a:lnTo>
                  <a:lnTo>
                    <a:pt x="495" y="1460"/>
                  </a:lnTo>
                  <a:lnTo>
                    <a:pt x="470" y="1460"/>
                  </a:lnTo>
                  <a:lnTo>
                    <a:pt x="470" y="1464"/>
                  </a:lnTo>
                  <a:lnTo>
                    <a:pt x="465" y="1464"/>
                  </a:lnTo>
                  <a:lnTo>
                    <a:pt x="462" y="1464"/>
                  </a:lnTo>
                  <a:lnTo>
                    <a:pt x="456" y="1464"/>
                  </a:lnTo>
                  <a:lnTo>
                    <a:pt x="453" y="1464"/>
                  </a:lnTo>
                  <a:lnTo>
                    <a:pt x="428" y="1462"/>
                  </a:lnTo>
                  <a:lnTo>
                    <a:pt x="403" y="1460"/>
                  </a:lnTo>
                  <a:lnTo>
                    <a:pt x="378" y="1457"/>
                  </a:lnTo>
                  <a:lnTo>
                    <a:pt x="355" y="1450"/>
                  </a:lnTo>
                  <a:lnTo>
                    <a:pt x="332" y="1443"/>
                  </a:lnTo>
                  <a:lnTo>
                    <a:pt x="308" y="1434"/>
                  </a:lnTo>
                  <a:lnTo>
                    <a:pt x="285" y="1423"/>
                  </a:lnTo>
                  <a:lnTo>
                    <a:pt x="264" y="1411"/>
                  </a:lnTo>
                  <a:lnTo>
                    <a:pt x="314" y="1380"/>
                  </a:lnTo>
                  <a:lnTo>
                    <a:pt x="358" y="1343"/>
                  </a:lnTo>
                  <a:lnTo>
                    <a:pt x="397" y="1302"/>
                  </a:lnTo>
                  <a:lnTo>
                    <a:pt x="429" y="1256"/>
                  </a:lnTo>
                  <a:lnTo>
                    <a:pt x="456" y="1206"/>
                  </a:lnTo>
                  <a:lnTo>
                    <a:pt x="478" y="1151"/>
                  </a:lnTo>
                  <a:lnTo>
                    <a:pt x="490" y="1094"/>
                  </a:lnTo>
                  <a:lnTo>
                    <a:pt x="494" y="1035"/>
                  </a:lnTo>
                  <a:lnTo>
                    <a:pt x="492" y="1003"/>
                  </a:lnTo>
                  <a:lnTo>
                    <a:pt x="488" y="971"/>
                  </a:lnTo>
                  <a:lnTo>
                    <a:pt x="481" y="939"/>
                  </a:lnTo>
                  <a:lnTo>
                    <a:pt x="472" y="907"/>
                  </a:lnTo>
                  <a:lnTo>
                    <a:pt x="462" y="877"/>
                  </a:lnTo>
                  <a:lnTo>
                    <a:pt x="447" y="847"/>
                  </a:lnTo>
                  <a:lnTo>
                    <a:pt x="431" y="816"/>
                  </a:lnTo>
                  <a:lnTo>
                    <a:pt x="413" y="788"/>
                  </a:lnTo>
                  <a:lnTo>
                    <a:pt x="412" y="786"/>
                  </a:lnTo>
                  <a:lnTo>
                    <a:pt x="412" y="784"/>
                  </a:lnTo>
                  <a:lnTo>
                    <a:pt x="410" y="784"/>
                  </a:lnTo>
                  <a:lnTo>
                    <a:pt x="410" y="783"/>
                  </a:lnTo>
                  <a:lnTo>
                    <a:pt x="392" y="758"/>
                  </a:lnTo>
                  <a:lnTo>
                    <a:pt x="376" y="731"/>
                  </a:lnTo>
                  <a:lnTo>
                    <a:pt x="362" y="704"/>
                  </a:lnTo>
                  <a:lnTo>
                    <a:pt x="351" y="676"/>
                  </a:lnTo>
                  <a:lnTo>
                    <a:pt x="342" y="647"/>
                  </a:lnTo>
                  <a:lnTo>
                    <a:pt x="335" y="619"/>
                  </a:lnTo>
                  <a:lnTo>
                    <a:pt x="332" y="590"/>
                  </a:lnTo>
                  <a:lnTo>
                    <a:pt x="330" y="560"/>
                  </a:lnTo>
                  <a:lnTo>
                    <a:pt x="332" y="535"/>
                  </a:lnTo>
                  <a:lnTo>
                    <a:pt x="333" y="510"/>
                  </a:lnTo>
                  <a:lnTo>
                    <a:pt x="339" y="485"/>
                  </a:lnTo>
                  <a:lnTo>
                    <a:pt x="344" y="461"/>
                  </a:lnTo>
                  <a:lnTo>
                    <a:pt x="161" y="462"/>
                  </a:lnTo>
                  <a:lnTo>
                    <a:pt x="155" y="487"/>
                  </a:lnTo>
                  <a:lnTo>
                    <a:pt x="153" y="510"/>
                  </a:lnTo>
                  <a:lnTo>
                    <a:pt x="150" y="535"/>
                  </a:lnTo>
                  <a:lnTo>
                    <a:pt x="150" y="560"/>
                  </a:lnTo>
                  <a:lnTo>
                    <a:pt x="152" y="605"/>
                  </a:lnTo>
                  <a:lnTo>
                    <a:pt x="157" y="649"/>
                  </a:lnTo>
                  <a:lnTo>
                    <a:pt x="168" y="692"/>
                  </a:lnTo>
                  <a:lnTo>
                    <a:pt x="180" y="735"/>
                  </a:lnTo>
                  <a:lnTo>
                    <a:pt x="198" y="777"/>
                  </a:lnTo>
                  <a:lnTo>
                    <a:pt x="218" y="818"/>
                  </a:lnTo>
                  <a:lnTo>
                    <a:pt x="243" y="857"/>
                  </a:lnTo>
                  <a:lnTo>
                    <a:pt x="269" y="895"/>
                  </a:lnTo>
                  <a:lnTo>
                    <a:pt x="267" y="893"/>
                  </a:lnTo>
                  <a:lnTo>
                    <a:pt x="267" y="891"/>
                  </a:lnTo>
                  <a:lnTo>
                    <a:pt x="266" y="891"/>
                  </a:lnTo>
                  <a:lnTo>
                    <a:pt x="266" y="889"/>
                  </a:lnTo>
                  <a:lnTo>
                    <a:pt x="285" y="925"/>
                  </a:lnTo>
                  <a:lnTo>
                    <a:pt x="301" y="961"/>
                  </a:lnTo>
                  <a:lnTo>
                    <a:pt x="310" y="998"/>
                  </a:lnTo>
                  <a:lnTo>
                    <a:pt x="314" y="1035"/>
                  </a:lnTo>
                  <a:lnTo>
                    <a:pt x="308" y="1081"/>
                  </a:lnTo>
                  <a:lnTo>
                    <a:pt x="296" y="1126"/>
                  </a:lnTo>
                  <a:lnTo>
                    <a:pt x="275" y="1167"/>
                  </a:lnTo>
                  <a:lnTo>
                    <a:pt x="248" y="1202"/>
                  </a:lnTo>
                  <a:lnTo>
                    <a:pt x="212" y="1231"/>
                  </a:lnTo>
                  <a:lnTo>
                    <a:pt x="175" y="1256"/>
                  </a:lnTo>
                  <a:lnTo>
                    <a:pt x="130" y="1272"/>
                  </a:lnTo>
                  <a:lnTo>
                    <a:pt x="84" y="1279"/>
                  </a:lnTo>
                  <a:lnTo>
                    <a:pt x="72" y="1281"/>
                  </a:lnTo>
                  <a:lnTo>
                    <a:pt x="61" y="1284"/>
                  </a:lnTo>
                  <a:lnTo>
                    <a:pt x="50" y="1288"/>
                  </a:lnTo>
                  <a:lnTo>
                    <a:pt x="40" y="1295"/>
                  </a:lnTo>
                  <a:lnTo>
                    <a:pt x="31" y="1302"/>
                  </a:lnTo>
                  <a:lnTo>
                    <a:pt x="22" y="1311"/>
                  </a:lnTo>
                  <a:lnTo>
                    <a:pt x="15" y="1320"/>
                  </a:lnTo>
                  <a:lnTo>
                    <a:pt x="9" y="1331"/>
                  </a:lnTo>
                  <a:lnTo>
                    <a:pt x="2" y="1354"/>
                  </a:lnTo>
                  <a:lnTo>
                    <a:pt x="0" y="1379"/>
                  </a:lnTo>
                  <a:lnTo>
                    <a:pt x="6" y="1402"/>
                  </a:lnTo>
                  <a:lnTo>
                    <a:pt x="18" y="1421"/>
                  </a:lnTo>
                  <a:lnTo>
                    <a:pt x="38" y="1448"/>
                  </a:lnTo>
                  <a:lnTo>
                    <a:pt x="59" y="1471"/>
                  </a:lnTo>
                  <a:lnTo>
                    <a:pt x="82" y="1494"/>
                  </a:lnTo>
                  <a:lnTo>
                    <a:pt x="105" y="1516"/>
                  </a:lnTo>
                  <a:lnTo>
                    <a:pt x="130" y="1535"/>
                  </a:lnTo>
                  <a:lnTo>
                    <a:pt x="155" y="1555"/>
                  </a:lnTo>
                  <a:lnTo>
                    <a:pt x="182" y="1571"/>
                  </a:lnTo>
                  <a:lnTo>
                    <a:pt x="209" y="1585"/>
                  </a:lnTo>
                  <a:lnTo>
                    <a:pt x="237" y="1599"/>
                  </a:lnTo>
                  <a:lnTo>
                    <a:pt x="266" y="1612"/>
                  </a:lnTo>
                  <a:lnTo>
                    <a:pt x="296" y="1621"/>
                  </a:lnTo>
                  <a:lnTo>
                    <a:pt x="326" y="1629"/>
                  </a:lnTo>
                  <a:lnTo>
                    <a:pt x="356" y="1635"/>
                  </a:lnTo>
                  <a:lnTo>
                    <a:pt x="389" y="1640"/>
                  </a:lnTo>
                  <a:lnTo>
                    <a:pt x="421" y="1642"/>
                  </a:lnTo>
                  <a:lnTo>
                    <a:pt x="453" y="1644"/>
                  </a:lnTo>
                  <a:lnTo>
                    <a:pt x="456" y="1644"/>
                  </a:lnTo>
                  <a:lnTo>
                    <a:pt x="462" y="1644"/>
                  </a:lnTo>
                  <a:lnTo>
                    <a:pt x="465" y="1644"/>
                  </a:lnTo>
                  <a:lnTo>
                    <a:pt x="470" y="1642"/>
                  </a:lnTo>
                  <a:lnTo>
                    <a:pt x="470" y="1985"/>
                  </a:lnTo>
                  <a:lnTo>
                    <a:pt x="919" y="1985"/>
                  </a:lnTo>
                  <a:lnTo>
                    <a:pt x="937" y="1806"/>
                  </a:lnTo>
                  <a:lnTo>
                    <a:pt x="649" y="1806"/>
                  </a:lnTo>
                  <a:lnTo>
                    <a:pt x="649" y="1606"/>
                  </a:lnTo>
                  <a:lnTo>
                    <a:pt x="673" y="1596"/>
                  </a:lnTo>
                  <a:lnTo>
                    <a:pt x="698" y="1583"/>
                  </a:lnTo>
                  <a:lnTo>
                    <a:pt x="722" y="1571"/>
                  </a:lnTo>
                  <a:lnTo>
                    <a:pt x="746" y="1556"/>
                  </a:lnTo>
                  <a:lnTo>
                    <a:pt x="768" y="1540"/>
                  </a:lnTo>
                  <a:lnTo>
                    <a:pt x="791" y="1523"/>
                  </a:lnTo>
                  <a:lnTo>
                    <a:pt x="812" y="1505"/>
                  </a:lnTo>
                  <a:lnTo>
                    <a:pt x="832" y="1485"/>
                  </a:lnTo>
                  <a:lnTo>
                    <a:pt x="869" y="1444"/>
                  </a:lnTo>
                  <a:lnTo>
                    <a:pt x="901" y="1400"/>
                  </a:lnTo>
                  <a:lnTo>
                    <a:pt x="930" y="1354"/>
                  </a:lnTo>
                  <a:lnTo>
                    <a:pt x="953" y="1306"/>
                  </a:lnTo>
                  <a:lnTo>
                    <a:pt x="971" y="1256"/>
                  </a:lnTo>
                  <a:lnTo>
                    <a:pt x="983" y="1202"/>
                  </a:lnTo>
                  <a:lnTo>
                    <a:pt x="992" y="1149"/>
                  </a:lnTo>
                  <a:lnTo>
                    <a:pt x="994" y="1094"/>
                  </a:lnTo>
                  <a:lnTo>
                    <a:pt x="992" y="1044"/>
                  </a:lnTo>
                  <a:lnTo>
                    <a:pt x="985" y="994"/>
                  </a:lnTo>
                  <a:lnTo>
                    <a:pt x="974" y="946"/>
                  </a:lnTo>
                  <a:lnTo>
                    <a:pt x="958" y="898"/>
                  </a:lnTo>
                  <a:lnTo>
                    <a:pt x="964" y="898"/>
                  </a:lnTo>
                  <a:lnTo>
                    <a:pt x="969" y="896"/>
                  </a:lnTo>
                  <a:lnTo>
                    <a:pt x="974" y="896"/>
                  </a:lnTo>
                  <a:lnTo>
                    <a:pt x="978" y="896"/>
                  </a:lnTo>
                  <a:lnTo>
                    <a:pt x="990" y="916"/>
                  </a:lnTo>
                  <a:lnTo>
                    <a:pt x="1005" y="936"/>
                  </a:lnTo>
                  <a:lnTo>
                    <a:pt x="1021" y="953"/>
                  </a:lnTo>
                  <a:lnTo>
                    <a:pt x="1038" y="971"/>
                  </a:lnTo>
                  <a:lnTo>
                    <a:pt x="1056" y="987"/>
                  </a:lnTo>
                  <a:lnTo>
                    <a:pt x="1078" y="1000"/>
                  </a:lnTo>
                  <a:lnTo>
                    <a:pt x="1099" y="1012"/>
                  </a:lnTo>
                  <a:lnTo>
                    <a:pt x="1120" y="1023"/>
                  </a:lnTo>
                  <a:lnTo>
                    <a:pt x="1133" y="1028"/>
                  </a:lnTo>
                  <a:lnTo>
                    <a:pt x="1525" y="1133"/>
                  </a:lnTo>
                  <a:lnTo>
                    <a:pt x="1530" y="1151"/>
                  </a:lnTo>
                  <a:lnTo>
                    <a:pt x="1537" y="1167"/>
                  </a:lnTo>
                  <a:lnTo>
                    <a:pt x="1542" y="1183"/>
                  </a:lnTo>
                  <a:lnTo>
                    <a:pt x="1550" y="1197"/>
                  </a:lnTo>
                  <a:lnTo>
                    <a:pt x="1557" y="1213"/>
                  </a:lnTo>
                  <a:lnTo>
                    <a:pt x="1564" y="1227"/>
                  </a:lnTo>
                  <a:lnTo>
                    <a:pt x="1571" y="1242"/>
                  </a:lnTo>
                  <a:lnTo>
                    <a:pt x="1578" y="1256"/>
                  </a:lnTo>
                  <a:lnTo>
                    <a:pt x="1391" y="1256"/>
                  </a:lnTo>
                  <a:lnTo>
                    <a:pt x="1391" y="1494"/>
                  </a:lnTo>
                  <a:lnTo>
                    <a:pt x="1354" y="1487"/>
                  </a:lnTo>
                  <a:lnTo>
                    <a:pt x="1316" y="1476"/>
                  </a:lnTo>
                  <a:lnTo>
                    <a:pt x="1282" y="1460"/>
                  </a:lnTo>
                  <a:lnTo>
                    <a:pt x="1250" y="1441"/>
                  </a:lnTo>
                  <a:lnTo>
                    <a:pt x="1220" y="1416"/>
                  </a:lnTo>
                  <a:lnTo>
                    <a:pt x="1193" y="1389"/>
                  </a:lnTo>
                  <a:lnTo>
                    <a:pt x="1170" y="1357"/>
                  </a:lnTo>
                  <a:lnTo>
                    <a:pt x="1151" y="1323"/>
                  </a:lnTo>
                  <a:lnTo>
                    <a:pt x="1142" y="1307"/>
                  </a:lnTo>
                  <a:lnTo>
                    <a:pt x="1129" y="1295"/>
                  </a:lnTo>
                  <a:lnTo>
                    <a:pt x="1115" y="1286"/>
                  </a:lnTo>
                  <a:lnTo>
                    <a:pt x="1099" y="1279"/>
                  </a:lnTo>
                  <a:lnTo>
                    <a:pt x="1083" y="1274"/>
                  </a:lnTo>
                  <a:lnTo>
                    <a:pt x="1065" y="1274"/>
                  </a:lnTo>
                  <a:lnTo>
                    <a:pt x="1049" y="1277"/>
                  </a:lnTo>
                  <a:lnTo>
                    <a:pt x="1031" y="1283"/>
                  </a:lnTo>
                  <a:lnTo>
                    <a:pt x="1015" y="1293"/>
                  </a:lnTo>
                  <a:lnTo>
                    <a:pt x="1003" y="1306"/>
                  </a:lnTo>
                  <a:lnTo>
                    <a:pt x="994" y="1320"/>
                  </a:lnTo>
                  <a:lnTo>
                    <a:pt x="987" y="1334"/>
                  </a:lnTo>
                  <a:lnTo>
                    <a:pt x="981" y="1352"/>
                  </a:lnTo>
                  <a:lnTo>
                    <a:pt x="981" y="1370"/>
                  </a:lnTo>
                  <a:lnTo>
                    <a:pt x="985" y="1386"/>
                  </a:lnTo>
                  <a:lnTo>
                    <a:pt x="990" y="1403"/>
                  </a:lnTo>
                  <a:lnTo>
                    <a:pt x="1006" y="1432"/>
                  </a:lnTo>
                  <a:lnTo>
                    <a:pt x="1022" y="1460"/>
                  </a:lnTo>
                  <a:lnTo>
                    <a:pt x="1040" y="1485"/>
                  </a:lnTo>
                  <a:lnTo>
                    <a:pt x="1062" y="1510"/>
                  </a:lnTo>
                  <a:lnTo>
                    <a:pt x="1083" y="1533"/>
                  </a:lnTo>
                  <a:lnTo>
                    <a:pt x="1106" y="1555"/>
                  </a:lnTo>
                  <a:lnTo>
                    <a:pt x="1129" y="1574"/>
                  </a:lnTo>
                  <a:lnTo>
                    <a:pt x="1154" y="1592"/>
                  </a:lnTo>
                  <a:lnTo>
                    <a:pt x="1181" y="1610"/>
                  </a:lnTo>
                  <a:lnTo>
                    <a:pt x="1209" y="1624"/>
                  </a:lnTo>
                  <a:lnTo>
                    <a:pt x="1236" y="1637"/>
                  </a:lnTo>
                  <a:lnTo>
                    <a:pt x="1266" y="1649"/>
                  </a:lnTo>
                  <a:lnTo>
                    <a:pt x="1297" y="1658"/>
                  </a:lnTo>
                  <a:lnTo>
                    <a:pt x="1327" y="1665"/>
                  </a:lnTo>
                  <a:lnTo>
                    <a:pt x="1359" y="1670"/>
                  </a:lnTo>
                  <a:lnTo>
                    <a:pt x="1391" y="1674"/>
                  </a:lnTo>
                  <a:lnTo>
                    <a:pt x="1391" y="1806"/>
                  </a:lnTo>
                  <a:lnTo>
                    <a:pt x="994" y="1806"/>
                  </a:lnTo>
                  <a:lnTo>
                    <a:pt x="1003" y="1846"/>
                  </a:lnTo>
                  <a:lnTo>
                    <a:pt x="1012" y="1891"/>
                  </a:lnTo>
                  <a:lnTo>
                    <a:pt x="1021" y="1937"/>
                  </a:lnTo>
                  <a:lnTo>
                    <a:pt x="1030" y="1983"/>
                  </a:lnTo>
                  <a:lnTo>
                    <a:pt x="1569" y="1983"/>
                  </a:lnTo>
                  <a:lnTo>
                    <a:pt x="1569" y="1436"/>
                  </a:lnTo>
                  <a:lnTo>
                    <a:pt x="1847" y="1436"/>
                  </a:lnTo>
                  <a:lnTo>
                    <a:pt x="1847" y="1304"/>
                  </a:lnTo>
                  <a:lnTo>
                    <a:pt x="1815" y="1277"/>
                  </a:lnTo>
                  <a:close/>
                </a:path>
              </a:pathLst>
            </a:custGeom>
            <a:solidFill>
              <a:srgbClr val="000000"/>
            </a:solidFill>
            <a:ln w="9525">
              <a:noFill/>
              <a:round/>
              <a:headEnd/>
              <a:tailEnd/>
            </a:ln>
          </p:spPr>
          <p:txBody>
            <a:bodyPr/>
            <a:lstStyle/>
            <a:p>
              <a:endParaRPr lang="en-GB"/>
            </a:p>
          </p:txBody>
        </p:sp>
        <p:sp>
          <p:nvSpPr>
            <p:cNvPr id="161818" name="Freeform 52"/>
            <p:cNvSpPr>
              <a:spLocks/>
            </p:cNvSpPr>
            <p:nvPr/>
          </p:nvSpPr>
          <p:spPr bwMode="auto">
            <a:xfrm flipH="1">
              <a:off x="1959" y="2285"/>
              <a:ext cx="55" cy="90"/>
            </a:xfrm>
            <a:custGeom>
              <a:avLst/>
              <a:gdLst>
                <a:gd name="T0" fmla="*/ 1 w 111"/>
                <a:gd name="T1" fmla="*/ 0 h 179"/>
                <a:gd name="T2" fmla="*/ 0 w 111"/>
                <a:gd name="T3" fmla="*/ 12 h 179"/>
                <a:gd name="T4" fmla="*/ 6 w 111"/>
                <a:gd name="T5" fmla="*/ 12 h 179"/>
                <a:gd name="T6" fmla="*/ 6 w 111"/>
                <a:gd name="T7" fmla="*/ 9 h 179"/>
                <a:gd name="T8" fmla="*/ 5 w 111"/>
                <a:gd name="T9" fmla="*/ 6 h 179"/>
                <a:gd name="T10" fmla="*/ 5 w 111"/>
                <a:gd name="T11" fmla="*/ 3 h 179"/>
                <a:gd name="T12" fmla="*/ 4 w 111"/>
                <a:gd name="T13" fmla="*/ 0 h 179"/>
                <a:gd name="T14" fmla="*/ 1 w 111"/>
                <a:gd name="T15" fmla="*/ 0 h 179"/>
                <a:gd name="T16" fmla="*/ 0 60000 65536"/>
                <a:gd name="T17" fmla="*/ 0 60000 65536"/>
                <a:gd name="T18" fmla="*/ 0 60000 65536"/>
                <a:gd name="T19" fmla="*/ 0 60000 65536"/>
                <a:gd name="T20" fmla="*/ 0 60000 65536"/>
                <a:gd name="T21" fmla="*/ 0 60000 65536"/>
                <a:gd name="T22" fmla="*/ 0 60000 65536"/>
                <a:gd name="T23" fmla="*/ 0 60000 65536"/>
                <a:gd name="T24" fmla="*/ 0 w 111"/>
                <a:gd name="T25" fmla="*/ 0 h 179"/>
                <a:gd name="T26" fmla="*/ 111 w 111"/>
                <a:gd name="T27" fmla="*/ 179 h 1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1" h="179">
                  <a:moveTo>
                    <a:pt x="18" y="0"/>
                  </a:moveTo>
                  <a:lnTo>
                    <a:pt x="0" y="179"/>
                  </a:lnTo>
                  <a:lnTo>
                    <a:pt x="111" y="177"/>
                  </a:lnTo>
                  <a:lnTo>
                    <a:pt x="102" y="131"/>
                  </a:lnTo>
                  <a:lnTo>
                    <a:pt x="93" y="85"/>
                  </a:lnTo>
                  <a:lnTo>
                    <a:pt x="84" y="40"/>
                  </a:lnTo>
                  <a:lnTo>
                    <a:pt x="75" y="0"/>
                  </a:lnTo>
                  <a:lnTo>
                    <a:pt x="18" y="0"/>
                  </a:lnTo>
                  <a:close/>
                </a:path>
              </a:pathLst>
            </a:custGeom>
            <a:solidFill>
              <a:srgbClr val="000000"/>
            </a:solidFill>
            <a:ln w="9525">
              <a:noFill/>
              <a:round/>
              <a:headEnd/>
              <a:tailEnd/>
            </a:ln>
          </p:spPr>
          <p:txBody>
            <a:bodyPr/>
            <a:lstStyle/>
            <a:p>
              <a:endParaRPr lang="en-GB"/>
            </a:p>
          </p:txBody>
        </p:sp>
        <p:sp>
          <p:nvSpPr>
            <p:cNvPr id="161819" name="Freeform 53"/>
            <p:cNvSpPr>
              <a:spLocks/>
            </p:cNvSpPr>
            <p:nvPr/>
          </p:nvSpPr>
          <p:spPr bwMode="auto">
            <a:xfrm flipH="1">
              <a:off x="1577" y="1736"/>
              <a:ext cx="48" cy="48"/>
            </a:xfrm>
            <a:custGeom>
              <a:avLst/>
              <a:gdLst>
                <a:gd name="T0" fmla="*/ 3 w 96"/>
                <a:gd name="T1" fmla="*/ 6 h 96"/>
                <a:gd name="T2" fmla="*/ 2 w 96"/>
                <a:gd name="T3" fmla="*/ 6 h 96"/>
                <a:gd name="T4" fmla="*/ 1 w 96"/>
                <a:gd name="T5" fmla="*/ 6 h 96"/>
                <a:gd name="T6" fmla="*/ 1 w 96"/>
                <a:gd name="T7" fmla="*/ 5 h 96"/>
                <a:gd name="T8" fmla="*/ 0 w 96"/>
                <a:gd name="T9" fmla="*/ 3 h 96"/>
                <a:gd name="T10" fmla="*/ 1 w 96"/>
                <a:gd name="T11" fmla="*/ 2 h 96"/>
                <a:gd name="T12" fmla="*/ 1 w 96"/>
                <a:gd name="T13" fmla="*/ 1 h 96"/>
                <a:gd name="T14" fmla="*/ 2 w 96"/>
                <a:gd name="T15" fmla="*/ 1 h 96"/>
                <a:gd name="T16" fmla="*/ 3 w 96"/>
                <a:gd name="T17" fmla="*/ 0 h 96"/>
                <a:gd name="T18" fmla="*/ 5 w 96"/>
                <a:gd name="T19" fmla="*/ 1 h 96"/>
                <a:gd name="T20" fmla="*/ 6 w 96"/>
                <a:gd name="T21" fmla="*/ 1 h 96"/>
                <a:gd name="T22" fmla="*/ 6 w 96"/>
                <a:gd name="T23" fmla="*/ 2 h 96"/>
                <a:gd name="T24" fmla="*/ 6 w 96"/>
                <a:gd name="T25" fmla="*/ 3 h 96"/>
                <a:gd name="T26" fmla="*/ 6 w 96"/>
                <a:gd name="T27" fmla="*/ 5 h 96"/>
                <a:gd name="T28" fmla="*/ 6 w 96"/>
                <a:gd name="T29" fmla="*/ 6 h 96"/>
                <a:gd name="T30" fmla="*/ 5 w 96"/>
                <a:gd name="T31" fmla="*/ 6 h 96"/>
                <a:gd name="T32" fmla="*/ 3 w 96"/>
                <a:gd name="T33" fmla="*/ 6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6"/>
                <a:gd name="T52" fmla="*/ 0 h 96"/>
                <a:gd name="T53" fmla="*/ 96 w 96"/>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6" h="96">
                  <a:moveTo>
                    <a:pt x="48" y="96"/>
                  </a:moveTo>
                  <a:lnTo>
                    <a:pt x="29" y="93"/>
                  </a:lnTo>
                  <a:lnTo>
                    <a:pt x="15" y="82"/>
                  </a:lnTo>
                  <a:lnTo>
                    <a:pt x="4" y="68"/>
                  </a:lnTo>
                  <a:lnTo>
                    <a:pt x="0" y="48"/>
                  </a:lnTo>
                  <a:lnTo>
                    <a:pt x="4" y="29"/>
                  </a:lnTo>
                  <a:lnTo>
                    <a:pt x="15" y="14"/>
                  </a:lnTo>
                  <a:lnTo>
                    <a:pt x="29" y="4"/>
                  </a:lnTo>
                  <a:lnTo>
                    <a:pt x="48" y="0"/>
                  </a:lnTo>
                  <a:lnTo>
                    <a:pt x="66" y="4"/>
                  </a:lnTo>
                  <a:lnTo>
                    <a:pt x="82" y="14"/>
                  </a:lnTo>
                  <a:lnTo>
                    <a:pt x="93" y="29"/>
                  </a:lnTo>
                  <a:lnTo>
                    <a:pt x="96" y="48"/>
                  </a:lnTo>
                  <a:lnTo>
                    <a:pt x="93" y="68"/>
                  </a:lnTo>
                  <a:lnTo>
                    <a:pt x="82" y="82"/>
                  </a:lnTo>
                  <a:lnTo>
                    <a:pt x="66" y="93"/>
                  </a:lnTo>
                  <a:lnTo>
                    <a:pt x="48" y="96"/>
                  </a:lnTo>
                  <a:close/>
                </a:path>
              </a:pathLst>
            </a:custGeom>
            <a:solidFill>
              <a:srgbClr val="000000"/>
            </a:solidFill>
            <a:ln w="9525">
              <a:noFill/>
              <a:round/>
              <a:headEnd/>
              <a:tailEnd/>
            </a:ln>
          </p:spPr>
          <p:txBody>
            <a:bodyPr/>
            <a:lstStyle/>
            <a:p>
              <a:endParaRPr lang="en-GB"/>
            </a:p>
          </p:txBody>
        </p:sp>
        <p:sp>
          <p:nvSpPr>
            <p:cNvPr id="161820" name="Freeform 54"/>
            <p:cNvSpPr>
              <a:spLocks/>
            </p:cNvSpPr>
            <p:nvPr/>
          </p:nvSpPr>
          <p:spPr bwMode="auto">
            <a:xfrm flipH="1">
              <a:off x="1237" y="1735"/>
              <a:ext cx="48" cy="48"/>
            </a:xfrm>
            <a:custGeom>
              <a:avLst/>
              <a:gdLst>
                <a:gd name="T0" fmla="*/ 3 w 96"/>
                <a:gd name="T1" fmla="*/ 6 h 96"/>
                <a:gd name="T2" fmla="*/ 2 w 96"/>
                <a:gd name="T3" fmla="*/ 6 h 96"/>
                <a:gd name="T4" fmla="*/ 1 w 96"/>
                <a:gd name="T5" fmla="*/ 6 h 96"/>
                <a:gd name="T6" fmla="*/ 1 w 96"/>
                <a:gd name="T7" fmla="*/ 5 h 96"/>
                <a:gd name="T8" fmla="*/ 0 w 96"/>
                <a:gd name="T9" fmla="*/ 3 h 96"/>
                <a:gd name="T10" fmla="*/ 1 w 96"/>
                <a:gd name="T11" fmla="*/ 2 h 96"/>
                <a:gd name="T12" fmla="*/ 1 w 96"/>
                <a:gd name="T13" fmla="*/ 1 h 96"/>
                <a:gd name="T14" fmla="*/ 2 w 96"/>
                <a:gd name="T15" fmla="*/ 1 h 96"/>
                <a:gd name="T16" fmla="*/ 3 w 96"/>
                <a:gd name="T17" fmla="*/ 0 h 96"/>
                <a:gd name="T18" fmla="*/ 5 w 96"/>
                <a:gd name="T19" fmla="*/ 1 h 96"/>
                <a:gd name="T20" fmla="*/ 6 w 96"/>
                <a:gd name="T21" fmla="*/ 1 h 96"/>
                <a:gd name="T22" fmla="*/ 6 w 96"/>
                <a:gd name="T23" fmla="*/ 2 h 96"/>
                <a:gd name="T24" fmla="*/ 6 w 96"/>
                <a:gd name="T25" fmla="*/ 3 h 96"/>
                <a:gd name="T26" fmla="*/ 6 w 96"/>
                <a:gd name="T27" fmla="*/ 5 h 96"/>
                <a:gd name="T28" fmla="*/ 6 w 96"/>
                <a:gd name="T29" fmla="*/ 6 h 96"/>
                <a:gd name="T30" fmla="*/ 5 w 96"/>
                <a:gd name="T31" fmla="*/ 6 h 96"/>
                <a:gd name="T32" fmla="*/ 3 w 96"/>
                <a:gd name="T33" fmla="*/ 6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6"/>
                <a:gd name="T52" fmla="*/ 0 h 96"/>
                <a:gd name="T53" fmla="*/ 96 w 96"/>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6" h="96">
                  <a:moveTo>
                    <a:pt x="48" y="96"/>
                  </a:moveTo>
                  <a:lnTo>
                    <a:pt x="28" y="93"/>
                  </a:lnTo>
                  <a:lnTo>
                    <a:pt x="14" y="82"/>
                  </a:lnTo>
                  <a:lnTo>
                    <a:pt x="3" y="68"/>
                  </a:lnTo>
                  <a:lnTo>
                    <a:pt x="0" y="48"/>
                  </a:lnTo>
                  <a:lnTo>
                    <a:pt x="3" y="29"/>
                  </a:lnTo>
                  <a:lnTo>
                    <a:pt x="14" y="15"/>
                  </a:lnTo>
                  <a:lnTo>
                    <a:pt x="28" y="4"/>
                  </a:lnTo>
                  <a:lnTo>
                    <a:pt x="48" y="0"/>
                  </a:lnTo>
                  <a:lnTo>
                    <a:pt x="67" y="4"/>
                  </a:lnTo>
                  <a:lnTo>
                    <a:pt x="81" y="15"/>
                  </a:lnTo>
                  <a:lnTo>
                    <a:pt x="92" y="29"/>
                  </a:lnTo>
                  <a:lnTo>
                    <a:pt x="96" y="48"/>
                  </a:lnTo>
                  <a:lnTo>
                    <a:pt x="92" y="68"/>
                  </a:lnTo>
                  <a:lnTo>
                    <a:pt x="81" y="82"/>
                  </a:lnTo>
                  <a:lnTo>
                    <a:pt x="67" y="93"/>
                  </a:lnTo>
                  <a:lnTo>
                    <a:pt x="48" y="96"/>
                  </a:lnTo>
                  <a:close/>
                </a:path>
              </a:pathLst>
            </a:custGeom>
            <a:solidFill>
              <a:srgbClr val="000000"/>
            </a:solidFill>
            <a:ln w="9525">
              <a:noFill/>
              <a:round/>
              <a:headEnd/>
              <a:tailEnd/>
            </a:ln>
          </p:spPr>
          <p:txBody>
            <a:bodyPr/>
            <a:lstStyle/>
            <a:p>
              <a:endParaRPr lang="en-GB"/>
            </a:p>
          </p:txBody>
        </p:sp>
        <p:sp>
          <p:nvSpPr>
            <p:cNvPr id="161821" name="Rectangle 55"/>
            <p:cNvSpPr>
              <a:spLocks noChangeArrowheads="1"/>
            </p:cNvSpPr>
            <p:nvPr/>
          </p:nvSpPr>
          <p:spPr bwMode="auto">
            <a:xfrm>
              <a:off x="1779" y="2013"/>
              <a:ext cx="208" cy="248"/>
            </a:xfrm>
            <a:prstGeom prst="rect">
              <a:avLst/>
            </a:prstGeom>
            <a:solidFill>
              <a:srgbClr val="FF0000"/>
            </a:solidFill>
            <a:ln w="9525" algn="ctr">
              <a:noFill/>
              <a:miter lim="800000"/>
              <a:headEnd/>
              <a:tailEnd/>
            </a:ln>
          </p:spPr>
          <p:txBody>
            <a:bodyPr anchor="ctr">
              <a:spAutoFit/>
            </a:bodyPr>
            <a:lstStyle/>
            <a:p>
              <a:endParaRPr lang="en-US"/>
            </a:p>
          </p:txBody>
        </p:sp>
        <p:sp>
          <p:nvSpPr>
            <p:cNvPr id="161822" name="Freeform 56"/>
            <p:cNvSpPr>
              <a:spLocks/>
            </p:cNvSpPr>
            <p:nvPr/>
          </p:nvSpPr>
          <p:spPr bwMode="auto">
            <a:xfrm>
              <a:off x="1746" y="2070"/>
              <a:ext cx="238" cy="151"/>
            </a:xfrm>
            <a:custGeom>
              <a:avLst/>
              <a:gdLst>
                <a:gd name="T0" fmla="*/ 0 w 238"/>
                <a:gd name="T1" fmla="*/ 25 h 209"/>
                <a:gd name="T2" fmla="*/ 54 w 238"/>
                <a:gd name="T3" fmla="*/ 29 h 209"/>
                <a:gd name="T4" fmla="*/ 92 w 238"/>
                <a:gd name="T5" fmla="*/ 32 h 209"/>
                <a:gd name="T6" fmla="*/ 120 w 238"/>
                <a:gd name="T7" fmla="*/ 38 h 209"/>
                <a:gd name="T8" fmla="*/ 137 w 238"/>
                <a:gd name="T9" fmla="*/ 44 h 209"/>
                <a:gd name="T10" fmla="*/ 162 w 238"/>
                <a:gd name="T11" fmla="*/ 53 h 209"/>
                <a:gd name="T12" fmla="*/ 182 w 238"/>
                <a:gd name="T13" fmla="*/ 56 h 209"/>
                <a:gd name="T14" fmla="*/ 220 w 238"/>
                <a:gd name="T15" fmla="*/ 55 h 209"/>
                <a:gd name="T16" fmla="*/ 237 w 238"/>
                <a:gd name="T17" fmla="*/ 46 h 209"/>
                <a:gd name="T18" fmla="*/ 226 w 238"/>
                <a:gd name="T19" fmla="*/ 36 h 209"/>
                <a:gd name="T20" fmla="*/ 202 w 238"/>
                <a:gd name="T21" fmla="*/ 27 h 209"/>
                <a:gd name="T22" fmla="*/ 171 w 238"/>
                <a:gd name="T23" fmla="*/ 18 h 209"/>
                <a:gd name="T24" fmla="*/ 124 w 238"/>
                <a:gd name="T25" fmla="*/ 11 h 209"/>
                <a:gd name="T26" fmla="*/ 72 w 238"/>
                <a:gd name="T27" fmla="*/ 5 h 209"/>
                <a:gd name="T28" fmla="*/ 6 w 238"/>
                <a:gd name="T29" fmla="*/ 4 h 209"/>
                <a:gd name="T30" fmla="*/ 0 w 238"/>
                <a:gd name="T31" fmla="*/ 25 h 20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38"/>
                <a:gd name="T49" fmla="*/ 0 h 209"/>
                <a:gd name="T50" fmla="*/ 238 w 238"/>
                <a:gd name="T51" fmla="*/ 209 h 20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38" h="209">
                  <a:moveTo>
                    <a:pt x="0" y="94"/>
                  </a:moveTo>
                  <a:cubicBezTo>
                    <a:pt x="8" y="109"/>
                    <a:pt x="39" y="101"/>
                    <a:pt x="54" y="105"/>
                  </a:cubicBezTo>
                  <a:cubicBezTo>
                    <a:pt x="69" y="109"/>
                    <a:pt x="82" y="111"/>
                    <a:pt x="92" y="117"/>
                  </a:cubicBezTo>
                  <a:cubicBezTo>
                    <a:pt x="102" y="123"/>
                    <a:pt x="113" y="131"/>
                    <a:pt x="120" y="138"/>
                  </a:cubicBezTo>
                  <a:cubicBezTo>
                    <a:pt x="127" y="145"/>
                    <a:pt x="130" y="152"/>
                    <a:pt x="137" y="162"/>
                  </a:cubicBezTo>
                  <a:cubicBezTo>
                    <a:pt x="144" y="172"/>
                    <a:pt x="162" y="196"/>
                    <a:pt x="162" y="196"/>
                  </a:cubicBezTo>
                  <a:cubicBezTo>
                    <a:pt x="162" y="196"/>
                    <a:pt x="172" y="207"/>
                    <a:pt x="182" y="208"/>
                  </a:cubicBezTo>
                  <a:cubicBezTo>
                    <a:pt x="192" y="209"/>
                    <a:pt x="211" y="209"/>
                    <a:pt x="220" y="202"/>
                  </a:cubicBezTo>
                  <a:cubicBezTo>
                    <a:pt x="229" y="195"/>
                    <a:pt x="236" y="177"/>
                    <a:pt x="237" y="166"/>
                  </a:cubicBezTo>
                  <a:cubicBezTo>
                    <a:pt x="238" y="155"/>
                    <a:pt x="232" y="144"/>
                    <a:pt x="226" y="133"/>
                  </a:cubicBezTo>
                  <a:cubicBezTo>
                    <a:pt x="220" y="122"/>
                    <a:pt x="211" y="108"/>
                    <a:pt x="202" y="97"/>
                  </a:cubicBezTo>
                  <a:cubicBezTo>
                    <a:pt x="193" y="86"/>
                    <a:pt x="184" y="75"/>
                    <a:pt x="171" y="66"/>
                  </a:cubicBezTo>
                  <a:cubicBezTo>
                    <a:pt x="158" y="57"/>
                    <a:pt x="140" y="48"/>
                    <a:pt x="124" y="40"/>
                  </a:cubicBezTo>
                  <a:cubicBezTo>
                    <a:pt x="108" y="32"/>
                    <a:pt x="92" y="20"/>
                    <a:pt x="72" y="16"/>
                  </a:cubicBezTo>
                  <a:cubicBezTo>
                    <a:pt x="52" y="12"/>
                    <a:pt x="18" y="0"/>
                    <a:pt x="6" y="13"/>
                  </a:cubicBezTo>
                  <a:lnTo>
                    <a:pt x="0" y="94"/>
                  </a:lnTo>
                  <a:close/>
                </a:path>
              </a:pathLst>
            </a:custGeom>
            <a:solidFill>
              <a:srgbClr val="080808"/>
            </a:solidFill>
            <a:ln w="9525" cap="flat" cmpd="sng">
              <a:solidFill>
                <a:srgbClr val="080808"/>
              </a:solidFill>
              <a:prstDash val="solid"/>
              <a:round/>
              <a:headEnd/>
              <a:tailEnd/>
            </a:ln>
          </p:spPr>
          <p:txBody>
            <a:bodyPr anchor="ctr">
              <a:spAutoFit/>
            </a:bodyPr>
            <a:lstStyle/>
            <a:p>
              <a:endParaRPr lang="en-GB"/>
            </a:p>
          </p:txBody>
        </p:sp>
      </p:grpSp>
    </p:spTree>
    <p:extLst>
      <p:ext uri="{BB962C8B-B14F-4D97-AF65-F5344CB8AC3E}">
        <p14:creationId xmlns:p14="http://schemas.microsoft.com/office/powerpoint/2010/main" val="3211258679"/>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24"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Daily routine to review performance on the visual management board…</a:t>
            </a:r>
          </a:p>
        </p:txBody>
      </p:sp>
      <p:sp>
        <p:nvSpPr>
          <p:cNvPr id="9" name="Slide Number Placeholder 4"/>
          <p:cNvSpPr>
            <a:spLocks noGrp="1"/>
          </p:cNvSpPr>
          <p:nvPr>
            <p:ph type="sldNum" sz="quarter" idx="11"/>
          </p:nvPr>
        </p:nvSpPr>
        <p:spPr>
          <a:noFill/>
        </p:spPr>
        <p:txBody>
          <a:bodyPr/>
          <a:lstStyle/>
          <a:p>
            <a:fld id="{8378419C-AF56-455E-844A-2F42E2AED845}" type="slidenum">
              <a:rPr lang="en-GB" altLang="en-GB"/>
              <a:pPr/>
              <a:t>47</a:t>
            </a:fld>
            <a:endParaRPr lang="en-GB" altLang="en-GB"/>
          </a:p>
        </p:txBody>
      </p:sp>
      <p:pic>
        <p:nvPicPr>
          <p:cNvPr id="8" name="Picture 3" descr="GAP_000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1950" y="3686888"/>
            <a:ext cx="3569970" cy="2673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IMG_0389"/>
          <p:cNvPicPr>
            <a:picLocks noChangeAspect="1" noChangeArrowheads="1"/>
          </p:cNvPicPr>
          <p:nvPr/>
        </p:nvPicPr>
        <p:blipFill>
          <a:blip r:embed="rId3" cstate="print">
            <a:lum bright="18000" contrast="6000"/>
            <a:extLst>
              <a:ext uri="{28A0092B-C50C-407E-A947-70E740481C1C}">
                <a14:useLocalDpi xmlns:a14="http://schemas.microsoft.com/office/drawing/2010/main" val="0"/>
              </a:ext>
            </a:extLst>
          </a:blip>
          <a:srcRect/>
          <a:stretch>
            <a:fillRect/>
          </a:stretch>
        </p:blipFill>
        <p:spPr>
          <a:xfrm>
            <a:off x="373544" y="1273307"/>
            <a:ext cx="3569971" cy="2146867"/>
          </a:xfrm>
          <a:prstGeom prst="rect">
            <a:avLst/>
          </a:prstGeom>
          <a:noFill/>
        </p:spPr>
      </p:pic>
      <p:sp>
        <p:nvSpPr>
          <p:cNvPr id="11" name="Rectangle 10"/>
          <p:cNvSpPr/>
          <p:nvPr/>
        </p:nvSpPr>
        <p:spPr>
          <a:xfrm>
            <a:off x="373546" y="1026159"/>
            <a:ext cx="2592000" cy="197727"/>
          </a:xfrm>
          <a:prstGeom prst="rect">
            <a:avLst/>
          </a:prstGeom>
        </p:spPr>
        <p:txBody>
          <a:bodyPr wrap="square" anchor="t" anchorCtr="0">
            <a:noAutofit/>
          </a:bodyPr>
          <a:lstStyle/>
          <a:p>
            <a:r>
              <a:rPr lang="en-GB" sz="1050" b="1" dirty="0" smtClean="0">
                <a:solidFill>
                  <a:schemeClr val="tx2"/>
                </a:solidFill>
              </a:rPr>
              <a:t>Develop and track process KPI</a:t>
            </a:r>
            <a:endParaRPr lang="en-US" sz="1050" b="1" dirty="0"/>
          </a:p>
        </p:txBody>
      </p:sp>
      <p:sp>
        <p:nvSpPr>
          <p:cNvPr id="12" name="Rectangle 11"/>
          <p:cNvSpPr/>
          <p:nvPr/>
        </p:nvSpPr>
        <p:spPr>
          <a:xfrm>
            <a:off x="373546" y="3429920"/>
            <a:ext cx="2592000" cy="233949"/>
          </a:xfrm>
          <a:prstGeom prst="rect">
            <a:avLst/>
          </a:prstGeom>
        </p:spPr>
        <p:txBody>
          <a:bodyPr wrap="square" anchor="t" anchorCtr="0">
            <a:noAutofit/>
          </a:bodyPr>
          <a:lstStyle/>
          <a:p>
            <a:r>
              <a:rPr lang="en-GB" sz="1050" b="1" dirty="0" smtClean="0">
                <a:solidFill>
                  <a:schemeClr val="tx2"/>
                </a:solidFill>
              </a:rPr>
              <a:t>Daily team meeting</a:t>
            </a:r>
            <a:endParaRPr lang="en-US" sz="1050" b="1" dirty="0"/>
          </a:p>
        </p:txBody>
      </p:sp>
      <p:sp>
        <p:nvSpPr>
          <p:cNvPr id="13" name="AutoShape 98"/>
          <p:cNvSpPr>
            <a:spLocks noChangeArrowheads="1"/>
          </p:cNvSpPr>
          <p:nvPr/>
        </p:nvSpPr>
        <p:spPr bwMode="auto">
          <a:xfrm>
            <a:off x="4267199" y="1639174"/>
            <a:ext cx="4549775" cy="1591971"/>
          </a:xfrm>
          <a:prstGeom prst="wedgeRoundRectCallout">
            <a:avLst>
              <a:gd name="adj1" fmla="val -71623"/>
              <a:gd name="adj2" fmla="val 19919"/>
              <a:gd name="adj3" fmla="val 16667"/>
            </a:avLst>
          </a:prstGeom>
          <a:solidFill>
            <a:schemeClr val="bg1"/>
          </a:solidFill>
          <a:ln w="9525" algn="ctr">
            <a:solidFill>
              <a:schemeClr val="bg1">
                <a:lumMod val="50000"/>
              </a:schemeClr>
            </a:solidFill>
            <a:miter lim="800000"/>
            <a:headEnd/>
            <a:tailEnd/>
          </a:ln>
        </p:spPr>
        <p:txBody>
          <a:bodyPr lIns="36000" tIns="36000" rIns="36000" bIns="36000" anchor="ctr" anchorCtr="0"/>
          <a:lstStyle/>
          <a:p>
            <a:pPr marL="0" lvl="1" indent="0"/>
            <a:r>
              <a:rPr lang="en-US" b="0" dirty="0">
                <a:solidFill>
                  <a:schemeClr val="accent1"/>
                </a:solidFill>
              </a:rPr>
              <a:t>Simple, key metrics that drive goals and management of the organization</a:t>
            </a:r>
          </a:p>
          <a:p>
            <a:pPr marL="0" lvl="1" indent="0">
              <a:spcBef>
                <a:spcPts val="300"/>
              </a:spcBef>
            </a:pPr>
            <a:r>
              <a:rPr lang="en-US" b="0" dirty="0">
                <a:solidFill>
                  <a:schemeClr val="accent1"/>
                </a:solidFill>
              </a:rPr>
              <a:t>Each KPI has a  baseline and a target (including stretch goal)</a:t>
            </a:r>
          </a:p>
        </p:txBody>
      </p:sp>
      <p:sp>
        <p:nvSpPr>
          <p:cNvPr id="14" name="AutoShape 98"/>
          <p:cNvSpPr>
            <a:spLocks noChangeArrowheads="1"/>
          </p:cNvSpPr>
          <p:nvPr/>
        </p:nvSpPr>
        <p:spPr bwMode="auto">
          <a:xfrm>
            <a:off x="4267199" y="3999149"/>
            <a:ext cx="4549775" cy="1901281"/>
          </a:xfrm>
          <a:prstGeom prst="wedgeRoundRectCallout">
            <a:avLst>
              <a:gd name="adj1" fmla="val -71623"/>
              <a:gd name="adj2" fmla="val 19919"/>
              <a:gd name="adj3" fmla="val 16667"/>
            </a:avLst>
          </a:prstGeom>
          <a:solidFill>
            <a:schemeClr val="bg1"/>
          </a:solidFill>
          <a:ln w="9525" algn="ctr">
            <a:solidFill>
              <a:schemeClr val="bg1">
                <a:lumMod val="50000"/>
              </a:schemeClr>
            </a:solidFill>
            <a:miter lim="800000"/>
            <a:headEnd/>
            <a:tailEnd/>
          </a:ln>
        </p:spPr>
        <p:txBody>
          <a:bodyPr lIns="36000" tIns="36000" rIns="36000" bIns="36000" anchor="ctr" anchorCtr="0"/>
          <a:lstStyle/>
          <a:p>
            <a:pPr defTabSz="792163" eaLnBrk="1" hangingPunct="1">
              <a:spcBef>
                <a:spcPct val="50000"/>
              </a:spcBef>
            </a:pPr>
            <a:r>
              <a:rPr lang="en-US" b="0" dirty="0">
                <a:solidFill>
                  <a:schemeClr val="accent1"/>
                </a:solidFill>
              </a:rPr>
              <a:t>Daily 15min morning discussion to review the </a:t>
            </a:r>
            <a:r>
              <a:rPr lang="en-US" b="0" dirty="0" smtClean="0">
                <a:solidFill>
                  <a:schemeClr val="accent1"/>
                </a:solidFill>
              </a:rPr>
              <a:t>KPI </a:t>
            </a:r>
            <a:r>
              <a:rPr lang="en-US" b="0" dirty="0">
                <a:solidFill>
                  <a:schemeClr val="accent1"/>
                </a:solidFill>
              </a:rPr>
              <a:t>of the area</a:t>
            </a:r>
          </a:p>
          <a:p>
            <a:pPr defTabSz="792163" eaLnBrk="1" hangingPunct="1">
              <a:spcBef>
                <a:spcPct val="50000"/>
              </a:spcBef>
            </a:pPr>
            <a:r>
              <a:rPr lang="en-US" b="0" dirty="0">
                <a:solidFill>
                  <a:schemeClr val="accent1"/>
                </a:solidFill>
              </a:rPr>
              <a:t>Identification of any new issues, review of the root causes and the action plan</a:t>
            </a:r>
          </a:p>
        </p:txBody>
      </p:sp>
    </p:spTree>
    <p:extLst>
      <p:ext uri="{BB962C8B-B14F-4D97-AF65-F5344CB8AC3E}">
        <p14:creationId xmlns:p14="http://schemas.microsoft.com/office/powerpoint/2010/main" val="19646787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noFill/>
        </p:spPr>
        <p:txBody>
          <a:bodyPr/>
          <a:lstStyle/>
          <a:p>
            <a:fld id="{D7BA8602-1D36-42F3-9ADD-DC3FBBDDCECF}" type="slidenum">
              <a:rPr lang="en-US" altLang="en-GB" smtClean="0"/>
              <a:pPr/>
              <a:t>48</a:t>
            </a:fld>
            <a:endParaRPr lang="en-US" altLang="en-GB" dirty="0"/>
          </a:p>
        </p:txBody>
      </p:sp>
      <p:graphicFrame>
        <p:nvGraphicFramePr>
          <p:cNvPr id="48" name="Table 47"/>
          <p:cNvGraphicFramePr>
            <a:graphicFrameLocks noGrp="1"/>
          </p:cNvGraphicFramePr>
          <p:nvPr>
            <p:extLst>
              <p:ext uri="{D42A27DB-BD31-4B8C-83A1-F6EECF244321}">
                <p14:modId xmlns:p14="http://schemas.microsoft.com/office/powerpoint/2010/main" val="2423348253"/>
              </p:ext>
            </p:extLst>
          </p:nvPr>
        </p:nvGraphicFramePr>
        <p:xfrm>
          <a:off x="361949" y="1037229"/>
          <a:ext cx="8455026" cy="5560122"/>
        </p:xfrm>
        <a:graphic>
          <a:graphicData uri="http://schemas.openxmlformats.org/drawingml/2006/table">
            <a:tbl>
              <a:tblPr>
                <a:tableStyleId>{5C22544A-7EE6-4342-B048-85BDC9FD1C3A}</a:tableStyleId>
              </a:tblPr>
              <a:tblGrid>
                <a:gridCol w="2818342"/>
                <a:gridCol w="2818342"/>
                <a:gridCol w="2818342"/>
              </a:tblGrid>
              <a:tr h="375448">
                <a:tc>
                  <a:txBody>
                    <a:bodyPr/>
                    <a:lstStyle/>
                    <a:p>
                      <a:pPr algn="ctr">
                        <a:spcAft>
                          <a:spcPts val="0"/>
                        </a:spcAft>
                      </a:pPr>
                      <a:r>
                        <a:rPr lang="en-US" sz="1800" b="1" noProof="0" dirty="0" smtClean="0">
                          <a:solidFill>
                            <a:schemeClr val="bg2"/>
                          </a:solidFill>
                          <a:effectLst/>
                          <a:latin typeface="Arial" pitchFamily="34" charset="0"/>
                          <a:cs typeface="Arial" pitchFamily="34" charset="0"/>
                        </a:rPr>
                        <a:t>Problem</a:t>
                      </a:r>
                      <a:endParaRPr lang="en-US" sz="1800" b="1" noProof="0" dirty="0">
                        <a:solidFill>
                          <a:schemeClr val="bg2"/>
                        </a:solidFill>
                        <a:effectLst/>
                        <a:latin typeface="Arial" pitchFamily="34" charset="0"/>
                        <a:ea typeface="MS Mincho"/>
                        <a:cs typeface="Arial" pitchFamily="34" charset="0"/>
                      </a:endParaRPr>
                    </a:p>
                  </a:txBody>
                  <a:tcPr marL="54606" marR="54606" marT="0" marB="0" anchor="ctr">
                    <a:lnL w="317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algn="ctr">
                        <a:spcAft>
                          <a:spcPts val="0"/>
                        </a:spcAft>
                      </a:pPr>
                      <a:r>
                        <a:rPr lang="en-US" sz="1800" b="1" noProof="0" dirty="0" smtClean="0">
                          <a:solidFill>
                            <a:schemeClr val="bg2"/>
                          </a:solidFill>
                          <a:effectLst/>
                          <a:latin typeface="Arial" pitchFamily="34" charset="0"/>
                          <a:ea typeface="MS Mincho"/>
                          <a:cs typeface="Arial" pitchFamily="34" charset="0"/>
                        </a:rPr>
                        <a:t>Cause(s)</a:t>
                      </a:r>
                      <a:endParaRPr lang="en-US" sz="1800" b="1" noProof="0" dirty="0">
                        <a:solidFill>
                          <a:schemeClr val="bg2"/>
                        </a:solidFill>
                        <a:effectLst/>
                        <a:latin typeface="Arial" pitchFamily="34" charset="0"/>
                        <a:ea typeface="MS Mincho"/>
                        <a:cs typeface="Arial" pitchFamily="34" charset="0"/>
                      </a:endParaRPr>
                    </a:p>
                  </a:txBody>
                  <a:tcPr marL="54606" marR="5460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algn="ctr">
                        <a:spcAft>
                          <a:spcPts val="0"/>
                        </a:spcAft>
                      </a:pPr>
                      <a:r>
                        <a:rPr lang="en-US" sz="1800" b="1" noProof="0" dirty="0" err="1" smtClean="0">
                          <a:solidFill>
                            <a:schemeClr val="bg2"/>
                          </a:solidFill>
                          <a:effectLst/>
                          <a:latin typeface="Arial" pitchFamily="34" charset="0"/>
                          <a:cs typeface="Arial" pitchFamily="34" charset="0"/>
                        </a:rPr>
                        <a:t>Contremeasure</a:t>
                      </a:r>
                      <a:r>
                        <a:rPr lang="en-US" sz="1800" b="1" noProof="0" dirty="0" smtClean="0">
                          <a:solidFill>
                            <a:schemeClr val="bg2"/>
                          </a:solidFill>
                          <a:effectLst/>
                          <a:latin typeface="Arial" pitchFamily="34" charset="0"/>
                          <a:cs typeface="Arial" pitchFamily="34" charset="0"/>
                        </a:rPr>
                        <a:t>(s)</a:t>
                      </a:r>
                      <a:endParaRPr lang="en-US" sz="1800" b="1" noProof="0" dirty="0">
                        <a:solidFill>
                          <a:schemeClr val="bg2"/>
                        </a:solidFill>
                        <a:effectLst/>
                        <a:latin typeface="Arial" pitchFamily="34" charset="0"/>
                        <a:ea typeface="MS Mincho"/>
                        <a:cs typeface="Arial" pitchFamily="34" charset="0"/>
                      </a:endParaRPr>
                    </a:p>
                  </a:txBody>
                  <a:tcPr marL="54606" marR="54606" marT="0" marB="0"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r>
              <a:tr h="864194">
                <a:tc>
                  <a:txBody>
                    <a:bodyPr/>
                    <a:lstStyle/>
                    <a:p>
                      <a:pPr marL="0" marR="0" indent="0" algn="ctr" defTabSz="820400" rtl="0" eaLnBrk="1" fontAlgn="auto" latinLnBrk="0" hangingPunct="1">
                        <a:lnSpc>
                          <a:spcPct val="100000"/>
                        </a:lnSpc>
                        <a:spcBef>
                          <a:spcPts val="0"/>
                        </a:spcBef>
                        <a:spcAft>
                          <a:spcPts val="0"/>
                        </a:spcAft>
                        <a:buClrTx/>
                        <a:buSzTx/>
                        <a:buFontTx/>
                        <a:buNone/>
                        <a:tabLst/>
                        <a:defRPr/>
                      </a:pPr>
                      <a:r>
                        <a:rPr lang="en-US" sz="1600" b="0" u="none" noProof="0" dirty="0" smtClean="0">
                          <a:latin typeface="Arial" pitchFamily="34" charset="0"/>
                          <a:cs typeface="Arial" pitchFamily="34" charset="0"/>
                        </a:rPr>
                        <a:t>Establish clearly the nature of the problem</a:t>
                      </a:r>
                      <a:endParaRPr lang="en-US" sz="1600" noProof="0" dirty="0">
                        <a:effectLst/>
                        <a:latin typeface="Arial" pitchFamily="34" charset="0"/>
                        <a:ea typeface="MS Mincho"/>
                        <a:cs typeface="Arial" pitchFamily="34" charset="0"/>
                      </a:endParaRPr>
                    </a:p>
                  </a:txBody>
                  <a:tcPr marL="54606" marR="54606"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en-US" sz="1600" noProof="0" dirty="0" smtClean="0">
                          <a:effectLst/>
                          <a:latin typeface="Arial" pitchFamily="34" charset="0"/>
                          <a:cs typeface="Arial" pitchFamily="34" charset="0"/>
                        </a:rPr>
                        <a:t>Identify the potential root causes of the problem</a:t>
                      </a:r>
                      <a:endParaRPr lang="en-US" sz="1600" noProof="0" dirty="0">
                        <a:effectLst/>
                        <a:latin typeface="Arial" pitchFamily="34" charset="0"/>
                        <a:ea typeface="MS Mincho"/>
                        <a:cs typeface="Arial" pitchFamily="34" charset="0"/>
                      </a:endParaRPr>
                    </a:p>
                  </a:txBody>
                  <a:tcPr marL="54606" marR="54606"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en-US" sz="1600" noProof="0" dirty="0" smtClean="0">
                          <a:effectLst/>
                          <a:latin typeface="Arial" pitchFamily="34" charset="0"/>
                          <a:ea typeface="MS Mincho"/>
                          <a:cs typeface="Arial" pitchFamily="34" charset="0"/>
                        </a:rPr>
                        <a:t>Agree short term and mid term actions to mitigate identified root causes</a:t>
                      </a:r>
                      <a:endParaRPr lang="en-US" sz="1600" noProof="0" dirty="0">
                        <a:effectLst/>
                        <a:latin typeface="Arial" pitchFamily="34" charset="0"/>
                        <a:ea typeface="MS Mincho"/>
                        <a:cs typeface="Arial" pitchFamily="34" charset="0"/>
                      </a:endParaRPr>
                    </a:p>
                  </a:txBody>
                  <a:tcPr marL="54606" marR="54606"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44508">
                <a:tc>
                  <a:txBody>
                    <a:bodyPr/>
                    <a:lstStyle/>
                    <a:p>
                      <a:pPr>
                        <a:spcAft>
                          <a:spcPts val="0"/>
                        </a:spcAft>
                      </a:pPr>
                      <a:endParaRPr lang="fr-FR" sz="1400" dirty="0">
                        <a:solidFill>
                          <a:schemeClr val="tx2"/>
                        </a:solidFill>
                        <a:effectLst/>
                        <a:latin typeface="Arial" pitchFamily="34" charset="0"/>
                        <a:ea typeface="MS Mincho"/>
                        <a:cs typeface="Arial" pitchFamily="34" charset="0"/>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endParaRPr lang="fr-FR" sz="1400" dirty="0">
                        <a:solidFill>
                          <a:schemeClr val="tx2"/>
                        </a:solidFill>
                        <a:effectLst/>
                        <a:latin typeface="Arial" pitchFamily="34" charset="0"/>
                        <a:ea typeface="MS Mincho"/>
                        <a:cs typeface="Arial" pitchFamily="34" charset="0"/>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endParaRPr lang="fr-FR" sz="1400" dirty="0">
                        <a:solidFill>
                          <a:schemeClr val="tx2"/>
                        </a:solidFill>
                        <a:effectLst/>
                        <a:latin typeface="Arial" pitchFamily="34" charset="0"/>
                        <a:ea typeface="MS Mincho"/>
                        <a:cs typeface="Arial" pitchFamily="34" charset="0"/>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r>
              <a:tr h="391596">
                <a:tc>
                  <a:txBody>
                    <a:bodyPr/>
                    <a:lstStyle/>
                    <a:p>
                      <a:pPr algn="ctr">
                        <a:spcAft>
                          <a:spcPts val="0"/>
                        </a:spcAft>
                      </a:pPr>
                      <a:r>
                        <a:rPr lang="en-US" sz="1600" b="1" noProof="0" dirty="0" smtClean="0">
                          <a:solidFill>
                            <a:schemeClr val="tx1"/>
                          </a:solidFill>
                          <a:effectLst/>
                          <a:latin typeface="Arial" pitchFamily="34" charset="0"/>
                          <a:ea typeface="MS Mincho"/>
                          <a:cs typeface="Arial" pitchFamily="34" charset="0"/>
                        </a:rPr>
                        <a:t>Open questions</a:t>
                      </a:r>
                      <a:endParaRPr lang="en-US" sz="1600" b="1" noProof="0" dirty="0">
                        <a:solidFill>
                          <a:schemeClr val="tx1"/>
                        </a:solidFill>
                        <a:effectLst/>
                        <a:latin typeface="Arial" pitchFamily="34" charset="0"/>
                        <a:ea typeface="MS Mincho"/>
                        <a:cs typeface="Arial" pitchFamily="34" charset="0"/>
                      </a:endParaRPr>
                    </a:p>
                  </a:txBody>
                  <a:tcPr marL="54606" marR="54606"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gridSpan="2">
                  <a:txBody>
                    <a:bodyPr/>
                    <a:lstStyle/>
                    <a:p>
                      <a:pPr marL="0" marR="0" lvl="0" indent="0" algn="ctr" defTabSz="839694"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chemeClr val="tx1"/>
                          </a:solidFill>
                          <a:effectLst/>
                          <a:uLnTx/>
                          <a:uFillTx/>
                          <a:latin typeface="+mn-lt"/>
                          <a:ea typeface="+mn-ea"/>
                          <a:cs typeface="+mn-cs"/>
                        </a:rPr>
                        <a:t>Ishikawa diagram </a:t>
                      </a:r>
                      <a:r>
                        <a:rPr kumimoji="0" lang="en-US" sz="1600" b="0" i="0" u="none" strike="noStrike" kern="0" cap="none" spc="0" normalizeH="0" baseline="0" noProof="0" dirty="0" smtClean="0">
                          <a:ln>
                            <a:noFill/>
                          </a:ln>
                          <a:solidFill>
                            <a:schemeClr val="tx1"/>
                          </a:solidFill>
                          <a:effectLst/>
                          <a:uLnTx/>
                          <a:uFillTx/>
                          <a:latin typeface="Arial"/>
                          <a:ea typeface="+mn-ea"/>
                          <a:cs typeface="+mn-cs"/>
                        </a:rPr>
                        <a:t>and </a:t>
                      </a:r>
                      <a:r>
                        <a:rPr kumimoji="0" lang="en-US" sz="1600" b="1" i="0" u="none" strike="noStrike" kern="0" cap="none" spc="0" normalizeH="0" baseline="0" noProof="0" dirty="0" smtClean="0">
                          <a:ln>
                            <a:noFill/>
                          </a:ln>
                          <a:solidFill>
                            <a:schemeClr val="tx1"/>
                          </a:solidFill>
                          <a:effectLst/>
                          <a:uLnTx/>
                          <a:uFillTx/>
                          <a:latin typeface="Arial"/>
                          <a:ea typeface="+mn-ea"/>
                          <a:cs typeface="+mn-cs"/>
                        </a:rPr>
                        <a:t>5 Whys</a:t>
                      </a:r>
                      <a:endParaRPr lang="en-US" sz="1600" b="1" noProof="0" dirty="0">
                        <a:solidFill>
                          <a:schemeClr val="tx1"/>
                        </a:solidFill>
                        <a:effectLst/>
                        <a:latin typeface="Arial" pitchFamily="34" charset="0"/>
                        <a:ea typeface="MS Mincho"/>
                        <a:cs typeface="Arial" pitchFamily="34" charset="0"/>
                      </a:endParaRPr>
                    </a:p>
                  </a:txBody>
                  <a:tcPr marL="54606" marR="54606"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hMerge="1">
                  <a:txBody>
                    <a:bodyPr/>
                    <a:lstStyle/>
                    <a:p>
                      <a:pPr algn="ctr">
                        <a:spcAft>
                          <a:spcPts val="0"/>
                        </a:spcAft>
                      </a:pPr>
                      <a:endParaRPr lang="fr-FR" sz="1600" b="1" dirty="0">
                        <a:solidFill>
                          <a:schemeClr val="tx2"/>
                        </a:solidFill>
                        <a:effectLst/>
                        <a:latin typeface="Arial" pitchFamily="34" charset="0"/>
                        <a:ea typeface="MS Mincho"/>
                        <a:cs typeface="Arial" pitchFamily="34" charset="0"/>
                      </a:endParaRPr>
                    </a:p>
                  </a:txBody>
                  <a:tcPr marL="59157" marR="59157"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r>
              <a:tr h="3384376">
                <a:tc>
                  <a:txBody>
                    <a:bodyPr/>
                    <a:lstStyle/>
                    <a:p>
                      <a:pPr algn="l">
                        <a:spcAft>
                          <a:spcPts val="0"/>
                        </a:spcAft>
                      </a:pPr>
                      <a:r>
                        <a:rPr lang="en-US" sz="1600" b="0" noProof="0" dirty="0" smtClean="0">
                          <a:solidFill>
                            <a:schemeClr val="tx1"/>
                          </a:solidFill>
                          <a:effectLst/>
                          <a:latin typeface="Arial" pitchFamily="34" charset="0"/>
                          <a:ea typeface="MS Mincho"/>
                          <a:cs typeface="Arial" pitchFamily="34" charset="0"/>
                        </a:rPr>
                        <a:t>What is the REAL</a:t>
                      </a:r>
                      <a:r>
                        <a:rPr lang="en-US" sz="1600" b="0" baseline="0" noProof="0" dirty="0" smtClean="0">
                          <a:solidFill>
                            <a:schemeClr val="tx1"/>
                          </a:solidFill>
                          <a:effectLst/>
                          <a:latin typeface="Arial" pitchFamily="34" charset="0"/>
                          <a:ea typeface="MS Mincho"/>
                          <a:cs typeface="Arial" pitchFamily="34" charset="0"/>
                        </a:rPr>
                        <a:t> </a:t>
                      </a:r>
                      <a:r>
                        <a:rPr lang="en-US" sz="1600" b="0" noProof="0" dirty="0" smtClean="0">
                          <a:solidFill>
                            <a:schemeClr val="tx1"/>
                          </a:solidFill>
                          <a:effectLst/>
                          <a:latin typeface="Arial" pitchFamily="34" charset="0"/>
                          <a:ea typeface="MS Mincho"/>
                          <a:cs typeface="Arial" pitchFamily="34" charset="0"/>
                        </a:rPr>
                        <a:t>problem</a:t>
                      </a:r>
                      <a:r>
                        <a:rPr lang="en-US" sz="1600" b="0" baseline="0" noProof="0" dirty="0" smtClean="0">
                          <a:solidFill>
                            <a:schemeClr val="tx1"/>
                          </a:solidFill>
                          <a:effectLst/>
                          <a:latin typeface="Arial" pitchFamily="34" charset="0"/>
                          <a:ea typeface="MS Mincho"/>
                          <a:cs typeface="Arial" pitchFamily="34" charset="0"/>
                        </a:rPr>
                        <a:t>:</a:t>
                      </a:r>
                      <a:endParaRPr lang="en-US" sz="1600" b="0" noProof="0" dirty="0">
                        <a:solidFill>
                          <a:schemeClr val="tx1"/>
                        </a:solidFill>
                        <a:effectLst/>
                        <a:latin typeface="Arial" pitchFamily="34" charset="0"/>
                        <a:ea typeface="MS Mincho"/>
                        <a:cs typeface="Arial" pitchFamily="34" charset="0"/>
                      </a:endParaRPr>
                    </a:p>
                  </a:txBody>
                  <a:tcPr marL="53169" marR="54606" marT="72000" marB="0">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gridSpan="2">
                  <a:txBody>
                    <a:bodyPr/>
                    <a:lstStyle/>
                    <a:p>
                      <a:pPr algn="l">
                        <a:spcAft>
                          <a:spcPts val="0"/>
                        </a:spcAft>
                      </a:pPr>
                      <a:endParaRPr lang="en-US" sz="1600" b="0" noProof="0" dirty="0">
                        <a:solidFill>
                          <a:schemeClr val="tx2"/>
                        </a:solidFill>
                        <a:effectLst/>
                        <a:latin typeface="Arial" pitchFamily="34" charset="0"/>
                        <a:ea typeface="MS Mincho"/>
                        <a:cs typeface="Arial" pitchFamily="34" charset="0"/>
                      </a:endParaRPr>
                    </a:p>
                  </a:txBody>
                  <a:tcPr marL="53169" marR="54606" marT="72000" marB="0">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hMerge="1">
                  <a:txBody>
                    <a:bodyPr/>
                    <a:lstStyle/>
                    <a:p>
                      <a:pPr algn="ctr">
                        <a:spcAft>
                          <a:spcPts val="0"/>
                        </a:spcAft>
                      </a:pPr>
                      <a:endParaRPr lang="fr-FR" sz="1600" b="1" dirty="0">
                        <a:solidFill>
                          <a:schemeClr val="tx2"/>
                        </a:solidFill>
                        <a:effectLst/>
                        <a:latin typeface="Arial" pitchFamily="34" charset="0"/>
                        <a:ea typeface="MS Mincho"/>
                        <a:cs typeface="Arial" pitchFamily="34" charset="0"/>
                      </a:endParaRPr>
                    </a:p>
                  </a:txBody>
                  <a:tcPr marL="59157" marR="59157"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r>
            </a:tbl>
          </a:graphicData>
        </a:graphic>
      </p:graphicFrame>
      <p:sp>
        <p:nvSpPr>
          <p:cNvPr id="49" name="Isosceles Triangle 48"/>
          <p:cNvSpPr/>
          <p:nvPr/>
        </p:nvSpPr>
        <p:spPr>
          <a:xfrm flipV="1">
            <a:off x="1171323" y="2444964"/>
            <a:ext cx="1262910" cy="252028"/>
          </a:xfrm>
          <a:prstGeom prst="triangl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Isosceles Triangle 49"/>
          <p:cNvSpPr/>
          <p:nvPr/>
        </p:nvSpPr>
        <p:spPr>
          <a:xfrm flipV="1">
            <a:off x="3805887" y="2444964"/>
            <a:ext cx="1262910" cy="252028"/>
          </a:xfrm>
          <a:prstGeom prst="triangl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1" name="Table 50"/>
          <p:cNvGraphicFramePr>
            <a:graphicFrameLocks noGrp="1"/>
          </p:cNvGraphicFramePr>
          <p:nvPr>
            <p:extLst>
              <p:ext uri="{D42A27DB-BD31-4B8C-83A1-F6EECF244321}">
                <p14:modId xmlns:p14="http://schemas.microsoft.com/office/powerpoint/2010/main" val="4023699273"/>
              </p:ext>
            </p:extLst>
          </p:nvPr>
        </p:nvGraphicFramePr>
        <p:xfrm>
          <a:off x="691891" y="3751990"/>
          <a:ext cx="2221774" cy="2554986"/>
        </p:xfrm>
        <a:graphic>
          <a:graphicData uri="http://schemas.openxmlformats.org/drawingml/2006/table">
            <a:tbl>
              <a:tblPr>
                <a:tableStyleId>{5C22544A-7EE6-4342-B048-85BDC9FD1C3A}</a:tableStyleId>
              </a:tblPr>
              <a:tblGrid>
                <a:gridCol w="2221774"/>
              </a:tblGrid>
              <a:tr h="364998">
                <a:tc>
                  <a:txBody>
                    <a:bodyPr/>
                    <a:lstStyle/>
                    <a:p>
                      <a:pPr marL="285750" indent="-285750" algn="l">
                        <a:spcAft>
                          <a:spcPts val="0"/>
                        </a:spcAft>
                        <a:buFont typeface="Arial" pitchFamily="34" charset="0"/>
                        <a:buChar char="•"/>
                      </a:pPr>
                      <a:r>
                        <a:rPr lang="en-US" sz="1600" b="1" noProof="0" dirty="0" smtClean="0">
                          <a:solidFill>
                            <a:srgbClr val="0070C0"/>
                          </a:solidFill>
                          <a:effectLst/>
                          <a:latin typeface="Arial (Body)"/>
                        </a:rPr>
                        <a:t>Who ?</a:t>
                      </a:r>
                      <a:endParaRPr lang="en-US" sz="1600" b="1" noProof="0" dirty="0">
                        <a:solidFill>
                          <a:srgbClr val="0070C0"/>
                        </a:solidFill>
                        <a:effectLst/>
                        <a:latin typeface="Arial (Body)"/>
                        <a:ea typeface="MS Mincho"/>
                        <a:cs typeface="Times New Roman"/>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364998">
                <a:tc>
                  <a:txBody>
                    <a:bodyPr/>
                    <a:lstStyle/>
                    <a:p>
                      <a:pPr marL="285750" indent="-285750" algn="l">
                        <a:spcAft>
                          <a:spcPts val="0"/>
                        </a:spcAft>
                        <a:buFont typeface="Arial" pitchFamily="34" charset="0"/>
                        <a:buChar char="•"/>
                      </a:pPr>
                      <a:r>
                        <a:rPr lang="en-US" sz="1600" b="1" noProof="0" dirty="0" smtClean="0">
                          <a:solidFill>
                            <a:srgbClr val="0070C0"/>
                          </a:solidFill>
                          <a:effectLst/>
                          <a:latin typeface="Arial (Body)"/>
                        </a:rPr>
                        <a:t>What ?</a:t>
                      </a:r>
                      <a:endParaRPr lang="en-US" sz="1600" b="1" noProof="0" dirty="0">
                        <a:solidFill>
                          <a:srgbClr val="0070C0"/>
                        </a:solidFill>
                        <a:effectLst/>
                        <a:latin typeface="Arial (Body)"/>
                        <a:ea typeface="MS Mincho"/>
                        <a:cs typeface="Times New Roman"/>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364998">
                <a:tc>
                  <a:txBody>
                    <a:bodyPr/>
                    <a:lstStyle/>
                    <a:p>
                      <a:pPr marL="285750" indent="-285750" algn="l">
                        <a:spcAft>
                          <a:spcPts val="0"/>
                        </a:spcAft>
                        <a:buFont typeface="Arial" pitchFamily="34" charset="0"/>
                        <a:buChar char="•"/>
                      </a:pPr>
                      <a:r>
                        <a:rPr lang="en-US" sz="1600" b="1" noProof="0" dirty="0" smtClean="0">
                          <a:solidFill>
                            <a:srgbClr val="0070C0"/>
                          </a:solidFill>
                          <a:effectLst/>
                          <a:latin typeface="Arial (Body)"/>
                        </a:rPr>
                        <a:t>Where ?</a:t>
                      </a:r>
                      <a:endParaRPr lang="en-US" sz="1600" b="1" noProof="0" dirty="0">
                        <a:solidFill>
                          <a:srgbClr val="0070C0"/>
                        </a:solidFill>
                        <a:effectLst/>
                        <a:latin typeface="Arial (Body)"/>
                        <a:ea typeface="MS Mincho"/>
                        <a:cs typeface="Times New Roman"/>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364998">
                <a:tc>
                  <a:txBody>
                    <a:bodyPr/>
                    <a:lstStyle/>
                    <a:p>
                      <a:pPr marL="285750" indent="-285750" algn="l">
                        <a:spcAft>
                          <a:spcPts val="0"/>
                        </a:spcAft>
                        <a:buFont typeface="Arial" pitchFamily="34" charset="0"/>
                        <a:buChar char="•"/>
                      </a:pPr>
                      <a:r>
                        <a:rPr lang="en-US" sz="1600" b="1" noProof="0" dirty="0" smtClean="0">
                          <a:solidFill>
                            <a:srgbClr val="0070C0"/>
                          </a:solidFill>
                          <a:effectLst/>
                          <a:latin typeface="Arial (Body)"/>
                        </a:rPr>
                        <a:t>When ?</a:t>
                      </a:r>
                      <a:endParaRPr lang="en-US" sz="1600" b="1" noProof="0" dirty="0">
                        <a:solidFill>
                          <a:srgbClr val="0070C0"/>
                        </a:solidFill>
                        <a:effectLst/>
                        <a:latin typeface="Arial (Body)"/>
                        <a:ea typeface="MS Mincho"/>
                        <a:cs typeface="Times New Roman"/>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364998">
                <a:tc>
                  <a:txBody>
                    <a:bodyPr/>
                    <a:lstStyle/>
                    <a:p>
                      <a:pPr marL="285750" indent="-285750" algn="l">
                        <a:spcAft>
                          <a:spcPts val="0"/>
                        </a:spcAft>
                        <a:buFont typeface="Arial" pitchFamily="34" charset="0"/>
                        <a:buChar char="•"/>
                      </a:pPr>
                      <a:r>
                        <a:rPr lang="en-US" sz="1600" b="1" noProof="0" dirty="0" smtClean="0">
                          <a:solidFill>
                            <a:srgbClr val="0070C0"/>
                          </a:solidFill>
                          <a:effectLst/>
                          <a:latin typeface="Arial (Body)"/>
                        </a:rPr>
                        <a:t>How ?</a:t>
                      </a:r>
                      <a:endParaRPr lang="en-US" sz="1600" b="1" noProof="0" dirty="0">
                        <a:solidFill>
                          <a:srgbClr val="0070C0"/>
                        </a:solidFill>
                        <a:effectLst/>
                        <a:latin typeface="Arial (Body)"/>
                        <a:ea typeface="MS Mincho"/>
                        <a:cs typeface="Times New Roman"/>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364998">
                <a:tc>
                  <a:txBody>
                    <a:bodyPr/>
                    <a:lstStyle/>
                    <a:p>
                      <a:pPr marL="285750" indent="-285750" algn="l">
                        <a:spcAft>
                          <a:spcPts val="0"/>
                        </a:spcAft>
                        <a:buFont typeface="Arial" pitchFamily="34" charset="0"/>
                        <a:buChar char="•"/>
                      </a:pPr>
                      <a:r>
                        <a:rPr lang="en-US" sz="1600" b="1" noProof="0" dirty="0" smtClean="0">
                          <a:solidFill>
                            <a:srgbClr val="0070C0"/>
                          </a:solidFill>
                          <a:effectLst/>
                          <a:latin typeface="Arial (Body)"/>
                        </a:rPr>
                        <a:t>How</a:t>
                      </a:r>
                      <a:r>
                        <a:rPr lang="en-US" sz="1600" b="1" baseline="0" noProof="0" dirty="0" smtClean="0">
                          <a:solidFill>
                            <a:srgbClr val="0070C0"/>
                          </a:solidFill>
                          <a:effectLst/>
                          <a:latin typeface="Arial (Body)"/>
                        </a:rPr>
                        <a:t> many</a:t>
                      </a:r>
                      <a:r>
                        <a:rPr lang="en-US" sz="1600" b="1" noProof="0" dirty="0" smtClean="0">
                          <a:solidFill>
                            <a:srgbClr val="0070C0"/>
                          </a:solidFill>
                          <a:effectLst/>
                          <a:latin typeface="Arial (Body)"/>
                        </a:rPr>
                        <a:t> ?</a:t>
                      </a:r>
                      <a:endParaRPr lang="en-US" sz="1600" b="1" noProof="0" dirty="0">
                        <a:solidFill>
                          <a:srgbClr val="0070C0"/>
                        </a:solidFill>
                        <a:effectLst/>
                        <a:latin typeface="Arial (Body)"/>
                        <a:ea typeface="MS Mincho"/>
                        <a:cs typeface="Times New Roman"/>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364998">
                <a:tc>
                  <a:txBody>
                    <a:bodyPr/>
                    <a:lstStyle/>
                    <a:p>
                      <a:pPr marL="285750" indent="-285750" algn="l">
                        <a:spcAft>
                          <a:spcPts val="0"/>
                        </a:spcAft>
                        <a:buFont typeface="Arial" pitchFamily="34" charset="0"/>
                        <a:buChar char="•"/>
                      </a:pPr>
                      <a:r>
                        <a:rPr lang="en-US" sz="1600" b="1" noProof="0" dirty="0" smtClean="0">
                          <a:solidFill>
                            <a:srgbClr val="0070C0"/>
                          </a:solidFill>
                          <a:effectLst/>
                          <a:latin typeface="Arial (Body)"/>
                        </a:rPr>
                        <a:t>Why ?</a:t>
                      </a:r>
                      <a:endParaRPr lang="en-US" sz="1600" b="1" noProof="0" dirty="0">
                        <a:solidFill>
                          <a:srgbClr val="0070C0"/>
                        </a:solidFill>
                        <a:effectLst/>
                        <a:latin typeface="Arial (Body)"/>
                        <a:ea typeface="MS Mincho"/>
                        <a:cs typeface="Times New Roman"/>
                      </a:endParaRPr>
                    </a:p>
                  </a:txBody>
                  <a:tcPr marL="54606" marR="54606"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52" name="Straight Arrow Connector 51"/>
          <p:cNvCxnSpPr/>
          <p:nvPr/>
        </p:nvCxnSpPr>
        <p:spPr>
          <a:xfrm flipV="1">
            <a:off x="4427343" y="4319386"/>
            <a:ext cx="3012769" cy="0"/>
          </a:xfrm>
          <a:prstGeom prst="straightConnector1">
            <a:avLst/>
          </a:prstGeom>
          <a:noFill/>
          <a:ln w="28575" cap="flat" cmpd="sng" algn="ctr">
            <a:solidFill>
              <a:srgbClr val="000000"/>
            </a:solidFill>
            <a:prstDash val="solid"/>
            <a:tailEnd type="triangle" w="lg" len="med"/>
          </a:ln>
          <a:effectLst/>
        </p:spPr>
      </p:cxnSp>
      <p:sp>
        <p:nvSpPr>
          <p:cNvPr id="53" name="Rectangle 52"/>
          <p:cNvSpPr/>
          <p:nvPr/>
        </p:nvSpPr>
        <p:spPr>
          <a:xfrm>
            <a:off x="7528648" y="3934430"/>
            <a:ext cx="1031488" cy="769915"/>
          </a:xfrm>
          <a:prstGeom prst="rect">
            <a:avLst/>
          </a:prstGeom>
          <a:solidFill>
            <a:srgbClr val="FFFFFF"/>
          </a:solidFill>
          <a:ln w="3175" cap="flat" cmpd="sng" algn="ctr">
            <a:solidFill>
              <a:srgbClr val="000000"/>
            </a:solidFill>
            <a:prstDash val="solid"/>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0000"/>
                </a:solidFill>
                <a:effectLst/>
                <a:uLnTx/>
                <a:uFillTx/>
                <a:latin typeface="Arial"/>
                <a:ea typeface="+mn-ea"/>
                <a:cs typeface="+mn-cs"/>
              </a:rPr>
              <a:t>Proble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0000"/>
                </a:solidFill>
                <a:effectLst/>
                <a:uLnTx/>
                <a:uFillTx/>
                <a:latin typeface="Arial"/>
                <a:ea typeface="+mn-ea"/>
                <a:cs typeface="+mn-cs"/>
              </a:rPr>
              <a:t>(Effect)</a:t>
            </a:r>
          </a:p>
        </p:txBody>
      </p:sp>
      <p:cxnSp>
        <p:nvCxnSpPr>
          <p:cNvPr id="54" name="Straight Arrow Connector 53"/>
          <p:cNvCxnSpPr/>
          <p:nvPr/>
        </p:nvCxnSpPr>
        <p:spPr>
          <a:xfrm>
            <a:off x="5170587" y="3838242"/>
            <a:ext cx="309446" cy="481144"/>
          </a:xfrm>
          <a:prstGeom prst="straightConnector1">
            <a:avLst/>
          </a:prstGeom>
          <a:noFill/>
          <a:ln w="28575" cap="flat" cmpd="sng" algn="ctr">
            <a:solidFill>
              <a:srgbClr val="000000"/>
            </a:solidFill>
            <a:prstDash val="solid"/>
            <a:tailEnd type="triangle" w="lg" len="med"/>
          </a:ln>
          <a:effectLst/>
        </p:spPr>
      </p:cxnSp>
      <p:sp>
        <p:nvSpPr>
          <p:cNvPr id="55" name="Rectangle 54"/>
          <p:cNvSpPr/>
          <p:nvPr/>
        </p:nvSpPr>
        <p:spPr>
          <a:xfrm>
            <a:off x="4663301" y="3467805"/>
            <a:ext cx="1031488" cy="393298"/>
          </a:xfrm>
          <a:prstGeom prst="rect">
            <a:avLst/>
          </a:prstGeom>
          <a:noFill/>
          <a:ln w="3175" cap="flat" cmpd="sng" algn="ctr">
            <a:noFill/>
            <a:prstDash val="solid"/>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rPr>
              <a:t>Material</a:t>
            </a:r>
          </a:p>
        </p:txBody>
      </p:sp>
      <p:cxnSp>
        <p:nvCxnSpPr>
          <p:cNvPr id="56" name="Straight Arrow Connector 55"/>
          <p:cNvCxnSpPr/>
          <p:nvPr/>
        </p:nvCxnSpPr>
        <p:spPr>
          <a:xfrm>
            <a:off x="6254520" y="3838242"/>
            <a:ext cx="309446" cy="481144"/>
          </a:xfrm>
          <a:prstGeom prst="straightConnector1">
            <a:avLst/>
          </a:prstGeom>
          <a:noFill/>
          <a:ln w="28575" cap="flat" cmpd="sng" algn="ctr">
            <a:solidFill>
              <a:srgbClr val="000000"/>
            </a:solidFill>
            <a:prstDash val="solid"/>
            <a:tailEnd type="triangle" w="lg" len="med"/>
          </a:ln>
          <a:effectLst/>
        </p:spPr>
      </p:cxnSp>
      <p:sp>
        <p:nvSpPr>
          <p:cNvPr id="57" name="Rectangle 56"/>
          <p:cNvSpPr/>
          <p:nvPr/>
        </p:nvSpPr>
        <p:spPr>
          <a:xfrm>
            <a:off x="5789548" y="3356992"/>
            <a:ext cx="1031488" cy="393298"/>
          </a:xfrm>
          <a:prstGeom prst="rect">
            <a:avLst/>
          </a:prstGeom>
          <a:noFill/>
          <a:ln w="3175" cap="flat" cmpd="sng" algn="ctr">
            <a:noFill/>
            <a:prstDash val="solid"/>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rPr>
              <a:t>Machines</a:t>
            </a:r>
            <a:r>
              <a:rPr kumimoji="0" lang="en-US" sz="1400" b="0" i="0" u="none" strike="noStrike" kern="0" cap="none" spc="0" normalizeH="0" noProof="0" dirty="0" smtClean="0">
                <a:ln>
                  <a:noFill/>
                </a:ln>
                <a:solidFill>
                  <a:srgbClr val="000000"/>
                </a:solidFill>
                <a:effectLst/>
                <a:uLnTx/>
                <a:uFillTx/>
                <a:latin typeface="Arial"/>
                <a:ea typeface="+mn-ea"/>
                <a:cs typeface="+mn-cs"/>
              </a:rPr>
              <a:t> 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noProof="0" dirty="0" smtClean="0">
                <a:ln>
                  <a:noFill/>
                </a:ln>
                <a:solidFill>
                  <a:srgbClr val="000000"/>
                </a:solidFill>
                <a:effectLst/>
                <a:uLnTx/>
                <a:uFillTx/>
                <a:latin typeface="Arial"/>
                <a:ea typeface="+mn-ea"/>
                <a:cs typeface="+mn-cs"/>
              </a:rPr>
              <a:t>systems</a:t>
            </a:r>
            <a:endParaRPr kumimoji="0" lang="en-US" sz="14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58" name="Straight Arrow Connector 57"/>
          <p:cNvCxnSpPr/>
          <p:nvPr/>
        </p:nvCxnSpPr>
        <p:spPr>
          <a:xfrm flipV="1">
            <a:off x="6718025" y="4319386"/>
            <a:ext cx="309446" cy="481144"/>
          </a:xfrm>
          <a:prstGeom prst="straightConnector1">
            <a:avLst/>
          </a:prstGeom>
          <a:noFill/>
          <a:ln w="28575" cap="flat" cmpd="sng" algn="ctr">
            <a:solidFill>
              <a:srgbClr val="000000"/>
            </a:solidFill>
            <a:prstDash val="solid"/>
            <a:tailEnd type="triangle" w="lg" len="med"/>
          </a:ln>
          <a:effectLst/>
        </p:spPr>
      </p:cxnSp>
      <p:sp>
        <p:nvSpPr>
          <p:cNvPr id="59" name="Rectangle 58"/>
          <p:cNvSpPr/>
          <p:nvPr/>
        </p:nvSpPr>
        <p:spPr>
          <a:xfrm>
            <a:off x="6215290" y="4834155"/>
            <a:ext cx="1004376" cy="393298"/>
          </a:xfrm>
          <a:prstGeom prst="rect">
            <a:avLst/>
          </a:prstGeom>
          <a:noFill/>
          <a:ln w="3175" cap="flat" cmpd="sng" algn="ctr">
            <a:noFill/>
            <a:prstDash val="solid"/>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rPr>
              <a:t>Me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60" name="Straight Arrow Connector 59"/>
          <p:cNvCxnSpPr/>
          <p:nvPr/>
        </p:nvCxnSpPr>
        <p:spPr>
          <a:xfrm flipV="1">
            <a:off x="4630156" y="4319386"/>
            <a:ext cx="309446" cy="481144"/>
          </a:xfrm>
          <a:prstGeom prst="straightConnector1">
            <a:avLst/>
          </a:prstGeom>
          <a:noFill/>
          <a:ln w="28575" cap="flat" cmpd="sng" algn="ctr">
            <a:solidFill>
              <a:srgbClr val="000000"/>
            </a:solidFill>
            <a:prstDash val="solid"/>
            <a:tailEnd type="triangle" w="lg" len="med"/>
          </a:ln>
          <a:effectLst/>
        </p:spPr>
      </p:cxnSp>
      <p:sp>
        <p:nvSpPr>
          <p:cNvPr id="61" name="Rectangle 60"/>
          <p:cNvSpPr/>
          <p:nvPr/>
        </p:nvSpPr>
        <p:spPr>
          <a:xfrm>
            <a:off x="4112785" y="4834155"/>
            <a:ext cx="1031488" cy="393298"/>
          </a:xfrm>
          <a:prstGeom prst="rect">
            <a:avLst/>
          </a:prstGeom>
          <a:noFill/>
          <a:ln w="3175" cap="flat" cmpd="sng" algn="ctr">
            <a:noFill/>
            <a:prstDash val="solid"/>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rPr>
              <a:t>Mother</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b="0" kern="0" dirty="0" smtClean="0">
                <a:solidFill>
                  <a:srgbClr val="000000"/>
                </a:solidFill>
                <a:latin typeface="Arial"/>
                <a:cs typeface="+mn-cs"/>
              </a:rPr>
              <a:t>Nature</a:t>
            </a:r>
            <a:endParaRPr kumimoji="0" lang="en-US" sz="14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62" name="Straight Arrow Connector 61"/>
          <p:cNvCxnSpPr/>
          <p:nvPr/>
        </p:nvCxnSpPr>
        <p:spPr>
          <a:xfrm flipV="1">
            <a:off x="5686308" y="4319386"/>
            <a:ext cx="309446" cy="481144"/>
          </a:xfrm>
          <a:prstGeom prst="straightConnector1">
            <a:avLst/>
          </a:prstGeom>
          <a:noFill/>
          <a:ln w="28575" cap="flat" cmpd="sng" algn="ctr">
            <a:solidFill>
              <a:srgbClr val="000000"/>
            </a:solidFill>
            <a:prstDash val="solid"/>
            <a:tailEnd type="triangle" w="lg" len="med"/>
          </a:ln>
          <a:effectLst/>
        </p:spPr>
      </p:cxnSp>
      <p:sp>
        <p:nvSpPr>
          <p:cNvPr id="63" name="Rectangle 62"/>
          <p:cNvSpPr/>
          <p:nvPr/>
        </p:nvSpPr>
        <p:spPr>
          <a:xfrm>
            <a:off x="5156276" y="4834155"/>
            <a:ext cx="1031488" cy="393298"/>
          </a:xfrm>
          <a:prstGeom prst="rect">
            <a:avLst/>
          </a:prstGeom>
          <a:noFill/>
          <a:ln w="3175" cap="flat" cmpd="sng" algn="ctr">
            <a:noFill/>
            <a:prstDash val="solid"/>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rPr>
              <a:t>Method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64" name="Straight Arrow Connector 63"/>
          <p:cNvCxnSpPr/>
          <p:nvPr/>
        </p:nvCxnSpPr>
        <p:spPr>
          <a:xfrm>
            <a:off x="4405861" y="4651389"/>
            <a:ext cx="299077" cy="0"/>
          </a:xfrm>
          <a:prstGeom prst="straightConnector1">
            <a:avLst/>
          </a:prstGeom>
          <a:noFill/>
          <a:ln w="28575" cap="flat" cmpd="sng" algn="ctr">
            <a:solidFill>
              <a:srgbClr val="0070C0"/>
            </a:solidFill>
            <a:prstDash val="solid"/>
            <a:tailEnd type="triangle" w="lg" len="med"/>
          </a:ln>
          <a:effectLst/>
        </p:spPr>
      </p:cxnSp>
      <p:sp>
        <p:nvSpPr>
          <p:cNvPr id="65" name="Rectangle 64"/>
          <p:cNvSpPr/>
          <p:nvPr/>
        </p:nvSpPr>
        <p:spPr>
          <a:xfrm>
            <a:off x="3540513" y="4424121"/>
            <a:ext cx="1031488" cy="393298"/>
          </a:xfrm>
          <a:prstGeom prst="rect">
            <a:avLst/>
          </a:prstGeom>
          <a:noFill/>
          <a:ln w="3175" cap="flat" cmpd="sng" algn="ctr">
            <a:noFill/>
            <a:prstDash val="solid"/>
          </a:ln>
          <a:effectLst/>
        </p:spPr>
        <p:txBody>
          <a:bodyPr wrap="non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70C0"/>
                </a:solidFill>
                <a:effectLst/>
                <a:uLnTx/>
                <a:uFillTx/>
                <a:latin typeface="Arial"/>
                <a:ea typeface="+mn-ea"/>
                <a:cs typeface="+mn-cs"/>
              </a:rPr>
              <a:t>Item</a:t>
            </a:r>
          </a:p>
        </p:txBody>
      </p:sp>
      <p:sp>
        <p:nvSpPr>
          <p:cNvPr id="66" name="Curved Right Arrow 65"/>
          <p:cNvSpPr/>
          <p:nvPr/>
        </p:nvSpPr>
        <p:spPr bwMode="auto">
          <a:xfrm>
            <a:off x="3232995" y="4559959"/>
            <a:ext cx="474909" cy="1108225"/>
          </a:xfrm>
          <a:prstGeom prst="curvedRightArrow">
            <a:avLst/>
          </a:prstGeom>
          <a:solidFill>
            <a:srgbClr val="0070C0"/>
          </a:solidFill>
          <a:ln w="6350" algn="ctr">
            <a:solidFill>
              <a:schemeClr val="accent5">
                <a:lumMod val="75000"/>
              </a:schemeClr>
            </a:solidFill>
            <a:round/>
            <a:headEnd/>
            <a:tailEnd/>
          </a:ln>
        </p:spPr>
        <p:txBody>
          <a:bodyPr lIns="64588" tIns="64588" rIns="64588" bIns="64588" rtlCol="0" anchor="ctr"/>
          <a:lstStyle/>
          <a:p>
            <a:pPr algn="ctr" fontAlgn="base">
              <a:lnSpc>
                <a:spcPct val="102000"/>
              </a:lnSpc>
              <a:spcBef>
                <a:spcPct val="0"/>
              </a:spcBef>
              <a:spcAft>
                <a:spcPct val="37000"/>
              </a:spcAft>
              <a:tabLst>
                <a:tab pos="5125216" algn="l"/>
              </a:tabLst>
            </a:pPr>
            <a:endParaRPr lang="en-US" sz="1100" b="1" dirty="0">
              <a:solidFill>
                <a:srgbClr val="FFFFFF"/>
              </a:solidFill>
              <a:latin typeface="Arial" pitchFamily="34" charset="0"/>
              <a:cs typeface="Arial" pitchFamily="34" charset="0"/>
            </a:endParaRPr>
          </a:p>
        </p:txBody>
      </p:sp>
      <p:sp>
        <p:nvSpPr>
          <p:cNvPr id="67" name="Rectangle 66"/>
          <p:cNvSpPr/>
          <p:nvPr/>
        </p:nvSpPr>
        <p:spPr>
          <a:xfrm>
            <a:off x="3720502" y="5649621"/>
            <a:ext cx="4839634" cy="393298"/>
          </a:xfrm>
          <a:prstGeom prst="rect">
            <a:avLst/>
          </a:prstGeom>
          <a:noFill/>
          <a:ln w="3175" cap="flat" cmpd="sng" algn="ctr">
            <a:noFill/>
            <a:prstDash val="solid"/>
          </a:ln>
          <a:effectLst/>
        </p:spPr>
        <p:txBody>
          <a:bodyPr wrap="square" lIns="36000" tIns="36000" rIns="36000" bIns="36000" rtlCol="0" anchor="ctr"/>
          <a:lstStyle/>
          <a:p>
            <a:pPr marL="285750" marR="0" lvl="0" indent="-285750"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US" sz="1600" b="0" kern="0" dirty="0" smtClean="0">
                <a:solidFill>
                  <a:srgbClr val="0070C0"/>
                </a:solidFill>
                <a:latin typeface="Arial"/>
                <a:cs typeface="+mn-cs"/>
              </a:rPr>
              <a:t>Use the </a:t>
            </a:r>
            <a:r>
              <a:rPr lang="en-US" sz="1600" kern="0" dirty="0" smtClean="0">
                <a:solidFill>
                  <a:srgbClr val="0070C0"/>
                </a:solidFill>
                <a:latin typeface="Arial"/>
                <a:cs typeface="+mn-cs"/>
              </a:rPr>
              <a:t>5 whys? </a:t>
            </a:r>
            <a:r>
              <a:rPr lang="en-US" sz="1600" b="0" kern="0" dirty="0" smtClean="0">
                <a:solidFill>
                  <a:srgbClr val="0070C0"/>
                </a:solidFill>
                <a:latin typeface="Arial"/>
                <a:cs typeface="+mn-cs"/>
              </a:rPr>
              <a:t>to dive to the root causes</a:t>
            </a:r>
            <a:endParaRPr kumimoji="0" lang="en-US" sz="1600" b="0" i="0" u="none" strike="noStrike" kern="0" cap="none" spc="0" normalizeH="0" noProof="0" dirty="0" smtClean="0">
              <a:ln>
                <a:noFill/>
              </a:ln>
              <a:solidFill>
                <a:srgbClr val="0070C0"/>
              </a:solidFill>
              <a:effectLst/>
              <a:uLnTx/>
              <a:uFillTx/>
              <a:latin typeface="Arial"/>
              <a:cs typeface="+mn-cs"/>
            </a:endParaRPr>
          </a:p>
          <a:p>
            <a:pPr marL="285750" marR="0" lvl="0" indent="-285750" defTabSz="91440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US" sz="1600" kern="0" baseline="0" dirty="0" smtClean="0">
                <a:solidFill>
                  <a:srgbClr val="0070C0"/>
                </a:solidFill>
                <a:latin typeface="Arial"/>
                <a:cs typeface="+mn-cs"/>
              </a:rPr>
              <a:t>Establish</a:t>
            </a:r>
            <a:r>
              <a:rPr lang="en-US" sz="1600" kern="0" dirty="0" smtClean="0">
                <a:solidFill>
                  <a:srgbClr val="0070C0"/>
                </a:solidFill>
                <a:latin typeface="Arial"/>
                <a:cs typeface="+mn-cs"/>
              </a:rPr>
              <a:t> a plan of action </a:t>
            </a:r>
            <a:r>
              <a:rPr lang="en-US" sz="1600" b="0" kern="0" dirty="0" smtClean="0">
                <a:solidFill>
                  <a:srgbClr val="0070C0"/>
                </a:solidFill>
                <a:latin typeface="Arial"/>
                <a:cs typeface="+mn-cs"/>
              </a:rPr>
              <a:t>to validate the cause, eradicate the issue and update the new standard</a:t>
            </a:r>
            <a:endParaRPr kumimoji="0" lang="en-US" sz="1600" b="0" i="0" u="none" strike="noStrike" kern="0" cap="none" spc="0" normalizeH="0" baseline="0" noProof="0" dirty="0" smtClean="0">
              <a:ln>
                <a:noFill/>
              </a:ln>
              <a:solidFill>
                <a:srgbClr val="0070C0"/>
              </a:solidFill>
              <a:effectLst/>
              <a:uLnTx/>
              <a:uFillTx/>
              <a:latin typeface="Arial"/>
              <a:cs typeface="+mn-cs"/>
            </a:endParaRPr>
          </a:p>
        </p:txBody>
      </p:sp>
      <p:cxnSp>
        <p:nvCxnSpPr>
          <p:cNvPr id="68" name="Straight Arrow Connector 67"/>
          <p:cNvCxnSpPr/>
          <p:nvPr/>
        </p:nvCxnSpPr>
        <p:spPr>
          <a:xfrm>
            <a:off x="4969651" y="4075325"/>
            <a:ext cx="299077" cy="0"/>
          </a:xfrm>
          <a:prstGeom prst="straightConnector1">
            <a:avLst/>
          </a:prstGeom>
          <a:noFill/>
          <a:ln w="28575" cap="flat" cmpd="sng" algn="ctr">
            <a:solidFill>
              <a:srgbClr val="0070C0"/>
            </a:solidFill>
            <a:prstDash val="solid"/>
            <a:tailEnd type="triangle" w="lg" len="med"/>
          </a:ln>
          <a:effectLst/>
        </p:spPr>
      </p:cxnSp>
      <p:cxnSp>
        <p:nvCxnSpPr>
          <p:cNvPr id="69" name="Straight Arrow Connector 68"/>
          <p:cNvCxnSpPr/>
          <p:nvPr/>
        </p:nvCxnSpPr>
        <p:spPr>
          <a:xfrm>
            <a:off x="4534631" y="4457716"/>
            <a:ext cx="299077" cy="0"/>
          </a:xfrm>
          <a:prstGeom prst="straightConnector1">
            <a:avLst/>
          </a:prstGeom>
          <a:noFill/>
          <a:ln w="28575" cap="flat" cmpd="sng" algn="ctr">
            <a:solidFill>
              <a:srgbClr val="0070C0"/>
            </a:solidFill>
            <a:prstDash val="solid"/>
            <a:tailEnd type="triangle" w="lg" len="med"/>
          </a:ln>
          <a:effectLst/>
        </p:spPr>
      </p:cxnSp>
      <p:cxnSp>
        <p:nvCxnSpPr>
          <p:cNvPr id="70" name="Straight Arrow Connector 69"/>
          <p:cNvCxnSpPr/>
          <p:nvPr/>
        </p:nvCxnSpPr>
        <p:spPr>
          <a:xfrm>
            <a:off x="5059130" y="4205693"/>
            <a:ext cx="299077" cy="0"/>
          </a:xfrm>
          <a:prstGeom prst="straightConnector1">
            <a:avLst/>
          </a:prstGeom>
          <a:noFill/>
          <a:ln w="28575" cap="flat" cmpd="sng" algn="ctr">
            <a:solidFill>
              <a:srgbClr val="0070C0"/>
            </a:solidFill>
            <a:prstDash val="solid"/>
            <a:tailEnd type="triangle" w="lg" len="med"/>
          </a:ln>
          <a:effectLst/>
        </p:spPr>
      </p:cxnSp>
      <p:cxnSp>
        <p:nvCxnSpPr>
          <p:cNvPr id="71" name="Straight Arrow Connector 70"/>
          <p:cNvCxnSpPr/>
          <p:nvPr/>
        </p:nvCxnSpPr>
        <p:spPr>
          <a:xfrm>
            <a:off x="6005678" y="3968792"/>
            <a:ext cx="299077" cy="0"/>
          </a:xfrm>
          <a:prstGeom prst="straightConnector1">
            <a:avLst/>
          </a:prstGeom>
          <a:noFill/>
          <a:ln w="28575" cap="flat" cmpd="sng" algn="ctr">
            <a:solidFill>
              <a:srgbClr val="0070C0"/>
            </a:solidFill>
            <a:prstDash val="solid"/>
            <a:tailEnd type="triangle" w="lg" len="med"/>
          </a:ln>
          <a:effectLst/>
        </p:spPr>
      </p:cxnSp>
      <p:cxnSp>
        <p:nvCxnSpPr>
          <p:cNvPr id="72" name="Straight Arrow Connector 71"/>
          <p:cNvCxnSpPr/>
          <p:nvPr/>
        </p:nvCxnSpPr>
        <p:spPr>
          <a:xfrm>
            <a:off x="6120353" y="4147333"/>
            <a:ext cx="299077" cy="0"/>
          </a:xfrm>
          <a:prstGeom prst="straightConnector1">
            <a:avLst/>
          </a:prstGeom>
          <a:noFill/>
          <a:ln w="28575" cap="flat" cmpd="sng" algn="ctr">
            <a:solidFill>
              <a:srgbClr val="0070C0"/>
            </a:solidFill>
            <a:prstDash val="solid"/>
            <a:tailEnd type="triangle" w="lg" len="med"/>
          </a:ln>
          <a:effectLst/>
        </p:spPr>
      </p:cxnSp>
      <p:cxnSp>
        <p:nvCxnSpPr>
          <p:cNvPr id="73" name="Straight Arrow Connector 72"/>
          <p:cNvCxnSpPr/>
          <p:nvPr/>
        </p:nvCxnSpPr>
        <p:spPr>
          <a:xfrm>
            <a:off x="4884495" y="3941217"/>
            <a:ext cx="299077" cy="0"/>
          </a:xfrm>
          <a:prstGeom prst="straightConnector1">
            <a:avLst/>
          </a:prstGeom>
          <a:noFill/>
          <a:ln w="28575" cap="flat" cmpd="sng" algn="ctr">
            <a:solidFill>
              <a:srgbClr val="0070C0"/>
            </a:solidFill>
            <a:prstDash val="solid"/>
            <a:tailEnd type="triangle" w="lg" len="med"/>
          </a:ln>
          <a:effectLst/>
        </p:spPr>
      </p:cxnSp>
      <p:cxnSp>
        <p:nvCxnSpPr>
          <p:cNvPr id="74" name="Straight Arrow Connector 73"/>
          <p:cNvCxnSpPr/>
          <p:nvPr/>
        </p:nvCxnSpPr>
        <p:spPr>
          <a:xfrm>
            <a:off x="6432028" y="4665037"/>
            <a:ext cx="299077" cy="0"/>
          </a:xfrm>
          <a:prstGeom prst="straightConnector1">
            <a:avLst/>
          </a:prstGeom>
          <a:noFill/>
          <a:ln w="28575" cap="flat" cmpd="sng" algn="ctr">
            <a:solidFill>
              <a:srgbClr val="0070C0"/>
            </a:solidFill>
            <a:prstDash val="solid"/>
            <a:tailEnd type="triangle" w="lg" len="med"/>
          </a:ln>
          <a:effectLst/>
        </p:spPr>
      </p:cxnSp>
      <p:cxnSp>
        <p:nvCxnSpPr>
          <p:cNvPr id="75" name="Straight Arrow Connector 74"/>
          <p:cNvCxnSpPr/>
          <p:nvPr/>
        </p:nvCxnSpPr>
        <p:spPr>
          <a:xfrm>
            <a:off x="6560798" y="4471364"/>
            <a:ext cx="299077" cy="0"/>
          </a:xfrm>
          <a:prstGeom prst="straightConnector1">
            <a:avLst/>
          </a:prstGeom>
          <a:noFill/>
          <a:ln w="28575" cap="flat" cmpd="sng" algn="ctr">
            <a:solidFill>
              <a:srgbClr val="0070C0"/>
            </a:solidFill>
            <a:prstDash val="solid"/>
            <a:tailEnd type="triangle" w="lg" len="med"/>
          </a:ln>
          <a:effectLst/>
        </p:spPr>
      </p:cxnSp>
      <p:cxnSp>
        <p:nvCxnSpPr>
          <p:cNvPr id="76" name="Straight Arrow Connector 75"/>
          <p:cNvCxnSpPr/>
          <p:nvPr/>
        </p:nvCxnSpPr>
        <p:spPr>
          <a:xfrm>
            <a:off x="5369627" y="4723397"/>
            <a:ext cx="299077" cy="0"/>
          </a:xfrm>
          <a:prstGeom prst="straightConnector1">
            <a:avLst/>
          </a:prstGeom>
          <a:noFill/>
          <a:ln w="28575" cap="flat" cmpd="sng" algn="ctr">
            <a:solidFill>
              <a:srgbClr val="0070C0"/>
            </a:solidFill>
            <a:prstDash val="solid"/>
            <a:tailEnd type="triangle" w="lg" len="med"/>
          </a:ln>
          <a:effectLst/>
        </p:spPr>
      </p:cxnSp>
      <p:cxnSp>
        <p:nvCxnSpPr>
          <p:cNvPr id="77" name="Straight Arrow Connector 76"/>
          <p:cNvCxnSpPr/>
          <p:nvPr/>
        </p:nvCxnSpPr>
        <p:spPr>
          <a:xfrm>
            <a:off x="5568998" y="4471364"/>
            <a:ext cx="299077" cy="0"/>
          </a:xfrm>
          <a:prstGeom prst="straightConnector1">
            <a:avLst/>
          </a:prstGeom>
          <a:noFill/>
          <a:ln w="28575" cap="flat" cmpd="sng" algn="ctr">
            <a:solidFill>
              <a:srgbClr val="0070C0"/>
            </a:solidFill>
            <a:prstDash val="solid"/>
            <a:tailEnd type="triangle" w="lg" len="med"/>
          </a:ln>
          <a:effectLst/>
        </p:spPr>
      </p:cxnSp>
      <p:cxnSp>
        <p:nvCxnSpPr>
          <p:cNvPr id="78" name="Straight Arrow Connector 77"/>
          <p:cNvCxnSpPr/>
          <p:nvPr/>
        </p:nvCxnSpPr>
        <p:spPr>
          <a:xfrm>
            <a:off x="5480446" y="4591437"/>
            <a:ext cx="299077" cy="0"/>
          </a:xfrm>
          <a:prstGeom prst="straightConnector1">
            <a:avLst/>
          </a:prstGeom>
          <a:noFill/>
          <a:ln w="28575" cap="flat" cmpd="sng" algn="ctr">
            <a:solidFill>
              <a:srgbClr val="0070C0"/>
            </a:solidFill>
            <a:prstDash val="solid"/>
            <a:tailEnd type="triangle" w="lg" len="med"/>
          </a:ln>
          <a:effectLst/>
        </p:spPr>
      </p:cxnSp>
      <p:sp>
        <p:nvSpPr>
          <p:cNvPr id="36"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 and to capture the daily issues (variance from the standard)</a:t>
            </a:r>
          </a:p>
        </p:txBody>
      </p:sp>
    </p:spTree>
    <p:extLst>
      <p:ext uri="{BB962C8B-B14F-4D97-AF65-F5344CB8AC3E}">
        <p14:creationId xmlns:p14="http://schemas.microsoft.com/office/powerpoint/2010/main" val="201922681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13467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4" name="Rectangle 2"/>
          <p:cNvSpPr>
            <a:spLocks noChangeArrowheads="1"/>
          </p:cNvSpPr>
          <p:nvPr/>
        </p:nvSpPr>
        <p:spPr bwMode="auto">
          <a:xfrm>
            <a:off x="4565822" y="1260273"/>
            <a:ext cx="4320000" cy="5033380"/>
          </a:xfrm>
          <a:prstGeom prst="rect">
            <a:avLst/>
          </a:prstGeom>
          <a:solidFill>
            <a:schemeClr val="bg1"/>
          </a:solidFill>
          <a:ln w="0" algn="ctr">
            <a:solidFill>
              <a:schemeClr val="tx1"/>
            </a:solidFill>
            <a:miter lim="800000"/>
            <a:headEnd/>
            <a:tailEnd/>
          </a:ln>
        </p:spPr>
        <p:txBody>
          <a:bodyPr wrap="none" lIns="0" tIns="0" rIns="0" bIns="0" anchor="ctr"/>
          <a:lstStyle/>
          <a:p>
            <a:endParaRPr lang="en-US">
              <a:solidFill>
                <a:schemeClr val="accent1"/>
              </a:solidFill>
            </a:endParaRPr>
          </a:p>
        </p:txBody>
      </p:sp>
      <p:sp>
        <p:nvSpPr>
          <p:cNvPr id="3" name="Down Arrow 2"/>
          <p:cNvSpPr/>
          <p:nvPr/>
        </p:nvSpPr>
        <p:spPr bwMode="auto">
          <a:xfrm>
            <a:off x="6462793" y="2100934"/>
            <a:ext cx="520700" cy="491762"/>
          </a:xfrm>
          <a:prstGeom prst="downArrow">
            <a:avLst/>
          </a:prstGeom>
          <a:solidFill>
            <a:srgbClr val="00A1D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smtClean="0">
              <a:ln>
                <a:noFill/>
              </a:ln>
              <a:solidFill>
                <a:schemeClr val="tx1"/>
              </a:solidFill>
              <a:effectLst/>
              <a:latin typeface="Arial" charset="0"/>
            </a:endParaRPr>
          </a:p>
        </p:txBody>
      </p:sp>
      <p:sp>
        <p:nvSpPr>
          <p:cNvPr id="15" name="Rectangle 14"/>
          <p:cNvSpPr/>
          <p:nvPr/>
        </p:nvSpPr>
        <p:spPr>
          <a:xfrm>
            <a:off x="361950" y="1282038"/>
            <a:ext cx="3905251" cy="4932733"/>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lvl="0" indent="-342900" defTabSz="895350">
              <a:spcAft>
                <a:spcPts val="400"/>
              </a:spcAft>
              <a:buFont typeface="Wingdings" panose="05000000000000000000" pitchFamily="2" charset="2"/>
              <a:buChar char="§"/>
            </a:pPr>
            <a:r>
              <a:rPr lang="en-US" sz="1600" b="0" dirty="0" smtClean="0">
                <a:solidFill>
                  <a:srgbClr val="002776"/>
                </a:solidFill>
              </a:rPr>
              <a:t>In </a:t>
            </a:r>
            <a:r>
              <a:rPr lang="en-US" sz="1600" b="0" dirty="0">
                <a:solidFill>
                  <a:srgbClr val="002776"/>
                </a:solidFill>
              </a:rPr>
              <a:t>a visual workplace, the goal is to create an environment that is </a:t>
            </a:r>
            <a:r>
              <a:rPr lang="en-US" sz="1600" dirty="0">
                <a:solidFill>
                  <a:srgbClr val="002776"/>
                </a:solidFill>
              </a:rPr>
              <a:t>“self-explaining, self-ordering, and self-improving.”</a:t>
            </a:r>
          </a:p>
          <a:p>
            <a:pPr marL="342900" lvl="0" indent="-342900" defTabSz="895350">
              <a:spcAft>
                <a:spcPts val="400"/>
              </a:spcAft>
              <a:buFont typeface="Wingdings" panose="05000000000000000000" pitchFamily="2" charset="2"/>
              <a:buChar char="§"/>
            </a:pPr>
            <a:r>
              <a:rPr lang="en-US" sz="1600" dirty="0">
                <a:solidFill>
                  <a:srgbClr val="002776"/>
                </a:solidFill>
              </a:rPr>
              <a:t>Information is shared</a:t>
            </a:r>
            <a:r>
              <a:rPr lang="en-US" sz="1600" b="0" dirty="0">
                <a:solidFill>
                  <a:srgbClr val="002776"/>
                </a:solidFill>
              </a:rPr>
              <a:t>, to </a:t>
            </a:r>
            <a:r>
              <a:rPr lang="en-US" sz="1600" b="0" dirty="0" smtClean="0">
                <a:solidFill>
                  <a:srgbClr val="002776"/>
                </a:solidFill>
              </a:rPr>
              <a:t>enable </a:t>
            </a:r>
            <a:r>
              <a:rPr lang="en-US" sz="1600" b="0" dirty="0">
                <a:solidFill>
                  <a:srgbClr val="002776"/>
                </a:solidFill>
              </a:rPr>
              <a:t>rapid understanding of:</a:t>
            </a:r>
          </a:p>
          <a:p>
            <a:pPr marL="641350" lvl="1" indent="-285750" defTabSz="895350">
              <a:spcAft>
                <a:spcPts val="400"/>
              </a:spcAft>
              <a:buFont typeface="Symbol" pitchFamily="18" charset="2"/>
              <a:buChar char="-"/>
            </a:pPr>
            <a:r>
              <a:rPr lang="en-US" sz="1600" b="0" dirty="0">
                <a:solidFill>
                  <a:srgbClr val="002776"/>
                </a:solidFill>
              </a:rPr>
              <a:t>Current operational performance</a:t>
            </a:r>
          </a:p>
          <a:p>
            <a:pPr marL="641350" lvl="1" indent="-285750" defTabSz="895350">
              <a:spcAft>
                <a:spcPts val="400"/>
              </a:spcAft>
              <a:buFont typeface="Symbol" pitchFamily="18" charset="2"/>
              <a:buChar char="-"/>
            </a:pPr>
            <a:r>
              <a:rPr lang="en-US" sz="1600" b="0" dirty="0">
                <a:solidFill>
                  <a:srgbClr val="002776"/>
                </a:solidFill>
              </a:rPr>
              <a:t>What the core process is</a:t>
            </a:r>
          </a:p>
          <a:p>
            <a:pPr marL="641350" lvl="1" indent="-285750" defTabSz="895350">
              <a:spcAft>
                <a:spcPts val="400"/>
              </a:spcAft>
              <a:buFont typeface="Symbol" pitchFamily="18" charset="2"/>
              <a:buChar char="-"/>
            </a:pPr>
            <a:r>
              <a:rPr lang="en-US" sz="1600" b="0" dirty="0">
                <a:solidFill>
                  <a:srgbClr val="002776"/>
                </a:solidFill>
              </a:rPr>
              <a:t>Performance against plan</a:t>
            </a:r>
          </a:p>
          <a:p>
            <a:pPr marL="641350" lvl="1" indent="-285750" defTabSz="895350">
              <a:spcAft>
                <a:spcPts val="400"/>
              </a:spcAft>
              <a:buFont typeface="Symbol" pitchFamily="18" charset="2"/>
              <a:buChar char="-"/>
            </a:pPr>
            <a:r>
              <a:rPr lang="en-US" sz="1600" b="0" dirty="0">
                <a:solidFill>
                  <a:srgbClr val="002776"/>
                </a:solidFill>
              </a:rPr>
              <a:t>Problems and what is being done to address them</a:t>
            </a:r>
          </a:p>
          <a:p>
            <a:pPr marL="285750" indent="-285750" eaLnBrk="0" hangingPunct="0">
              <a:spcAft>
                <a:spcPts val="400"/>
              </a:spcAft>
              <a:buFont typeface="Wingdings" panose="05000000000000000000" pitchFamily="2" charset="2"/>
              <a:buChar char="§"/>
              <a:tabLst>
                <a:tab pos="0" algn="l"/>
              </a:tabLst>
            </a:pPr>
            <a:r>
              <a:rPr lang="en-GB" sz="1600" b="0" dirty="0" smtClean="0">
                <a:solidFill>
                  <a:srgbClr val="002776"/>
                </a:solidFill>
              </a:rPr>
              <a:t>Shows the </a:t>
            </a:r>
            <a:r>
              <a:rPr lang="en-GB" sz="1600" b="0" dirty="0">
                <a:solidFill>
                  <a:srgbClr val="002776"/>
                </a:solidFill>
              </a:rPr>
              <a:t>‘</a:t>
            </a:r>
            <a:r>
              <a:rPr lang="en-GB" sz="1600" dirty="0">
                <a:solidFill>
                  <a:srgbClr val="002776"/>
                </a:solidFill>
              </a:rPr>
              <a:t>eye of the customer</a:t>
            </a:r>
            <a:r>
              <a:rPr lang="en-GB" sz="1600" b="0" dirty="0">
                <a:solidFill>
                  <a:srgbClr val="002776"/>
                </a:solidFill>
              </a:rPr>
              <a:t>’</a:t>
            </a:r>
          </a:p>
          <a:p>
            <a:pPr marL="285750" indent="-285750" eaLnBrk="0" hangingPunct="0">
              <a:spcAft>
                <a:spcPts val="400"/>
              </a:spcAft>
              <a:buFont typeface="Wingdings" panose="05000000000000000000" pitchFamily="2" charset="2"/>
              <a:buChar char="§"/>
              <a:tabLst>
                <a:tab pos="0" algn="l"/>
              </a:tabLst>
            </a:pPr>
            <a:r>
              <a:rPr lang="en-GB" sz="1600" b="0" dirty="0" smtClean="0">
                <a:solidFill>
                  <a:srgbClr val="002776"/>
                </a:solidFill>
              </a:rPr>
              <a:t>Facilitates </a:t>
            </a:r>
            <a:r>
              <a:rPr lang="en-GB" sz="1600" dirty="0">
                <a:solidFill>
                  <a:srgbClr val="002776"/>
                </a:solidFill>
              </a:rPr>
              <a:t>team communication </a:t>
            </a:r>
            <a:r>
              <a:rPr lang="en-GB" sz="1600" b="0" dirty="0">
                <a:solidFill>
                  <a:srgbClr val="002776"/>
                </a:solidFill>
              </a:rPr>
              <a:t>and </a:t>
            </a:r>
            <a:r>
              <a:rPr lang="en-GB" sz="1600" b="0" dirty="0" smtClean="0">
                <a:solidFill>
                  <a:srgbClr val="002776"/>
                </a:solidFill>
              </a:rPr>
              <a:t>should be the </a:t>
            </a:r>
            <a:r>
              <a:rPr lang="en-GB" sz="1600" b="0" dirty="0">
                <a:solidFill>
                  <a:srgbClr val="002776"/>
                </a:solidFill>
              </a:rPr>
              <a:t>focal point of team </a:t>
            </a:r>
            <a:r>
              <a:rPr lang="en-GB" sz="1600" b="0" dirty="0" smtClean="0">
                <a:solidFill>
                  <a:srgbClr val="002776"/>
                </a:solidFill>
              </a:rPr>
              <a:t>meetings</a:t>
            </a:r>
          </a:p>
          <a:p>
            <a:pPr marL="285750" indent="-285750" eaLnBrk="0" hangingPunct="0">
              <a:spcAft>
                <a:spcPts val="400"/>
              </a:spcAft>
              <a:buFont typeface="Wingdings" panose="05000000000000000000" pitchFamily="2" charset="2"/>
              <a:buChar char="§"/>
              <a:tabLst>
                <a:tab pos="0" algn="l"/>
              </a:tabLst>
            </a:pPr>
            <a:r>
              <a:rPr lang="en-GB" sz="1600" b="0" dirty="0" smtClean="0">
                <a:solidFill>
                  <a:srgbClr val="002776"/>
                </a:solidFill>
              </a:rPr>
              <a:t>Helps underpin a CI </a:t>
            </a:r>
            <a:r>
              <a:rPr lang="en-GB" sz="1600" b="0" dirty="0">
                <a:solidFill>
                  <a:srgbClr val="002776"/>
                </a:solidFill>
              </a:rPr>
              <a:t>journey and empower </a:t>
            </a:r>
            <a:r>
              <a:rPr lang="en-GB" sz="1600" b="0" dirty="0" smtClean="0">
                <a:solidFill>
                  <a:srgbClr val="002776"/>
                </a:solidFill>
              </a:rPr>
              <a:t>employees to </a:t>
            </a:r>
            <a:r>
              <a:rPr lang="en-GB" sz="1600" b="0" dirty="0">
                <a:solidFill>
                  <a:srgbClr val="002776"/>
                </a:solidFill>
              </a:rPr>
              <a:t>deliver improvement</a:t>
            </a:r>
          </a:p>
          <a:p>
            <a:pPr marL="177800" indent="-177800" eaLnBrk="0" hangingPunct="0">
              <a:spcAft>
                <a:spcPts val="400"/>
              </a:spcAft>
              <a:buFont typeface="Arial" pitchFamily="34" charset="0"/>
              <a:buChar char="•"/>
              <a:tabLst>
                <a:tab pos="0" algn="l"/>
              </a:tabLst>
            </a:pPr>
            <a:endParaRPr lang="en-GB" sz="1400" b="0" dirty="0">
              <a:solidFill>
                <a:srgbClr val="002776"/>
              </a:solidFill>
            </a:endParaRPr>
          </a:p>
        </p:txBody>
      </p:sp>
      <p:sp>
        <p:nvSpPr>
          <p:cNvPr id="16" name="Slide Number Placeholder 3"/>
          <p:cNvSpPr txBox="1">
            <a:spLocks/>
          </p:cNvSpPr>
          <p:nvPr/>
        </p:nvSpPr>
        <p:spPr bwMode="auto">
          <a:xfrm>
            <a:off x="4699000" y="6367834"/>
            <a:ext cx="847725" cy="212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25" name="Title 1"/>
          <p:cNvSpPr>
            <a:spLocks noGrp="1"/>
          </p:cNvSpPr>
          <p:nvPr>
            <p:ph type="title"/>
          </p:nvPr>
        </p:nvSpPr>
        <p:spPr/>
        <p:txBody>
          <a:bodyPr/>
          <a:lstStyle/>
          <a:p>
            <a:pPr lvl="0" eaLnBrk="1" hangingPunct="1"/>
            <a:r>
              <a:rPr lang="en-US" sz="2400" dirty="0"/>
              <a:t>Lean management tools &amp; techniques</a:t>
            </a:r>
            <a:r>
              <a:rPr lang="en-GB" dirty="0" smtClean="0"/>
              <a:t/>
            </a:r>
            <a:br>
              <a:rPr lang="en-GB" dirty="0" smtClean="0"/>
            </a:br>
            <a:r>
              <a:rPr lang="en-GB" sz="1800" b="1" dirty="0">
                <a:solidFill>
                  <a:srgbClr val="99CC33"/>
                </a:solidFill>
                <a:cs typeface="Arial" pitchFamily="34" charset="0"/>
              </a:rPr>
              <a:t>Visual Management </a:t>
            </a:r>
            <a:r>
              <a:rPr lang="en-GB" sz="1800" b="1" dirty="0" smtClean="0">
                <a:solidFill>
                  <a:srgbClr val="99CC33"/>
                </a:solidFill>
                <a:cs typeface="Arial" pitchFamily="34" charset="0"/>
              </a:rPr>
              <a:t>– the power of visual management is often neglected</a:t>
            </a:r>
            <a:endParaRPr lang="en-GB" sz="1800" dirty="0" smtClean="0"/>
          </a:p>
        </p:txBody>
      </p:sp>
      <p:sp>
        <p:nvSpPr>
          <p:cNvPr id="21" name="Slide Number Placeholder 3"/>
          <p:cNvSpPr>
            <a:spLocks noGrp="1"/>
          </p:cNvSpPr>
          <p:nvPr>
            <p:ph type="sldNum" sz="quarter" idx="11"/>
          </p:nvPr>
        </p:nvSpPr>
        <p:spPr>
          <a:xfrm>
            <a:off x="254000" y="6492875"/>
            <a:ext cx="847725" cy="212725"/>
          </a:xfrm>
        </p:spPr>
        <p:txBody>
          <a:bodyPr/>
          <a:lstStyle/>
          <a:p>
            <a:pPr>
              <a:defRPr/>
            </a:pPr>
            <a:fld id="{C5F14C61-931A-4236-A27B-A4A5BA7BA053}" type="slidenum">
              <a:rPr lang="en-GB"/>
              <a:pPr>
                <a:defRPr/>
              </a:pPr>
              <a:t>49</a:t>
            </a:fld>
            <a:endParaRPr lang="en-GB" dirty="0"/>
          </a:p>
        </p:txBody>
      </p:sp>
      <p:grpSp>
        <p:nvGrpSpPr>
          <p:cNvPr id="2" name="Group 1"/>
          <p:cNvGrpSpPr/>
          <p:nvPr/>
        </p:nvGrpSpPr>
        <p:grpSpPr>
          <a:xfrm>
            <a:off x="4717144" y="2704951"/>
            <a:ext cx="4045299" cy="2271193"/>
            <a:chOff x="4121974" y="1458455"/>
            <a:chExt cx="4811652" cy="2271193"/>
          </a:xfrm>
        </p:grpSpPr>
        <p:sp>
          <p:nvSpPr>
            <p:cNvPr id="26" name="Rectangle 25"/>
            <p:cNvSpPr/>
            <p:nvPr/>
          </p:nvSpPr>
          <p:spPr>
            <a:xfrm>
              <a:off x="4218779" y="1785583"/>
              <a:ext cx="1674900" cy="557720"/>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080808"/>
                  </a:solidFill>
                </a:rPr>
                <a:t>Quality cost and delivery measures (KPIs)</a:t>
              </a:r>
            </a:p>
          </p:txBody>
        </p:sp>
        <p:sp>
          <p:nvSpPr>
            <p:cNvPr id="27" name="Rectangle 26"/>
            <p:cNvSpPr/>
            <p:nvPr/>
          </p:nvSpPr>
          <p:spPr>
            <a:xfrm>
              <a:off x="4134674" y="1719873"/>
              <a:ext cx="4798952" cy="2009775"/>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4625" indent="-174625"/>
              <a:endParaRPr lang="en-GB" sz="700" dirty="0">
                <a:solidFill>
                  <a:schemeClr val="tx1"/>
                </a:solidFill>
              </a:endParaRPr>
            </a:p>
          </p:txBody>
        </p:sp>
        <p:sp>
          <p:nvSpPr>
            <p:cNvPr id="28" name="Rectangle 27"/>
            <p:cNvSpPr/>
            <p:nvPr/>
          </p:nvSpPr>
          <p:spPr>
            <a:xfrm>
              <a:off x="6102169" y="1785583"/>
              <a:ext cx="1256175" cy="540000"/>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080808"/>
                  </a:solidFill>
                </a:rPr>
                <a:t>Standard operations</a:t>
              </a:r>
            </a:p>
          </p:txBody>
        </p:sp>
        <p:sp>
          <p:nvSpPr>
            <p:cNvPr id="29" name="Rectangle 28"/>
            <p:cNvSpPr/>
            <p:nvPr/>
          </p:nvSpPr>
          <p:spPr>
            <a:xfrm>
              <a:off x="6102169" y="3128013"/>
              <a:ext cx="1256175" cy="540000"/>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080808"/>
                  </a:solidFill>
                </a:rPr>
                <a:t>Standard daily huddle update</a:t>
              </a:r>
            </a:p>
          </p:txBody>
        </p:sp>
        <p:sp>
          <p:nvSpPr>
            <p:cNvPr id="30" name="Rectangle 29"/>
            <p:cNvSpPr/>
            <p:nvPr/>
          </p:nvSpPr>
          <p:spPr>
            <a:xfrm>
              <a:off x="4218779" y="3110293"/>
              <a:ext cx="1674900" cy="557720"/>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smtClean="0">
                  <a:solidFill>
                    <a:srgbClr val="080808"/>
                  </a:solidFill>
                </a:rPr>
                <a:t>People information </a:t>
              </a:r>
              <a:endParaRPr lang="en-GB" sz="900" dirty="0">
                <a:solidFill>
                  <a:srgbClr val="080808"/>
                </a:solidFill>
              </a:endParaRPr>
            </a:p>
          </p:txBody>
        </p:sp>
        <p:sp>
          <p:nvSpPr>
            <p:cNvPr id="31" name="Rectangle 30"/>
            <p:cNvSpPr/>
            <p:nvPr/>
          </p:nvSpPr>
          <p:spPr>
            <a:xfrm>
              <a:off x="7545087" y="1785583"/>
              <a:ext cx="1265623" cy="1882430"/>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080808"/>
                  </a:solidFill>
                </a:rPr>
                <a:t>Ideas Board</a:t>
              </a:r>
            </a:p>
          </p:txBody>
        </p:sp>
        <p:sp>
          <p:nvSpPr>
            <p:cNvPr id="32" name="Rectangle 31"/>
            <p:cNvSpPr/>
            <p:nvPr/>
          </p:nvSpPr>
          <p:spPr>
            <a:xfrm>
              <a:off x="4218779" y="2447938"/>
              <a:ext cx="1674900" cy="557720"/>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080808"/>
                  </a:solidFill>
                </a:rPr>
                <a:t>Relevant performance metrics</a:t>
              </a:r>
            </a:p>
          </p:txBody>
        </p:sp>
        <p:sp>
          <p:nvSpPr>
            <p:cNvPr id="33" name="Rectangle 32"/>
            <p:cNvSpPr/>
            <p:nvPr/>
          </p:nvSpPr>
          <p:spPr>
            <a:xfrm>
              <a:off x="6102169" y="2456798"/>
              <a:ext cx="1256175" cy="540000"/>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smtClean="0">
                  <a:solidFill>
                    <a:srgbClr val="080808"/>
                  </a:solidFill>
                </a:rPr>
                <a:t>5S update</a:t>
              </a:r>
              <a:endParaRPr lang="en-GB" sz="900" dirty="0">
                <a:solidFill>
                  <a:srgbClr val="080808"/>
                </a:solidFill>
              </a:endParaRPr>
            </a:p>
          </p:txBody>
        </p:sp>
        <p:sp>
          <p:nvSpPr>
            <p:cNvPr id="41" name="Rectangle 40"/>
            <p:cNvSpPr/>
            <p:nvPr/>
          </p:nvSpPr>
          <p:spPr>
            <a:xfrm>
              <a:off x="4121974" y="1458455"/>
              <a:ext cx="4810125" cy="252000"/>
            </a:xfrm>
            <a:prstGeom prst="rect">
              <a:avLst/>
            </a:prstGeom>
            <a:solidFill>
              <a:srgbClr val="00A1DE"/>
            </a:solidFill>
            <a:ln w="12700">
              <a:solidFill>
                <a:srgbClr val="00A1DE"/>
              </a:solidFill>
              <a:miter lim="800000"/>
              <a:headEnd/>
              <a:tailEnd/>
            </a:ln>
            <a:effectLst/>
          </p:spPr>
          <p:txBody>
            <a:bodyPr wrap="none" lIns="54000" tIns="36000" rIns="36000" bIns="36000" anchor="ctr"/>
            <a:lstStyle/>
            <a:p>
              <a:pPr algn="ctr"/>
              <a:r>
                <a:rPr lang="en-GB" sz="1400" dirty="0">
                  <a:solidFill>
                    <a:schemeClr val="bg1"/>
                  </a:solidFill>
                  <a:latin typeface="+mj-lt"/>
                  <a:cs typeface="Arial" pitchFamily="34" charset="0"/>
                </a:rPr>
                <a:t>Operations Hub</a:t>
              </a:r>
            </a:p>
          </p:txBody>
        </p:sp>
      </p:grpSp>
      <p:sp>
        <p:nvSpPr>
          <p:cNvPr id="43" name="TextBox 42"/>
          <p:cNvSpPr txBox="1"/>
          <p:nvPr/>
        </p:nvSpPr>
        <p:spPr>
          <a:xfrm>
            <a:off x="4637168" y="1304379"/>
            <a:ext cx="4171950" cy="815608"/>
          </a:xfrm>
          <a:prstGeom prst="rect">
            <a:avLst/>
          </a:prstGeom>
          <a:noFill/>
        </p:spPr>
        <p:txBody>
          <a:bodyPr wrap="square" rtlCol="0">
            <a:spAutoFit/>
          </a:bodyPr>
          <a:lstStyle/>
          <a:p>
            <a:pPr algn="ctr">
              <a:spcAft>
                <a:spcPts val="600"/>
              </a:spcAft>
            </a:pPr>
            <a:r>
              <a:rPr lang="en-GB" sz="1400" b="1" dirty="0" smtClean="0">
                <a:solidFill>
                  <a:schemeClr val="accent1"/>
                </a:solidFill>
              </a:rPr>
              <a:t>Builds ownership and understanding of the inputs</a:t>
            </a:r>
          </a:p>
          <a:p>
            <a:pPr algn="ctr">
              <a:spcAft>
                <a:spcPts val="600"/>
              </a:spcAft>
            </a:pPr>
            <a:r>
              <a:rPr lang="en-GB" sz="1400" dirty="0" smtClean="0">
                <a:solidFill>
                  <a:schemeClr val="accent1"/>
                </a:solidFill>
              </a:rPr>
              <a:t>Focuses people on collecting relevant data</a:t>
            </a:r>
            <a:endParaRPr lang="en-GB" sz="1400" dirty="0">
              <a:solidFill>
                <a:schemeClr val="accent1"/>
              </a:solidFill>
            </a:endParaRPr>
          </a:p>
        </p:txBody>
      </p:sp>
      <p:sp>
        <p:nvSpPr>
          <p:cNvPr id="44" name="Down Arrow 43"/>
          <p:cNvSpPr/>
          <p:nvPr/>
        </p:nvSpPr>
        <p:spPr bwMode="auto">
          <a:xfrm>
            <a:off x="6462793" y="5110834"/>
            <a:ext cx="520700" cy="491762"/>
          </a:xfrm>
          <a:prstGeom prst="downArrow">
            <a:avLst/>
          </a:prstGeom>
          <a:solidFill>
            <a:srgbClr val="00A1D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smtClean="0">
              <a:ln>
                <a:noFill/>
              </a:ln>
              <a:solidFill>
                <a:schemeClr val="tx1"/>
              </a:solidFill>
              <a:effectLst/>
              <a:latin typeface="Arial" charset="0"/>
            </a:endParaRPr>
          </a:p>
        </p:txBody>
      </p:sp>
      <p:sp>
        <p:nvSpPr>
          <p:cNvPr id="45" name="TextBox 44"/>
          <p:cNvSpPr txBox="1"/>
          <p:nvPr/>
        </p:nvSpPr>
        <p:spPr>
          <a:xfrm>
            <a:off x="4996895" y="5631534"/>
            <a:ext cx="3452496" cy="600164"/>
          </a:xfrm>
          <a:prstGeom prst="rect">
            <a:avLst/>
          </a:prstGeom>
          <a:noFill/>
        </p:spPr>
        <p:txBody>
          <a:bodyPr wrap="square" rtlCol="0">
            <a:spAutoFit/>
          </a:bodyPr>
          <a:lstStyle/>
          <a:p>
            <a:pPr algn="ctr">
              <a:spcAft>
                <a:spcPts val="600"/>
              </a:spcAft>
            </a:pPr>
            <a:r>
              <a:rPr lang="en-GB" sz="1400" b="1" dirty="0" smtClean="0">
                <a:solidFill>
                  <a:schemeClr val="accent1"/>
                </a:solidFill>
              </a:rPr>
              <a:t>Cascades information</a:t>
            </a:r>
          </a:p>
          <a:p>
            <a:pPr algn="ctr">
              <a:spcAft>
                <a:spcPts val="600"/>
              </a:spcAft>
            </a:pPr>
            <a:r>
              <a:rPr lang="en-GB" sz="1400" dirty="0" smtClean="0">
                <a:solidFill>
                  <a:schemeClr val="accent1"/>
                </a:solidFill>
              </a:rPr>
              <a:t>Escalates issues and drives actions</a:t>
            </a:r>
            <a:endParaRPr lang="en-GB" sz="1400" dirty="0">
              <a:solidFill>
                <a:schemeClr val="accent1"/>
              </a:solidFill>
            </a:endParaRPr>
          </a:p>
        </p:txBody>
      </p:sp>
    </p:spTree>
    <p:extLst>
      <p:ext uri="{BB962C8B-B14F-4D97-AF65-F5344CB8AC3E}">
        <p14:creationId xmlns:p14="http://schemas.microsoft.com/office/powerpoint/2010/main" val="41677644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AutoShape 2"/>
          <p:cNvSpPr>
            <a:spLocks noChangeArrowheads="1"/>
          </p:cNvSpPr>
          <p:nvPr/>
        </p:nvSpPr>
        <p:spPr bwMode="gray">
          <a:xfrm>
            <a:off x="468313" y="989013"/>
            <a:ext cx="8280400" cy="1079500"/>
          </a:xfrm>
          <a:prstGeom prst="homePlate">
            <a:avLst>
              <a:gd name="adj" fmla="val 30150"/>
            </a:avLst>
          </a:prstGeom>
          <a:solidFill>
            <a:srgbClr val="B2B2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aphicFrame>
        <p:nvGraphicFramePr>
          <p:cNvPr id="65" name="Group 5"/>
          <p:cNvGraphicFramePr>
            <a:graphicFrameLocks noGrp="1"/>
          </p:cNvGraphicFramePr>
          <p:nvPr>
            <p:extLst>
              <p:ext uri="{D42A27DB-BD31-4B8C-83A1-F6EECF244321}">
                <p14:modId xmlns:p14="http://schemas.microsoft.com/office/powerpoint/2010/main" val="807335230"/>
              </p:ext>
            </p:extLst>
          </p:nvPr>
        </p:nvGraphicFramePr>
        <p:xfrm>
          <a:off x="611188"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1"/>
                          </a:solidFill>
                          <a:effectLst/>
                          <a:latin typeface="Arial" pitchFamily="34" charset="0"/>
                          <a:cs typeface="Arial" pitchFamily="34" charset="0"/>
                        </a:rPr>
                        <a:t>Week -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66" name="Group 40"/>
          <p:cNvGraphicFramePr>
            <a:graphicFrameLocks noGrp="1"/>
          </p:cNvGraphicFramePr>
          <p:nvPr>
            <p:extLst>
              <p:ext uri="{D42A27DB-BD31-4B8C-83A1-F6EECF244321}">
                <p14:modId xmlns:p14="http://schemas.microsoft.com/office/powerpoint/2010/main" val="4019166608"/>
              </p:ext>
            </p:extLst>
          </p:nvPr>
        </p:nvGraphicFramePr>
        <p:xfrm>
          <a:off x="1906588"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1</a:t>
                      </a:r>
                    </a:p>
                  </a:txBody>
                  <a:tcPr marL="0" marR="0" marT="0" marB="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67" name="Group 75"/>
          <p:cNvGraphicFramePr>
            <a:graphicFrameLocks noGrp="1"/>
          </p:cNvGraphicFramePr>
          <p:nvPr>
            <p:extLst>
              <p:ext uri="{D42A27DB-BD31-4B8C-83A1-F6EECF244321}">
                <p14:modId xmlns:p14="http://schemas.microsoft.com/office/powerpoint/2010/main" val="1457157599"/>
              </p:ext>
            </p:extLst>
          </p:nvPr>
        </p:nvGraphicFramePr>
        <p:xfrm>
          <a:off x="3201988"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2</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68" name="Group 110"/>
          <p:cNvGraphicFramePr>
            <a:graphicFrameLocks noGrp="1"/>
          </p:cNvGraphicFramePr>
          <p:nvPr>
            <p:extLst>
              <p:ext uri="{D42A27DB-BD31-4B8C-83A1-F6EECF244321}">
                <p14:modId xmlns:p14="http://schemas.microsoft.com/office/powerpoint/2010/main" val="3276024818"/>
              </p:ext>
            </p:extLst>
          </p:nvPr>
        </p:nvGraphicFramePr>
        <p:xfrm>
          <a:off x="4498975" y="1347788"/>
          <a:ext cx="1223963" cy="647701"/>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3</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69" name="Group 145"/>
          <p:cNvGraphicFramePr>
            <a:graphicFrameLocks noGrp="1"/>
          </p:cNvGraphicFramePr>
          <p:nvPr>
            <p:extLst>
              <p:ext uri="{D42A27DB-BD31-4B8C-83A1-F6EECF244321}">
                <p14:modId xmlns:p14="http://schemas.microsoft.com/office/powerpoint/2010/main" val="3972594425"/>
              </p:ext>
            </p:extLst>
          </p:nvPr>
        </p:nvGraphicFramePr>
        <p:xfrm>
          <a:off x="5794375" y="1347788"/>
          <a:ext cx="1223963" cy="647701"/>
        </p:xfrm>
        <a:graphic>
          <a:graphicData uri="http://schemas.openxmlformats.org/drawingml/2006/table">
            <a:tbl>
              <a:tblPr/>
              <a:tblGrid>
                <a:gridCol w="244475"/>
                <a:gridCol w="246063"/>
                <a:gridCol w="242887"/>
                <a:gridCol w="246063"/>
                <a:gridCol w="244475"/>
              </a:tblGrid>
              <a:tr h="144463">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1" i="0" u="none" strike="noStrike" cap="none" normalizeH="0" baseline="0" dirty="0" smtClean="0">
                          <a:ln>
                            <a:noFill/>
                          </a:ln>
                          <a:solidFill>
                            <a:schemeClr val="tx1"/>
                          </a:solidFill>
                          <a:effectLst/>
                          <a:latin typeface="Arial" pitchFamily="34" charset="0"/>
                          <a:cs typeface="Arial" pitchFamily="34" charset="0"/>
                        </a:rPr>
                        <a:t>Week 4</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W</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graphicFrame>
        <p:nvGraphicFramePr>
          <p:cNvPr id="70" name="Group 180"/>
          <p:cNvGraphicFramePr>
            <a:graphicFrameLocks noGrp="1"/>
          </p:cNvGraphicFramePr>
          <p:nvPr>
            <p:extLst>
              <p:ext uri="{D42A27DB-BD31-4B8C-83A1-F6EECF244321}">
                <p14:modId xmlns:p14="http://schemas.microsoft.com/office/powerpoint/2010/main" val="348983500"/>
              </p:ext>
            </p:extLst>
          </p:nvPr>
        </p:nvGraphicFramePr>
        <p:xfrm>
          <a:off x="7091363" y="1347788"/>
          <a:ext cx="1223962" cy="647701"/>
        </p:xfrm>
        <a:graphic>
          <a:graphicData uri="http://schemas.openxmlformats.org/drawingml/2006/table">
            <a:tbl>
              <a:tblPr/>
              <a:tblGrid>
                <a:gridCol w="244475"/>
                <a:gridCol w="246062"/>
                <a:gridCol w="242888"/>
                <a:gridCol w="246062"/>
                <a:gridCol w="244475"/>
              </a:tblGrid>
              <a:tr h="144463">
                <a:tc gridSpan="5">
                  <a:txBody>
                    <a:bodyPr/>
                    <a:lstStyle/>
                    <a:p>
                      <a:pPr marL="90488"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900" b="0" i="0" u="none" strike="noStrike" cap="none" normalizeH="0" baseline="0" dirty="0" smtClean="0">
                          <a:ln>
                            <a:noFill/>
                          </a:ln>
                          <a:solidFill>
                            <a:schemeClr val="tx1"/>
                          </a:solidFill>
                          <a:effectLst/>
                          <a:latin typeface="Arial" pitchFamily="34" charset="0"/>
                          <a:cs typeface="Arial" pitchFamily="34" charset="0"/>
                        </a:rPr>
                        <a:t>Week 5              12</a:t>
                      </a:r>
                    </a:p>
                  </a:txBody>
                  <a:tcPr marL="0" marR="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44463">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M</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GB" sz="800" b="0" i="0" u="none" strike="noStrike" cap="none" normalizeH="0" baseline="0" dirty="0" smtClean="0">
                          <a:ln>
                            <a:noFill/>
                          </a:ln>
                          <a:solidFill>
                            <a:schemeClr val="tx1"/>
                          </a:solidFill>
                          <a:effectLst/>
                          <a:latin typeface="Arial" pitchFamily="34" charset="0"/>
                          <a:cs typeface="Arial" pitchFamily="34" charset="0"/>
                        </a:rPr>
                        <a:t>T</a:t>
                      </a: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F</a:t>
                      </a:r>
                      <a:endParaRPr kumimoji="0" lang="en-GB" sz="8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r h="71438">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4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tr>
              <a:tr h="28733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5715000" algn="l"/>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5E5CC"/>
                    </a:solidFill>
                  </a:tcPr>
                </a:tc>
              </a:tr>
            </a:tbl>
          </a:graphicData>
        </a:graphic>
      </p:graphicFrame>
      <p:sp>
        <p:nvSpPr>
          <p:cNvPr id="71" name="Rectangle 215"/>
          <p:cNvSpPr>
            <a:spLocks noChangeArrowheads="1"/>
          </p:cNvSpPr>
          <p:nvPr/>
        </p:nvSpPr>
        <p:spPr bwMode="gray">
          <a:xfrm>
            <a:off x="1042988" y="1768475"/>
            <a:ext cx="1152525" cy="150813"/>
          </a:xfrm>
          <a:prstGeom prst="rect">
            <a:avLst/>
          </a:prstGeom>
          <a:solidFill>
            <a:srgbClr val="596E6E">
              <a:alpha val="20000"/>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800"/>
          </a:p>
        </p:txBody>
      </p:sp>
      <p:grpSp>
        <p:nvGrpSpPr>
          <p:cNvPr id="72" name="Group 216"/>
          <p:cNvGrpSpPr>
            <a:grpSpLocks/>
          </p:cNvGrpSpPr>
          <p:nvPr/>
        </p:nvGrpSpPr>
        <p:grpSpPr bwMode="auto">
          <a:xfrm>
            <a:off x="877888" y="1768475"/>
            <a:ext cx="279400" cy="152400"/>
            <a:chOff x="567" y="996"/>
            <a:chExt cx="176" cy="96"/>
          </a:xfrm>
        </p:grpSpPr>
        <p:sp>
          <p:nvSpPr>
            <p:cNvPr id="73" name="AutoShape 217"/>
            <p:cNvSpPr>
              <a:spLocks noChangeArrowheads="1"/>
            </p:cNvSpPr>
            <p:nvPr/>
          </p:nvSpPr>
          <p:spPr bwMode="gray">
            <a:xfrm>
              <a:off x="660"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74" name="Rectangle 218"/>
            <p:cNvSpPr>
              <a:spLocks noChangeArrowheads="1"/>
            </p:cNvSpPr>
            <p:nvPr/>
          </p:nvSpPr>
          <p:spPr bwMode="gray">
            <a:xfrm>
              <a:off x="567" y="996"/>
              <a:ext cx="136"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M</a:t>
              </a:r>
            </a:p>
          </p:txBody>
        </p:sp>
      </p:grpSp>
      <p:grpSp>
        <p:nvGrpSpPr>
          <p:cNvPr id="75" name="Group 219"/>
          <p:cNvGrpSpPr>
            <a:grpSpLocks/>
          </p:cNvGrpSpPr>
          <p:nvPr/>
        </p:nvGrpSpPr>
        <p:grpSpPr bwMode="auto">
          <a:xfrm>
            <a:off x="4752975" y="1768475"/>
            <a:ext cx="508000" cy="152400"/>
            <a:chOff x="2994" y="996"/>
            <a:chExt cx="320" cy="96"/>
          </a:xfrm>
        </p:grpSpPr>
        <p:sp>
          <p:nvSpPr>
            <p:cNvPr id="76" name="AutoShape 220"/>
            <p:cNvSpPr>
              <a:spLocks noChangeArrowheads="1"/>
            </p:cNvSpPr>
            <p:nvPr/>
          </p:nvSpPr>
          <p:spPr bwMode="gray">
            <a:xfrm>
              <a:off x="3231"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77" name="Rectangle 221"/>
            <p:cNvSpPr>
              <a:spLocks noChangeArrowheads="1"/>
            </p:cNvSpPr>
            <p:nvPr/>
          </p:nvSpPr>
          <p:spPr bwMode="gray">
            <a:xfrm>
              <a:off x="2994" y="996"/>
              <a:ext cx="280"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FS1</a:t>
              </a:r>
            </a:p>
          </p:txBody>
        </p:sp>
      </p:grpSp>
      <p:sp>
        <p:nvSpPr>
          <p:cNvPr id="81" name="Freeform 229"/>
          <p:cNvSpPr>
            <a:spLocks/>
          </p:cNvSpPr>
          <p:nvPr/>
        </p:nvSpPr>
        <p:spPr bwMode="auto">
          <a:xfrm>
            <a:off x="1258888" y="1328738"/>
            <a:ext cx="217487" cy="703262"/>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82" name="Rectangle 230"/>
          <p:cNvSpPr>
            <a:spLocks noChangeArrowheads="1"/>
          </p:cNvSpPr>
          <p:nvPr/>
        </p:nvSpPr>
        <p:spPr bwMode="gray">
          <a:xfrm>
            <a:off x="2351088" y="1766888"/>
            <a:ext cx="1152525" cy="150812"/>
          </a:xfrm>
          <a:prstGeom prst="rect">
            <a:avLst/>
          </a:prstGeom>
          <a:solidFill>
            <a:srgbClr val="596E6E">
              <a:alpha val="20000"/>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800"/>
          </a:p>
        </p:txBody>
      </p:sp>
      <p:grpSp>
        <p:nvGrpSpPr>
          <p:cNvPr id="83" name="Group 231"/>
          <p:cNvGrpSpPr>
            <a:grpSpLocks/>
          </p:cNvGrpSpPr>
          <p:nvPr/>
        </p:nvGrpSpPr>
        <p:grpSpPr bwMode="auto">
          <a:xfrm>
            <a:off x="3449638" y="1768475"/>
            <a:ext cx="755650" cy="152400"/>
            <a:chOff x="2173" y="996"/>
            <a:chExt cx="476" cy="96"/>
          </a:xfrm>
        </p:grpSpPr>
        <p:sp>
          <p:nvSpPr>
            <p:cNvPr id="84" name="AutoShape 232"/>
            <p:cNvSpPr>
              <a:spLocks noChangeArrowheads="1"/>
            </p:cNvSpPr>
            <p:nvPr/>
          </p:nvSpPr>
          <p:spPr bwMode="gray">
            <a:xfrm>
              <a:off x="2566"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5" name="Rectangle 233"/>
            <p:cNvSpPr>
              <a:spLocks noChangeArrowheads="1"/>
            </p:cNvSpPr>
            <p:nvPr/>
          </p:nvSpPr>
          <p:spPr bwMode="gray">
            <a:xfrm>
              <a:off x="2173" y="996"/>
              <a:ext cx="435"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CS2 – Map</a:t>
              </a:r>
            </a:p>
          </p:txBody>
        </p:sp>
      </p:grpSp>
      <p:grpSp>
        <p:nvGrpSpPr>
          <p:cNvPr id="86" name="Group 234"/>
          <p:cNvGrpSpPr>
            <a:grpSpLocks/>
          </p:cNvGrpSpPr>
          <p:nvPr/>
        </p:nvGrpSpPr>
        <p:grpSpPr bwMode="auto">
          <a:xfrm>
            <a:off x="2159000" y="1766888"/>
            <a:ext cx="279400" cy="152400"/>
            <a:chOff x="567" y="996"/>
            <a:chExt cx="176" cy="96"/>
          </a:xfrm>
        </p:grpSpPr>
        <p:sp>
          <p:nvSpPr>
            <p:cNvPr id="87" name="AutoShape 235"/>
            <p:cNvSpPr>
              <a:spLocks noChangeArrowheads="1"/>
            </p:cNvSpPr>
            <p:nvPr/>
          </p:nvSpPr>
          <p:spPr bwMode="gray">
            <a:xfrm>
              <a:off x="660"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88" name="Rectangle 236"/>
            <p:cNvSpPr>
              <a:spLocks noChangeArrowheads="1"/>
            </p:cNvSpPr>
            <p:nvPr/>
          </p:nvSpPr>
          <p:spPr bwMode="gray">
            <a:xfrm>
              <a:off x="567" y="996"/>
              <a:ext cx="136"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CS1</a:t>
              </a:r>
            </a:p>
          </p:txBody>
        </p:sp>
      </p:grpSp>
      <p:sp>
        <p:nvSpPr>
          <p:cNvPr id="89" name="Freeform 237"/>
          <p:cNvSpPr>
            <a:spLocks/>
          </p:cNvSpPr>
          <p:nvPr/>
        </p:nvSpPr>
        <p:spPr bwMode="auto">
          <a:xfrm>
            <a:off x="7739063" y="1312863"/>
            <a:ext cx="217487" cy="703262"/>
          </a:xfrm>
          <a:custGeom>
            <a:avLst/>
            <a:gdLst>
              <a:gd name="T0" fmla="*/ 2147483647 w 87"/>
              <a:gd name="T1" fmla="*/ 0 h 178"/>
              <a:gd name="T2" fmla="*/ 2147483647 w 87"/>
              <a:gd name="T3" fmla="*/ 2147483647 h 178"/>
              <a:gd name="T4" fmla="*/ 2147483647 w 87"/>
              <a:gd name="T5" fmla="*/ 2147483647 h 178"/>
              <a:gd name="T6" fmla="*/ 2147483647 w 87"/>
              <a:gd name="T7" fmla="*/ 2147483647 h 178"/>
              <a:gd name="T8" fmla="*/ 2147483647 w 87"/>
              <a:gd name="T9" fmla="*/ 2147483647 h 178"/>
              <a:gd name="T10" fmla="*/ 2147483647 w 87"/>
              <a:gd name="T11" fmla="*/ 2147483647 h 178"/>
              <a:gd name="T12" fmla="*/ 2147483647 w 87"/>
              <a:gd name="T13" fmla="*/ 2147483647 h 178"/>
              <a:gd name="T14" fmla="*/ 2147483647 w 87"/>
              <a:gd name="T15" fmla="*/ 2147483647 h 178"/>
              <a:gd name="T16" fmla="*/ 2147483647 w 87"/>
              <a:gd name="T17" fmla="*/ 2147483647 h 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78"/>
              <a:gd name="T29" fmla="*/ 87 w 87"/>
              <a:gd name="T30" fmla="*/ 178 h 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78">
                <a:moveTo>
                  <a:pt x="76" y="0"/>
                </a:moveTo>
                <a:lnTo>
                  <a:pt x="20" y="1"/>
                </a:lnTo>
                <a:cubicBezTo>
                  <a:pt x="8" y="10"/>
                  <a:pt x="0" y="32"/>
                  <a:pt x="1" y="52"/>
                </a:cubicBezTo>
                <a:cubicBezTo>
                  <a:pt x="2" y="72"/>
                  <a:pt x="22" y="103"/>
                  <a:pt x="25" y="124"/>
                </a:cubicBezTo>
                <a:cubicBezTo>
                  <a:pt x="28" y="145"/>
                  <a:pt x="12" y="169"/>
                  <a:pt x="20" y="178"/>
                </a:cubicBezTo>
                <a:lnTo>
                  <a:pt x="71" y="178"/>
                </a:lnTo>
                <a:cubicBezTo>
                  <a:pt x="82" y="169"/>
                  <a:pt x="87" y="145"/>
                  <a:pt x="85" y="124"/>
                </a:cubicBezTo>
                <a:cubicBezTo>
                  <a:pt x="83" y="103"/>
                  <a:pt x="59" y="69"/>
                  <a:pt x="58" y="49"/>
                </a:cubicBezTo>
                <a:cubicBezTo>
                  <a:pt x="57" y="29"/>
                  <a:pt x="73" y="11"/>
                  <a:pt x="77" y="1"/>
                </a:cubicBezTo>
              </a:path>
            </a:pathLst>
          </a:custGeom>
          <a:solidFill>
            <a:srgbClr val="B2B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nvGrpSpPr>
          <p:cNvPr id="90" name="Group 238"/>
          <p:cNvGrpSpPr>
            <a:grpSpLocks/>
          </p:cNvGrpSpPr>
          <p:nvPr/>
        </p:nvGrpSpPr>
        <p:grpSpPr bwMode="auto">
          <a:xfrm>
            <a:off x="7092950" y="1766888"/>
            <a:ext cx="1214438" cy="152400"/>
            <a:chOff x="4468" y="995"/>
            <a:chExt cx="765" cy="96"/>
          </a:xfrm>
        </p:grpSpPr>
        <p:sp>
          <p:nvSpPr>
            <p:cNvPr id="91" name="AutoShape 239"/>
            <p:cNvSpPr>
              <a:spLocks noChangeArrowheads="1"/>
            </p:cNvSpPr>
            <p:nvPr/>
          </p:nvSpPr>
          <p:spPr bwMode="gray">
            <a:xfrm>
              <a:off x="5150" y="995"/>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92" name="Rectangle 240"/>
            <p:cNvSpPr>
              <a:spLocks noChangeArrowheads="1"/>
            </p:cNvSpPr>
            <p:nvPr/>
          </p:nvSpPr>
          <p:spPr bwMode="gray">
            <a:xfrm>
              <a:off x="4468" y="995"/>
              <a:ext cx="725"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Work pilot</a:t>
              </a:r>
            </a:p>
          </p:txBody>
        </p:sp>
      </p:grpSp>
      <p:sp>
        <p:nvSpPr>
          <p:cNvPr id="93" name="AutoShape 241"/>
          <p:cNvSpPr>
            <a:spLocks noChangeArrowheads="1"/>
          </p:cNvSpPr>
          <p:nvPr/>
        </p:nvSpPr>
        <p:spPr bwMode="gray">
          <a:xfrm>
            <a:off x="4117975" y="1960563"/>
            <a:ext cx="131763"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94" name="AutoShape 242"/>
          <p:cNvSpPr>
            <a:spLocks noChangeArrowheads="1"/>
          </p:cNvSpPr>
          <p:nvPr/>
        </p:nvSpPr>
        <p:spPr bwMode="gray">
          <a:xfrm>
            <a:off x="5160963" y="1960563"/>
            <a:ext cx="131762"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nvGrpSpPr>
          <p:cNvPr id="95" name="Group 243"/>
          <p:cNvGrpSpPr>
            <a:grpSpLocks/>
          </p:cNvGrpSpPr>
          <p:nvPr/>
        </p:nvGrpSpPr>
        <p:grpSpPr bwMode="auto">
          <a:xfrm>
            <a:off x="6048375" y="1766888"/>
            <a:ext cx="508000" cy="152400"/>
            <a:chOff x="2994" y="996"/>
            <a:chExt cx="320" cy="96"/>
          </a:xfrm>
        </p:grpSpPr>
        <p:sp>
          <p:nvSpPr>
            <p:cNvPr id="96" name="AutoShape 244"/>
            <p:cNvSpPr>
              <a:spLocks noChangeArrowheads="1"/>
            </p:cNvSpPr>
            <p:nvPr/>
          </p:nvSpPr>
          <p:spPr bwMode="gray">
            <a:xfrm>
              <a:off x="3231" y="996"/>
              <a:ext cx="83" cy="96"/>
            </a:xfrm>
            <a:prstGeom prst="diamond">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97" name="Rectangle 245"/>
            <p:cNvSpPr>
              <a:spLocks noChangeArrowheads="1"/>
            </p:cNvSpPr>
            <p:nvPr/>
          </p:nvSpPr>
          <p:spPr bwMode="gray">
            <a:xfrm>
              <a:off x="2994" y="996"/>
              <a:ext cx="280" cy="9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marL="171450" indent="-171450"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buSzPct val="130000"/>
                <a:buFont typeface="Symbol" pitchFamily="18" charset="2"/>
                <a:buNone/>
              </a:pPr>
              <a:r>
                <a:rPr lang="en-US" altLang="fr-FR" sz="800">
                  <a:solidFill>
                    <a:srgbClr val="FFFFFF"/>
                  </a:solidFill>
                </a:rPr>
                <a:t>FS2</a:t>
              </a:r>
            </a:p>
          </p:txBody>
        </p:sp>
      </p:grpSp>
      <p:sp>
        <p:nvSpPr>
          <p:cNvPr id="98" name="AutoShape 246"/>
          <p:cNvSpPr>
            <a:spLocks noChangeArrowheads="1"/>
          </p:cNvSpPr>
          <p:nvPr/>
        </p:nvSpPr>
        <p:spPr bwMode="gray">
          <a:xfrm>
            <a:off x="6456363" y="1960563"/>
            <a:ext cx="131762"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99" name="AutoShape 247"/>
          <p:cNvSpPr>
            <a:spLocks noChangeArrowheads="1"/>
          </p:cNvSpPr>
          <p:nvPr/>
        </p:nvSpPr>
        <p:spPr bwMode="gray">
          <a:xfrm>
            <a:off x="8185150" y="1960563"/>
            <a:ext cx="131763" cy="107950"/>
          </a:xfrm>
          <a:prstGeom prst="triangle">
            <a:avLst>
              <a:gd name="adj" fmla="val 50000"/>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nvGrpSpPr>
          <p:cNvPr id="100" name="Group 248"/>
          <p:cNvGrpSpPr>
            <a:grpSpLocks/>
          </p:cNvGrpSpPr>
          <p:nvPr/>
        </p:nvGrpSpPr>
        <p:grpSpPr bwMode="auto">
          <a:xfrm>
            <a:off x="611188" y="1095375"/>
            <a:ext cx="7726362" cy="180975"/>
            <a:chOff x="385" y="572"/>
            <a:chExt cx="4867" cy="114"/>
          </a:xfrm>
        </p:grpSpPr>
        <p:sp>
          <p:nvSpPr>
            <p:cNvPr id="101" name="AutoShape 249"/>
            <p:cNvSpPr>
              <a:spLocks noChangeArrowheads="1"/>
            </p:cNvSpPr>
            <p:nvPr/>
          </p:nvSpPr>
          <p:spPr bwMode="auto">
            <a:xfrm>
              <a:off x="385" y="572"/>
              <a:ext cx="4808" cy="114"/>
            </a:xfrm>
            <a:prstGeom prst="homePlate">
              <a:avLst>
                <a:gd name="adj" fmla="val 0"/>
              </a:avLst>
            </a:prstGeom>
            <a:solidFill>
              <a:srgbClr val="6666FF"/>
            </a:solidFill>
            <a:ln w="19050">
              <a:solidFill>
                <a:schemeClr val="tx1"/>
              </a:solidFill>
              <a:miter lim="800000"/>
              <a:headEnd/>
              <a:tailEnd/>
            </a:ln>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endParaRPr lang="en-US" altLang="fr-FR" sz="1000">
                <a:solidFill>
                  <a:srgbClr val="FFFFFF"/>
                </a:solidFill>
              </a:endParaRPr>
            </a:p>
          </p:txBody>
        </p:sp>
        <p:sp>
          <p:nvSpPr>
            <p:cNvPr id="102" name="AutoShape 250"/>
            <p:cNvSpPr>
              <a:spLocks noChangeArrowheads="1"/>
            </p:cNvSpPr>
            <p:nvPr/>
          </p:nvSpPr>
          <p:spPr bwMode="auto">
            <a:xfrm>
              <a:off x="4059" y="573"/>
              <a:ext cx="1134" cy="111"/>
            </a:xfrm>
            <a:prstGeom prst="homePlate">
              <a:avLst>
                <a:gd name="adj" fmla="val 0"/>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algn="ctr" eaLnBrk="1" hangingPunct="1">
                <a:lnSpc>
                  <a:spcPct val="100000"/>
                </a:lnSpc>
                <a:spcAft>
                  <a:spcPct val="0"/>
                </a:spcAft>
              </a:pPr>
              <a:r>
                <a:rPr lang="en-GB" altLang="fr-FR" sz="1000">
                  <a:solidFill>
                    <a:srgbClr val="FFFFFF"/>
                  </a:solidFill>
                </a:rPr>
                <a:t>Implement improvements</a:t>
              </a:r>
            </a:p>
          </p:txBody>
        </p:sp>
        <p:sp>
          <p:nvSpPr>
            <p:cNvPr id="103" name="AutoShape 251"/>
            <p:cNvSpPr>
              <a:spLocks noChangeArrowheads="1"/>
            </p:cNvSpPr>
            <p:nvPr/>
          </p:nvSpPr>
          <p:spPr bwMode="gray">
            <a:xfrm>
              <a:off x="4017" y="572"/>
              <a:ext cx="113" cy="113"/>
            </a:xfrm>
            <a:prstGeom prst="diamond">
              <a:avLst/>
            </a:prstGeom>
            <a:solidFill>
              <a:schemeClr val="tx1"/>
            </a:solidFill>
            <a:ln w="12700" algn="ctr">
              <a:solidFill>
                <a:schemeClr val="tx1"/>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04" name="AutoShape 252"/>
            <p:cNvSpPr>
              <a:spLocks noChangeArrowheads="1"/>
            </p:cNvSpPr>
            <p:nvPr/>
          </p:nvSpPr>
          <p:spPr bwMode="auto">
            <a:xfrm>
              <a:off x="2608" y="573"/>
              <a:ext cx="1466" cy="111"/>
            </a:xfrm>
            <a:prstGeom prst="homePlate">
              <a:avLst>
                <a:gd name="adj" fmla="val 0"/>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r>
                <a:rPr lang="en-GB" altLang="fr-FR" sz="1200" dirty="0">
                  <a:solidFill>
                    <a:srgbClr val="FFFFFF"/>
                  </a:solidFill>
                </a:rPr>
                <a:t>Future State</a:t>
              </a:r>
            </a:p>
          </p:txBody>
        </p:sp>
        <p:sp>
          <p:nvSpPr>
            <p:cNvPr id="105" name="AutoShape 253"/>
            <p:cNvSpPr>
              <a:spLocks noChangeArrowheads="1"/>
            </p:cNvSpPr>
            <p:nvPr/>
          </p:nvSpPr>
          <p:spPr bwMode="gray">
            <a:xfrm>
              <a:off x="2561" y="572"/>
              <a:ext cx="113" cy="113"/>
            </a:xfrm>
            <a:prstGeom prst="diamond">
              <a:avLst/>
            </a:prstGeom>
            <a:solidFill>
              <a:schemeClr val="tx1"/>
            </a:solidFill>
            <a:ln w="12700" algn="ctr">
              <a:solidFill>
                <a:schemeClr val="tx1"/>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09" name="AutoShape 257"/>
            <p:cNvSpPr>
              <a:spLocks noChangeArrowheads="1"/>
            </p:cNvSpPr>
            <p:nvPr/>
          </p:nvSpPr>
          <p:spPr bwMode="gray">
            <a:xfrm>
              <a:off x="5139" y="572"/>
              <a:ext cx="113" cy="113"/>
            </a:xfrm>
            <a:prstGeom prst="diamond">
              <a:avLst/>
            </a:prstGeom>
            <a:solidFill>
              <a:srgbClr val="6666FF"/>
            </a:solidFill>
            <a:ln w="12700" algn="ctr">
              <a:solidFill>
                <a:schemeClr val="tx1"/>
              </a:solidFill>
              <a:miter lim="800000"/>
              <a:headEnd/>
              <a:tailEnd/>
            </a:ln>
          </p:spPr>
          <p:txBody>
            <a:bodyPr wrap="none" lIns="0" tIns="0" rIns="0" bIns="0"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sp>
          <p:nvSpPr>
            <p:cNvPr id="110" name="Rectangle 258"/>
            <p:cNvSpPr>
              <a:spLocks noChangeArrowheads="1"/>
            </p:cNvSpPr>
            <p:nvPr/>
          </p:nvSpPr>
          <p:spPr bwMode="auto">
            <a:xfrm>
              <a:off x="5127" y="574"/>
              <a:ext cx="66" cy="109"/>
            </a:xfrm>
            <a:prstGeom prst="rect">
              <a:avLst/>
            </a:prstGeom>
            <a:solidFill>
              <a:srgbClr val="66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2200"/>
                </a:lnSpc>
                <a:spcAft>
                  <a:spcPct val="25000"/>
                </a:spcAft>
                <a:defRPr sz="2000">
                  <a:solidFill>
                    <a:srgbClr val="000066"/>
                  </a:solidFill>
                  <a:latin typeface="Arial" pitchFamily="34" charset="0"/>
                </a:defRPr>
              </a:lvl1pPr>
              <a:lvl2pPr marL="742950" indent="-285750" eaLnBrk="0" hangingPunct="0">
                <a:lnSpc>
                  <a:spcPts val="2200"/>
                </a:lnSpc>
                <a:spcAft>
                  <a:spcPct val="25000"/>
                </a:spcAft>
                <a:buChar char="•"/>
                <a:defRPr sz="2000">
                  <a:solidFill>
                    <a:srgbClr val="000066"/>
                  </a:solidFill>
                  <a:latin typeface="Arial" pitchFamily="34" charset="0"/>
                </a:defRPr>
              </a:lvl2pPr>
              <a:lvl3pPr marL="1143000" indent="-228600" eaLnBrk="0" hangingPunct="0">
                <a:lnSpc>
                  <a:spcPts val="2000"/>
                </a:lnSpc>
                <a:spcAft>
                  <a:spcPct val="25000"/>
                </a:spcAft>
                <a:buChar char="–"/>
                <a:defRPr>
                  <a:solidFill>
                    <a:srgbClr val="000066"/>
                  </a:solidFill>
                  <a:latin typeface="Arial" pitchFamily="34" charset="0"/>
                </a:defRPr>
              </a:lvl3pPr>
              <a:lvl4pPr marL="1600200" indent="-228600" eaLnBrk="0" hangingPunct="0">
                <a:lnSpc>
                  <a:spcPts val="1800"/>
                </a:lnSpc>
                <a:spcAft>
                  <a:spcPct val="25000"/>
                </a:spcAft>
                <a:buChar char="•"/>
                <a:defRPr sz="1600">
                  <a:solidFill>
                    <a:srgbClr val="000066"/>
                  </a:solidFill>
                  <a:latin typeface="Arial" pitchFamily="34" charset="0"/>
                </a:defRPr>
              </a:lvl4pPr>
              <a:lvl5pPr marL="2057400" indent="-228600" eaLnBrk="0" hangingPunct="0">
                <a:spcAft>
                  <a:spcPct val="25000"/>
                </a:spcAft>
                <a:buChar char="–"/>
                <a:defRPr sz="1200">
                  <a:solidFill>
                    <a:srgbClr val="000066"/>
                  </a:solidFill>
                  <a:latin typeface="Arial" pitchFamily="34" charset="0"/>
                </a:defRPr>
              </a:lvl5pPr>
              <a:lvl6pPr marL="2514600" indent="-228600" eaLnBrk="0" fontAlgn="base" hangingPunct="0">
                <a:spcBef>
                  <a:spcPct val="0"/>
                </a:spcBef>
                <a:spcAft>
                  <a:spcPct val="25000"/>
                </a:spcAft>
                <a:buChar char="–"/>
                <a:defRPr sz="1200">
                  <a:solidFill>
                    <a:srgbClr val="000066"/>
                  </a:solidFill>
                  <a:latin typeface="Arial" pitchFamily="34" charset="0"/>
                </a:defRPr>
              </a:lvl6pPr>
              <a:lvl7pPr marL="2971800" indent="-228600" eaLnBrk="0" fontAlgn="base" hangingPunct="0">
                <a:spcBef>
                  <a:spcPct val="0"/>
                </a:spcBef>
                <a:spcAft>
                  <a:spcPct val="25000"/>
                </a:spcAft>
                <a:buChar char="–"/>
                <a:defRPr sz="1200">
                  <a:solidFill>
                    <a:srgbClr val="000066"/>
                  </a:solidFill>
                  <a:latin typeface="Arial" pitchFamily="34" charset="0"/>
                </a:defRPr>
              </a:lvl7pPr>
              <a:lvl8pPr marL="3429000" indent="-228600" eaLnBrk="0" fontAlgn="base" hangingPunct="0">
                <a:spcBef>
                  <a:spcPct val="0"/>
                </a:spcBef>
                <a:spcAft>
                  <a:spcPct val="25000"/>
                </a:spcAft>
                <a:buChar char="–"/>
                <a:defRPr sz="1200">
                  <a:solidFill>
                    <a:srgbClr val="000066"/>
                  </a:solidFill>
                  <a:latin typeface="Arial" pitchFamily="34" charset="0"/>
                </a:defRPr>
              </a:lvl8pPr>
              <a:lvl9pPr marL="3886200" indent="-228600" eaLnBrk="0" fontAlgn="base" hangingPunct="0">
                <a:spcBef>
                  <a:spcPct val="0"/>
                </a:spcBef>
                <a:spcAft>
                  <a:spcPct val="25000"/>
                </a:spcAft>
                <a:buChar char="–"/>
                <a:defRPr sz="1200">
                  <a:solidFill>
                    <a:srgbClr val="000066"/>
                  </a:solidFill>
                  <a:latin typeface="Arial" pitchFamily="34" charset="0"/>
                </a:defRPr>
              </a:lvl9pPr>
            </a:lstStyle>
            <a:p>
              <a:pPr eaLnBrk="1" hangingPunct="1">
                <a:lnSpc>
                  <a:spcPct val="100000"/>
                </a:lnSpc>
                <a:spcAft>
                  <a:spcPct val="0"/>
                </a:spcAft>
              </a:pPr>
              <a:endParaRPr lang="en-US" altLang="fr-FR" sz="1800"/>
            </a:p>
          </p:txBody>
        </p:sp>
      </p:grpSp>
      <p:sp>
        <p:nvSpPr>
          <p:cNvPr id="128003" name="Title"/>
          <p:cNvSpPr>
            <a:spLocks noGrp="1" noChangeArrowheads="1"/>
          </p:cNvSpPr>
          <p:nvPr>
            <p:ph type="title"/>
          </p:nvPr>
        </p:nvSpPr>
        <p:spPr/>
        <p:txBody>
          <a:bodyPr/>
          <a:lstStyle/>
          <a:p>
            <a:pPr eaLnBrk="1" hangingPunct="1"/>
            <a:r>
              <a:rPr lang="en-GB" altLang="en-GB" sz="2400" smtClean="0"/>
              <a:t>Future State 2</a:t>
            </a:r>
            <a:r>
              <a:rPr lang="en-GB" altLang="en-GB" smtClean="0"/>
              <a:t/>
            </a:r>
            <a:br>
              <a:rPr lang="en-GB" altLang="en-GB" smtClean="0"/>
            </a:br>
            <a:r>
              <a:rPr lang="en-GB" altLang="en-GB" sz="1800" b="1" smtClean="0">
                <a:solidFill>
                  <a:srgbClr val="92D050"/>
                </a:solidFill>
              </a:rPr>
              <a:t> What are the main objectives of the first Future State workshop?</a:t>
            </a:r>
            <a:endParaRPr lang="en-GB" altLang="en-GB" sz="1800" smtClean="0"/>
          </a:p>
        </p:txBody>
      </p:sp>
      <p:sp>
        <p:nvSpPr>
          <p:cNvPr id="128004" name="Slide Number Placeholder 4"/>
          <p:cNvSpPr>
            <a:spLocks noGrp="1"/>
          </p:cNvSpPr>
          <p:nvPr>
            <p:ph type="sldNum" sz="quarter" idx="11"/>
          </p:nvPr>
        </p:nvSpPr>
        <p:spPr>
          <a:noFill/>
        </p:spPr>
        <p:txBody>
          <a:bodyPr/>
          <a:lstStyle/>
          <a:p>
            <a:fld id="{84C796AA-C28B-4DA8-A0C7-9368D0227879}" type="slidenum">
              <a:rPr lang="en-GB" altLang="en-GB"/>
              <a:pPr/>
              <a:t>5</a:t>
            </a:fld>
            <a:endParaRPr lang="en-GB" altLang="en-GB"/>
          </a:p>
        </p:txBody>
      </p:sp>
      <p:sp>
        <p:nvSpPr>
          <p:cNvPr id="128006" name="Rectangle 3"/>
          <p:cNvSpPr>
            <a:spLocks noChangeArrowheads="1"/>
          </p:cNvSpPr>
          <p:nvPr/>
        </p:nvSpPr>
        <p:spPr bwMode="auto">
          <a:xfrm>
            <a:off x="514350" y="2101850"/>
            <a:ext cx="5654675" cy="109538"/>
          </a:xfrm>
          <a:prstGeom prst="rect">
            <a:avLst/>
          </a:prstGeom>
          <a:solidFill>
            <a:schemeClr val="tx1"/>
          </a:solidFill>
          <a:ln w="9525">
            <a:noFill/>
            <a:miter lim="800000"/>
            <a:headEnd/>
            <a:tailEnd/>
          </a:ln>
        </p:spPr>
        <p:txBody>
          <a:bodyPr wrap="none" anchor="ctr"/>
          <a:lstStyle/>
          <a:p>
            <a:endParaRPr lang="en-US" b="0">
              <a:solidFill>
                <a:srgbClr val="000066"/>
              </a:solidFill>
            </a:endParaRPr>
          </a:p>
        </p:txBody>
      </p:sp>
      <p:sp>
        <p:nvSpPr>
          <p:cNvPr id="128210" name="Rectangle 222"/>
          <p:cNvSpPr>
            <a:spLocks noChangeArrowheads="1"/>
          </p:cNvSpPr>
          <p:nvPr/>
        </p:nvSpPr>
        <p:spPr bwMode="auto">
          <a:xfrm>
            <a:off x="460375" y="2101850"/>
            <a:ext cx="111125" cy="3690938"/>
          </a:xfrm>
          <a:prstGeom prst="rect">
            <a:avLst/>
          </a:prstGeom>
          <a:solidFill>
            <a:schemeClr val="tx1"/>
          </a:solidFill>
          <a:ln w="9525">
            <a:noFill/>
            <a:miter lim="800000"/>
            <a:headEnd/>
            <a:tailEnd/>
          </a:ln>
        </p:spPr>
        <p:txBody>
          <a:bodyPr wrap="none" anchor="ctr"/>
          <a:lstStyle/>
          <a:p>
            <a:endParaRPr lang="en-US" b="0">
              <a:solidFill>
                <a:srgbClr val="000066"/>
              </a:solidFill>
            </a:endParaRPr>
          </a:p>
        </p:txBody>
      </p:sp>
      <p:grpSp>
        <p:nvGrpSpPr>
          <p:cNvPr id="128211" name="Group 81"/>
          <p:cNvGrpSpPr>
            <a:grpSpLocks/>
          </p:cNvGrpSpPr>
          <p:nvPr/>
        </p:nvGrpSpPr>
        <p:grpSpPr bwMode="auto">
          <a:xfrm>
            <a:off x="6024563" y="1914525"/>
            <a:ext cx="144462" cy="277813"/>
            <a:chOff x="6024563" y="1808163"/>
            <a:chExt cx="144462" cy="217487"/>
          </a:xfrm>
          <a:solidFill>
            <a:schemeClr val="tx1"/>
          </a:solidFill>
        </p:grpSpPr>
        <p:sp>
          <p:nvSpPr>
            <p:cNvPr id="128254" name="Rectangle 224"/>
            <p:cNvSpPr>
              <a:spLocks noChangeArrowheads="1"/>
            </p:cNvSpPr>
            <p:nvPr/>
          </p:nvSpPr>
          <p:spPr bwMode="auto">
            <a:xfrm>
              <a:off x="6024563" y="1882775"/>
              <a:ext cx="144462" cy="142875"/>
            </a:xfrm>
            <a:prstGeom prst="rect">
              <a:avLst/>
            </a:prstGeom>
            <a:grpFill/>
            <a:ln w="9525">
              <a:noFill/>
              <a:miter lim="800000"/>
              <a:headEnd/>
              <a:tailEnd/>
            </a:ln>
          </p:spPr>
          <p:txBody>
            <a:bodyPr wrap="none" anchor="ctr"/>
            <a:lstStyle/>
            <a:p>
              <a:endParaRPr lang="en-US" b="0">
                <a:solidFill>
                  <a:srgbClr val="000066"/>
                </a:solidFill>
              </a:endParaRPr>
            </a:p>
          </p:txBody>
        </p:sp>
        <p:sp>
          <p:nvSpPr>
            <p:cNvPr id="128255" name="AutoShape 225"/>
            <p:cNvSpPr>
              <a:spLocks noChangeArrowheads="1"/>
            </p:cNvSpPr>
            <p:nvPr/>
          </p:nvSpPr>
          <p:spPr bwMode="gray">
            <a:xfrm>
              <a:off x="6024563" y="1808163"/>
              <a:ext cx="144462" cy="144462"/>
            </a:xfrm>
            <a:prstGeom prst="diamond">
              <a:avLst/>
            </a:prstGeom>
            <a:grpFill/>
            <a:ln w="9525" algn="ctr">
              <a:noFill/>
              <a:miter lim="800000"/>
              <a:headEnd/>
              <a:tailEnd/>
            </a:ln>
          </p:spPr>
          <p:txBody>
            <a:bodyPr wrap="none" lIns="0" tIns="0" rIns="0" bIns="0" anchor="ctr"/>
            <a:lstStyle/>
            <a:p>
              <a:endParaRPr lang="en-US" b="0">
                <a:solidFill>
                  <a:srgbClr val="000066"/>
                </a:solidFill>
              </a:endParaRPr>
            </a:p>
          </p:txBody>
        </p:sp>
      </p:grpSp>
      <p:sp>
        <p:nvSpPr>
          <p:cNvPr id="128212" name="Rectangle 227"/>
          <p:cNvSpPr>
            <a:spLocks noChangeArrowheads="1"/>
          </p:cNvSpPr>
          <p:nvPr/>
        </p:nvSpPr>
        <p:spPr bwMode="auto">
          <a:xfrm>
            <a:off x="611188" y="2959100"/>
            <a:ext cx="7848600" cy="665163"/>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Current State 1: 	</a:t>
            </a:r>
            <a:r>
              <a:rPr lang="en-GB" sz="1200" b="0">
                <a:solidFill>
                  <a:srgbClr val="000066"/>
                </a:solidFill>
              </a:rPr>
              <a:t>Lean Simulation, VoC, value stream flow, </a:t>
            </a:r>
          </a:p>
          <a:p>
            <a:pPr>
              <a:tabLst>
                <a:tab pos="1430338" algn="l"/>
              </a:tabLst>
            </a:pPr>
            <a:r>
              <a:rPr lang="en-GB" sz="1200" b="0">
                <a:solidFill>
                  <a:srgbClr val="000066"/>
                </a:solidFill>
              </a:rPr>
              <a:t>	plan for ‘seeing is believing’</a:t>
            </a:r>
          </a:p>
        </p:txBody>
      </p:sp>
      <p:sp>
        <p:nvSpPr>
          <p:cNvPr id="128213" name="AutoShape 228"/>
          <p:cNvSpPr>
            <a:spLocks noChangeArrowheads="1"/>
          </p:cNvSpPr>
          <p:nvPr/>
        </p:nvSpPr>
        <p:spPr bwMode="auto">
          <a:xfrm>
            <a:off x="611188" y="2947988"/>
            <a:ext cx="431800" cy="684212"/>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CS1</a:t>
            </a:r>
          </a:p>
        </p:txBody>
      </p:sp>
      <p:sp>
        <p:nvSpPr>
          <p:cNvPr id="128238" name="Rectangle 261"/>
          <p:cNvSpPr>
            <a:spLocks noChangeArrowheads="1"/>
          </p:cNvSpPr>
          <p:nvPr/>
        </p:nvSpPr>
        <p:spPr bwMode="auto">
          <a:xfrm>
            <a:off x="611188" y="2239963"/>
            <a:ext cx="7848600" cy="665162"/>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Mobilisation: 	</a:t>
            </a:r>
            <a:r>
              <a:rPr lang="en-GB" sz="1200" b="0">
                <a:solidFill>
                  <a:srgbClr val="000066"/>
                </a:solidFill>
              </a:rPr>
              <a:t>Kick-off, confirm scope, SIPOC, team – complete project charter</a:t>
            </a:r>
          </a:p>
        </p:txBody>
      </p:sp>
      <p:sp>
        <p:nvSpPr>
          <p:cNvPr id="128239" name="AutoShape 262"/>
          <p:cNvSpPr>
            <a:spLocks noChangeArrowheads="1"/>
          </p:cNvSpPr>
          <p:nvPr/>
        </p:nvSpPr>
        <p:spPr bwMode="auto">
          <a:xfrm>
            <a:off x="611188" y="2228850"/>
            <a:ext cx="431800" cy="684213"/>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M</a:t>
            </a:r>
          </a:p>
        </p:txBody>
      </p:sp>
      <p:sp>
        <p:nvSpPr>
          <p:cNvPr id="128240" name="Rectangle 263"/>
          <p:cNvSpPr>
            <a:spLocks noChangeArrowheads="1"/>
          </p:cNvSpPr>
          <p:nvPr/>
        </p:nvSpPr>
        <p:spPr bwMode="auto">
          <a:xfrm>
            <a:off x="7812088" y="2300288"/>
            <a:ext cx="603250" cy="528637"/>
          </a:xfrm>
          <a:prstGeom prst="rect">
            <a:avLst/>
          </a:prstGeom>
          <a:solidFill>
            <a:srgbClr val="6666FF"/>
          </a:solidFill>
          <a:ln w="9525">
            <a:noFill/>
            <a:miter lim="800000"/>
            <a:headEnd/>
            <a:tailEnd/>
          </a:ln>
        </p:spPr>
        <p:txBody>
          <a:bodyPr wrap="none" anchor="ctr"/>
          <a:lstStyle/>
          <a:p>
            <a:pPr algn="ctr"/>
            <a:r>
              <a:rPr lang="en-GB" sz="1200" b="0">
                <a:solidFill>
                  <a:srgbClr val="000066"/>
                </a:solidFill>
              </a:rPr>
              <a:t>½ day</a:t>
            </a:r>
          </a:p>
        </p:txBody>
      </p:sp>
      <p:sp>
        <p:nvSpPr>
          <p:cNvPr id="128241" name="Rectangle 264"/>
          <p:cNvSpPr>
            <a:spLocks noChangeArrowheads="1"/>
          </p:cNvSpPr>
          <p:nvPr/>
        </p:nvSpPr>
        <p:spPr bwMode="auto">
          <a:xfrm>
            <a:off x="7812088" y="3021013"/>
            <a:ext cx="603250" cy="528637"/>
          </a:xfrm>
          <a:prstGeom prst="rect">
            <a:avLst/>
          </a:prstGeom>
          <a:solidFill>
            <a:srgbClr val="6666FF"/>
          </a:solidFill>
          <a:ln w="25400">
            <a:solidFill>
              <a:schemeClr val="bg1"/>
            </a:solidFill>
            <a:miter lim="800000"/>
            <a:headEnd/>
            <a:tailEnd/>
          </a:ln>
        </p:spPr>
        <p:txBody>
          <a:bodyPr wrap="none" lIns="36000" tIns="0" rIns="0" bIns="0" anchor="ctr"/>
          <a:lstStyle/>
          <a:p>
            <a:pPr algn="ctr"/>
            <a:r>
              <a:rPr lang="en-GB" sz="1200" b="0">
                <a:solidFill>
                  <a:srgbClr val="000066"/>
                </a:solidFill>
              </a:rPr>
              <a:t>1 day</a:t>
            </a:r>
          </a:p>
        </p:txBody>
      </p:sp>
      <p:sp>
        <p:nvSpPr>
          <p:cNvPr id="128242" name="Rectangle 267"/>
          <p:cNvSpPr>
            <a:spLocks noChangeArrowheads="1"/>
          </p:cNvSpPr>
          <p:nvPr/>
        </p:nvSpPr>
        <p:spPr bwMode="auto">
          <a:xfrm>
            <a:off x="611188" y="3679825"/>
            <a:ext cx="7848600" cy="665163"/>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Current State 2:	</a:t>
            </a:r>
            <a:r>
              <a:rPr lang="en-GB" sz="1200" b="0">
                <a:solidFill>
                  <a:srgbClr val="000066"/>
                </a:solidFill>
              </a:rPr>
              <a:t>Seeing is believing, as-is value stream map</a:t>
            </a:r>
          </a:p>
        </p:txBody>
      </p:sp>
      <p:sp>
        <p:nvSpPr>
          <p:cNvPr id="128243" name="AutoShape 268"/>
          <p:cNvSpPr>
            <a:spLocks noChangeArrowheads="1"/>
          </p:cNvSpPr>
          <p:nvPr/>
        </p:nvSpPr>
        <p:spPr bwMode="auto">
          <a:xfrm>
            <a:off x="611188" y="3668713"/>
            <a:ext cx="431800" cy="684212"/>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CS2</a:t>
            </a:r>
          </a:p>
        </p:txBody>
      </p:sp>
      <p:sp>
        <p:nvSpPr>
          <p:cNvPr id="128244" name="Rectangle 269"/>
          <p:cNvSpPr>
            <a:spLocks noChangeArrowheads="1"/>
          </p:cNvSpPr>
          <p:nvPr/>
        </p:nvSpPr>
        <p:spPr bwMode="auto">
          <a:xfrm>
            <a:off x="7812088" y="3740150"/>
            <a:ext cx="603250" cy="528638"/>
          </a:xfrm>
          <a:prstGeom prst="rect">
            <a:avLst/>
          </a:prstGeom>
          <a:solidFill>
            <a:srgbClr val="6666FF"/>
          </a:solidFill>
          <a:ln w="9525">
            <a:noFill/>
            <a:miter lim="800000"/>
            <a:headEnd/>
            <a:tailEnd/>
          </a:ln>
        </p:spPr>
        <p:txBody>
          <a:bodyPr wrap="none" anchor="ctr"/>
          <a:lstStyle/>
          <a:p>
            <a:pPr algn="ctr"/>
            <a:r>
              <a:rPr lang="en-GB" sz="1200" b="0">
                <a:solidFill>
                  <a:srgbClr val="000066"/>
                </a:solidFill>
              </a:rPr>
              <a:t>3 days</a:t>
            </a:r>
          </a:p>
        </p:txBody>
      </p:sp>
      <p:sp>
        <p:nvSpPr>
          <p:cNvPr id="128245" name="Rectangle 272"/>
          <p:cNvSpPr>
            <a:spLocks noChangeArrowheads="1"/>
          </p:cNvSpPr>
          <p:nvPr/>
        </p:nvSpPr>
        <p:spPr bwMode="auto">
          <a:xfrm>
            <a:off x="611188" y="4398963"/>
            <a:ext cx="7848600" cy="665162"/>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Future State 1:	</a:t>
            </a:r>
            <a:r>
              <a:rPr lang="en-GB" sz="1200" b="0">
                <a:solidFill>
                  <a:srgbClr val="000066"/>
                </a:solidFill>
              </a:rPr>
              <a:t>Value and waste analysis, blue sky vision, to-be value stream map</a:t>
            </a:r>
          </a:p>
        </p:txBody>
      </p:sp>
      <p:sp>
        <p:nvSpPr>
          <p:cNvPr id="128246" name="AutoShape 273"/>
          <p:cNvSpPr>
            <a:spLocks noChangeArrowheads="1"/>
          </p:cNvSpPr>
          <p:nvPr/>
        </p:nvSpPr>
        <p:spPr bwMode="auto">
          <a:xfrm>
            <a:off x="611188" y="4387850"/>
            <a:ext cx="431800" cy="684213"/>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FS1</a:t>
            </a:r>
          </a:p>
        </p:txBody>
      </p:sp>
      <p:sp>
        <p:nvSpPr>
          <p:cNvPr id="128247" name="Rectangle 274"/>
          <p:cNvSpPr>
            <a:spLocks noChangeArrowheads="1"/>
          </p:cNvSpPr>
          <p:nvPr/>
        </p:nvSpPr>
        <p:spPr bwMode="auto">
          <a:xfrm>
            <a:off x="7812088" y="4460875"/>
            <a:ext cx="603250" cy="528638"/>
          </a:xfrm>
          <a:prstGeom prst="rect">
            <a:avLst/>
          </a:prstGeom>
          <a:solidFill>
            <a:srgbClr val="6666FF"/>
          </a:solidFill>
          <a:ln w="9525">
            <a:noFill/>
            <a:miter lim="800000"/>
            <a:headEnd/>
            <a:tailEnd/>
          </a:ln>
        </p:spPr>
        <p:txBody>
          <a:bodyPr wrap="none" anchor="ctr"/>
          <a:lstStyle/>
          <a:p>
            <a:pPr algn="ctr"/>
            <a:r>
              <a:rPr lang="en-GB" sz="1200" b="0">
                <a:solidFill>
                  <a:srgbClr val="000066"/>
                </a:solidFill>
              </a:rPr>
              <a:t>2 days</a:t>
            </a:r>
          </a:p>
        </p:txBody>
      </p:sp>
      <p:sp>
        <p:nvSpPr>
          <p:cNvPr id="128248" name="Rectangle 277"/>
          <p:cNvSpPr>
            <a:spLocks noChangeArrowheads="1"/>
          </p:cNvSpPr>
          <p:nvPr/>
        </p:nvSpPr>
        <p:spPr bwMode="auto">
          <a:xfrm>
            <a:off x="611188" y="5119688"/>
            <a:ext cx="7848600" cy="665162"/>
          </a:xfrm>
          <a:prstGeom prst="rect">
            <a:avLst/>
          </a:prstGeom>
          <a:solidFill>
            <a:srgbClr val="E5E5CC"/>
          </a:solidFill>
          <a:ln w="9525">
            <a:noFill/>
            <a:miter lim="800000"/>
            <a:headEnd/>
            <a:tailEnd/>
          </a:ln>
        </p:spPr>
        <p:txBody>
          <a:bodyPr wrap="none" lIns="576000" tIns="0" rIns="0" bIns="0" anchor="ctr"/>
          <a:lstStyle/>
          <a:p>
            <a:pPr>
              <a:tabLst>
                <a:tab pos="1430338" algn="l"/>
              </a:tabLst>
            </a:pPr>
            <a:r>
              <a:rPr lang="en-GB" sz="1400">
                <a:solidFill>
                  <a:srgbClr val="000066"/>
                </a:solidFill>
              </a:rPr>
              <a:t>Future State 2:	Work package definition and charters, prioritisation </a:t>
            </a:r>
          </a:p>
          <a:p>
            <a:pPr>
              <a:tabLst>
                <a:tab pos="1430338" algn="l"/>
              </a:tabLst>
            </a:pPr>
            <a:r>
              <a:rPr lang="en-GB" sz="1400">
                <a:solidFill>
                  <a:srgbClr val="000066"/>
                </a:solidFill>
              </a:rPr>
              <a:t>	and high level plan</a:t>
            </a:r>
          </a:p>
        </p:txBody>
      </p:sp>
      <p:sp>
        <p:nvSpPr>
          <p:cNvPr id="128249" name="AutoShape 278"/>
          <p:cNvSpPr>
            <a:spLocks noChangeArrowheads="1"/>
          </p:cNvSpPr>
          <p:nvPr/>
        </p:nvSpPr>
        <p:spPr bwMode="auto">
          <a:xfrm>
            <a:off x="533400" y="5108575"/>
            <a:ext cx="509588" cy="684213"/>
          </a:xfrm>
          <a:prstGeom prst="homePlate">
            <a:avLst>
              <a:gd name="adj" fmla="val 32597"/>
            </a:avLst>
          </a:prstGeom>
          <a:solidFill>
            <a:schemeClr val="tx1"/>
          </a:solidFill>
          <a:ln w="25400">
            <a:noFill/>
            <a:miter lim="800000"/>
            <a:headEnd/>
            <a:tailEnd/>
          </a:ln>
        </p:spPr>
        <p:txBody>
          <a:bodyPr wrap="none" lIns="36000" tIns="0" rIns="0" bIns="0" anchor="ctr"/>
          <a:lstStyle/>
          <a:p>
            <a:pPr algn="ctr"/>
            <a:r>
              <a:rPr lang="en-GB" sz="1200">
                <a:solidFill>
                  <a:srgbClr val="FFFFFF"/>
                </a:solidFill>
              </a:rPr>
              <a:t>FS2</a:t>
            </a:r>
          </a:p>
        </p:txBody>
      </p:sp>
      <p:sp>
        <p:nvSpPr>
          <p:cNvPr id="128250" name="Rectangle 279"/>
          <p:cNvSpPr>
            <a:spLocks noChangeArrowheads="1"/>
          </p:cNvSpPr>
          <p:nvPr/>
        </p:nvSpPr>
        <p:spPr bwMode="auto">
          <a:xfrm>
            <a:off x="7812088" y="5181600"/>
            <a:ext cx="603250" cy="528638"/>
          </a:xfrm>
          <a:prstGeom prst="rect">
            <a:avLst/>
          </a:prstGeom>
          <a:solidFill>
            <a:schemeClr val="tx1"/>
          </a:solidFill>
          <a:ln w="25400">
            <a:solidFill>
              <a:schemeClr val="bg1"/>
            </a:solidFill>
            <a:miter lim="800000"/>
            <a:headEnd/>
            <a:tailEnd/>
          </a:ln>
        </p:spPr>
        <p:txBody>
          <a:bodyPr wrap="none" lIns="36000" tIns="0" rIns="0" bIns="0" anchor="ctr"/>
          <a:lstStyle/>
          <a:p>
            <a:pPr algn="ctr"/>
            <a:r>
              <a:rPr lang="en-GB" sz="1200">
                <a:solidFill>
                  <a:srgbClr val="FFFFFF"/>
                </a:solidFill>
              </a:rPr>
              <a:t>2 days</a:t>
            </a:r>
          </a:p>
        </p:txBody>
      </p:sp>
      <p:sp>
        <p:nvSpPr>
          <p:cNvPr id="128251" name="Rectangle 282"/>
          <p:cNvSpPr>
            <a:spLocks noChangeArrowheads="1"/>
          </p:cNvSpPr>
          <p:nvPr/>
        </p:nvSpPr>
        <p:spPr bwMode="auto">
          <a:xfrm>
            <a:off x="611188" y="5840413"/>
            <a:ext cx="7848600" cy="665162"/>
          </a:xfrm>
          <a:prstGeom prst="rect">
            <a:avLst/>
          </a:prstGeom>
          <a:solidFill>
            <a:srgbClr val="EAEAEA"/>
          </a:solidFill>
          <a:ln w="9525">
            <a:noFill/>
            <a:miter lim="800000"/>
            <a:headEnd/>
            <a:tailEnd/>
          </a:ln>
        </p:spPr>
        <p:txBody>
          <a:bodyPr wrap="none" lIns="576000" tIns="0" rIns="0" bIns="0" anchor="ctr"/>
          <a:lstStyle/>
          <a:p>
            <a:pPr>
              <a:tabLst>
                <a:tab pos="1430338" algn="l"/>
              </a:tabLst>
            </a:pPr>
            <a:r>
              <a:rPr lang="en-GB" sz="1400" b="0">
                <a:solidFill>
                  <a:srgbClr val="000066"/>
                </a:solidFill>
              </a:rPr>
              <a:t>Work Pilot:	</a:t>
            </a:r>
            <a:r>
              <a:rPr lang="en-GB" sz="1200" b="0">
                <a:solidFill>
                  <a:srgbClr val="000066"/>
                </a:solidFill>
              </a:rPr>
              <a:t>Test the changes and refine the design before roll-out</a:t>
            </a:r>
          </a:p>
        </p:txBody>
      </p:sp>
      <p:sp>
        <p:nvSpPr>
          <p:cNvPr id="128252" name="AutoShape 283"/>
          <p:cNvSpPr>
            <a:spLocks noChangeArrowheads="1"/>
          </p:cNvSpPr>
          <p:nvPr/>
        </p:nvSpPr>
        <p:spPr bwMode="auto">
          <a:xfrm>
            <a:off x="611188" y="5829300"/>
            <a:ext cx="431800" cy="684213"/>
          </a:xfrm>
          <a:prstGeom prst="homePlate">
            <a:avLst>
              <a:gd name="adj" fmla="val 32597"/>
            </a:avLst>
          </a:prstGeom>
          <a:solidFill>
            <a:srgbClr val="6666FF"/>
          </a:solidFill>
          <a:ln w="25400">
            <a:solidFill>
              <a:schemeClr val="bg1"/>
            </a:solidFill>
            <a:miter lim="800000"/>
            <a:headEnd/>
            <a:tailEnd/>
          </a:ln>
        </p:spPr>
        <p:txBody>
          <a:bodyPr wrap="none" lIns="36000" tIns="0" rIns="0" bIns="0" anchor="ctr"/>
          <a:lstStyle/>
          <a:p>
            <a:pPr algn="ctr"/>
            <a:r>
              <a:rPr lang="en-GB" sz="1200">
                <a:solidFill>
                  <a:srgbClr val="000066"/>
                </a:solidFill>
              </a:rPr>
              <a:t>WP</a:t>
            </a:r>
          </a:p>
        </p:txBody>
      </p:sp>
      <p:sp>
        <p:nvSpPr>
          <p:cNvPr id="128253" name="Rectangle 284"/>
          <p:cNvSpPr>
            <a:spLocks noChangeArrowheads="1"/>
          </p:cNvSpPr>
          <p:nvPr/>
        </p:nvSpPr>
        <p:spPr bwMode="auto">
          <a:xfrm>
            <a:off x="7812088" y="5900738"/>
            <a:ext cx="603250" cy="528637"/>
          </a:xfrm>
          <a:prstGeom prst="rect">
            <a:avLst/>
          </a:prstGeom>
          <a:solidFill>
            <a:srgbClr val="6666FF"/>
          </a:solidFill>
          <a:ln w="9525">
            <a:noFill/>
            <a:miter lim="800000"/>
            <a:headEnd/>
            <a:tailEnd/>
          </a:ln>
        </p:spPr>
        <p:txBody>
          <a:bodyPr wrap="none" anchor="ctr"/>
          <a:lstStyle/>
          <a:p>
            <a:pPr algn="ctr"/>
            <a:r>
              <a:rPr lang="en-GB" sz="1200" b="0">
                <a:solidFill>
                  <a:srgbClr val="000066"/>
                </a:solidFill>
              </a:rPr>
              <a:t>8 weeks</a:t>
            </a:r>
          </a:p>
        </p:txBody>
      </p:sp>
      <p:sp>
        <p:nvSpPr>
          <p:cNvPr id="115" name="AutoShape 254"/>
          <p:cNvSpPr>
            <a:spLocks noChangeArrowheads="1"/>
          </p:cNvSpPr>
          <p:nvPr/>
        </p:nvSpPr>
        <p:spPr bwMode="gray">
          <a:xfrm>
            <a:off x="4065588" y="1104448"/>
            <a:ext cx="179388" cy="179388"/>
          </a:xfrm>
          <a:prstGeom prst="diamond">
            <a:avLst/>
          </a:prstGeom>
          <a:solidFill>
            <a:srgbClr val="6666FF"/>
          </a:solidFill>
          <a:ln w="12700" algn="ctr">
            <a:solidFill>
              <a:schemeClr val="tx1"/>
            </a:solidFill>
            <a:miter lim="800000"/>
            <a:headEnd/>
            <a:tailEnd/>
          </a:ln>
        </p:spPr>
        <p:txBody>
          <a:bodyPr wrap="none" lIns="0" tIns="0" rIns="0" bIns="0" anchor="ctr"/>
          <a:lstStyle/>
          <a:p>
            <a:endParaRPr lang="en-US"/>
          </a:p>
        </p:txBody>
      </p:sp>
      <p:sp>
        <p:nvSpPr>
          <p:cNvPr id="116" name="AutoShape 255"/>
          <p:cNvSpPr>
            <a:spLocks noChangeArrowheads="1"/>
          </p:cNvSpPr>
          <p:nvPr/>
        </p:nvSpPr>
        <p:spPr bwMode="auto">
          <a:xfrm>
            <a:off x="2047876" y="1106036"/>
            <a:ext cx="2106613" cy="176213"/>
          </a:xfrm>
          <a:prstGeom prst="homePlate">
            <a:avLst>
              <a:gd name="adj" fmla="val 0"/>
            </a:avLst>
          </a:prstGeom>
          <a:solidFill>
            <a:srgbClr val="6666FF"/>
          </a:solidFill>
          <a:ln w="9525">
            <a:noFill/>
            <a:miter lim="800000"/>
            <a:headEnd/>
            <a:tailEnd/>
          </a:ln>
        </p:spPr>
        <p:txBody>
          <a:bodyPr wrap="none" anchor="ctr"/>
          <a:lstStyle/>
          <a:p>
            <a:pPr algn="ctr"/>
            <a:r>
              <a:rPr lang="en-GB" sz="1000" b="0">
                <a:solidFill>
                  <a:schemeClr val="bg1"/>
                </a:solidFill>
              </a:rPr>
              <a:t>Current State</a:t>
            </a:r>
          </a:p>
        </p:txBody>
      </p:sp>
      <p:sp>
        <p:nvSpPr>
          <p:cNvPr id="117" name="AutoShape 256"/>
          <p:cNvSpPr>
            <a:spLocks noChangeArrowheads="1"/>
          </p:cNvSpPr>
          <p:nvPr/>
        </p:nvSpPr>
        <p:spPr bwMode="gray">
          <a:xfrm>
            <a:off x="1968501" y="1104448"/>
            <a:ext cx="179388" cy="179388"/>
          </a:xfrm>
          <a:prstGeom prst="diamond">
            <a:avLst/>
          </a:prstGeom>
          <a:solidFill>
            <a:srgbClr val="6666FF"/>
          </a:solidFill>
          <a:ln w="9525" algn="ctr">
            <a:solidFill>
              <a:schemeClr val="tx1"/>
            </a:solidFill>
            <a:miter lim="800000"/>
            <a:headEnd/>
            <a:tailEnd/>
          </a:ln>
        </p:spPr>
        <p:txBody>
          <a:bodyPr wrap="none" lIns="0" tIns="0" rIns="0" bIns="0" anchor="ctr"/>
          <a:lstStyle/>
          <a:p>
            <a:endParaRPr lang="en-US"/>
          </a:p>
        </p:txBody>
      </p:sp>
      <p:sp>
        <p:nvSpPr>
          <p:cNvPr id="118" name="AutoShape 259"/>
          <p:cNvSpPr>
            <a:spLocks noChangeArrowheads="1"/>
          </p:cNvSpPr>
          <p:nvPr/>
        </p:nvSpPr>
        <p:spPr bwMode="auto">
          <a:xfrm>
            <a:off x="611188" y="1106036"/>
            <a:ext cx="1439863" cy="176213"/>
          </a:xfrm>
          <a:prstGeom prst="homePlate">
            <a:avLst>
              <a:gd name="adj" fmla="val 0"/>
            </a:avLst>
          </a:prstGeom>
          <a:solidFill>
            <a:srgbClr val="6666FF"/>
          </a:solidFill>
          <a:ln w="9525">
            <a:noFill/>
            <a:miter lim="800000"/>
            <a:headEnd/>
            <a:tailEnd/>
          </a:ln>
        </p:spPr>
        <p:txBody>
          <a:bodyPr wrap="none" anchor="ctr"/>
          <a:lstStyle/>
          <a:p>
            <a:pPr algn="ctr"/>
            <a:r>
              <a:rPr lang="en-GB" sz="1000" b="0">
                <a:solidFill>
                  <a:schemeClr val="bg1"/>
                </a:solidFill>
              </a:rPr>
              <a:t>Mobilisation</a:t>
            </a: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373988" y="1499263"/>
            <a:ext cx="8432799" cy="4954073"/>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4625" indent="-174625"/>
            <a:r>
              <a:rPr lang="en-GB" sz="1100" dirty="0">
                <a:solidFill>
                  <a:schemeClr val="tx1"/>
                </a:solidFill>
              </a:rPr>
              <a:t> </a:t>
            </a:r>
          </a:p>
        </p:txBody>
      </p:sp>
      <p:sp>
        <p:nvSpPr>
          <p:cNvPr id="27" name="Title 1"/>
          <p:cNvSpPr>
            <a:spLocks noGrp="1"/>
          </p:cNvSpPr>
          <p:nvPr>
            <p:ph type="title"/>
          </p:nvPr>
        </p:nvSpPr>
        <p:spPr/>
        <p:txBody>
          <a:bodyPr/>
          <a:lstStyle/>
          <a:p>
            <a:pPr eaLnBrk="1" hangingPunct="1"/>
            <a:r>
              <a:rPr lang="en-US" sz="2400" dirty="0"/>
              <a:t>Lean management tools &amp; techniques</a:t>
            </a:r>
            <a:r>
              <a:rPr lang="en-GB" dirty="0" smtClean="0"/>
              <a:t/>
            </a:r>
            <a:br>
              <a:rPr lang="en-GB" dirty="0" smtClean="0"/>
            </a:br>
            <a:r>
              <a:rPr lang="en-GB" sz="1800" b="1" dirty="0" smtClean="0">
                <a:solidFill>
                  <a:srgbClr val="99CC33"/>
                </a:solidFill>
                <a:cs typeface="Arial" pitchFamily="34" charset="0"/>
              </a:rPr>
              <a:t>Visual Management provides a </a:t>
            </a:r>
            <a:r>
              <a:rPr lang="en-GB" sz="1800" b="1" dirty="0">
                <a:solidFill>
                  <a:srgbClr val="99CC33"/>
                </a:solidFill>
                <a:cs typeface="Arial" pitchFamily="34" charset="0"/>
              </a:rPr>
              <a:t>foundation for building a lean environment</a:t>
            </a:r>
            <a:endParaRPr lang="en-GB" sz="1600" dirty="0" smtClean="0"/>
          </a:p>
        </p:txBody>
      </p:sp>
      <p:sp>
        <p:nvSpPr>
          <p:cNvPr id="4" name="Slide Number Placeholder 3"/>
          <p:cNvSpPr>
            <a:spLocks noGrp="1"/>
          </p:cNvSpPr>
          <p:nvPr>
            <p:ph type="sldNum" sz="quarter" idx="11"/>
          </p:nvPr>
        </p:nvSpPr>
        <p:spPr/>
        <p:txBody>
          <a:bodyPr/>
          <a:lstStyle/>
          <a:p>
            <a:pPr>
              <a:defRPr/>
            </a:pPr>
            <a:fld id="{C5F14C61-931A-4236-A27B-A4A5BA7BA053}" type="slidenum">
              <a:rPr lang="en-GB"/>
              <a:pPr>
                <a:defRPr/>
              </a:pPr>
              <a:t>50</a:t>
            </a:fld>
            <a:endParaRPr lang="en-GB" dirty="0"/>
          </a:p>
        </p:txBody>
      </p:sp>
      <p:sp>
        <p:nvSpPr>
          <p:cNvPr id="10" name="Rectangle 9"/>
          <p:cNvSpPr/>
          <p:nvPr/>
        </p:nvSpPr>
        <p:spPr>
          <a:xfrm>
            <a:off x="373988" y="1237182"/>
            <a:ext cx="8432799" cy="252000"/>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Example layout</a:t>
            </a:r>
            <a:endParaRPr lang="en-GB" sz="1400" dirty="0"/>
          </a:p>
        </p:txBody>
      </p:sp>
      <p:pic>
        <p:nvPicPr>
          <p:cNvPr id="260098" name="Picture 2" descr="C:\Users\jchipchase\AppData\Local\Temp\wz0268\centre board\whole centre board.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3913" y="2349500"/>
            <a:ext cx="7867526" cy="2819400"/>
          </a:xfrm>
          <a:prstGeom prst="rect">
            <a:avLst/>
          </a:prstGeom>
          <a:noFill/>
        </p:spPr>
      </p:pic>
      <p:sp>
        <p:nvSpPr>
          <p:cNvPr id="22" name="Rectangular Callout 21"/>
          <p:cNvSpPr/>
          <p:nvPr/>
        </p:nvSpPr>
        <p:spPr>
          <a:xfrm>
            <a:off x="477369" y="1602140"/>
            <a:ext cx="2633569" cy="620360"/>
          </a:xfrm>
          <a:prstGeom prst="wedgeRectCallout">
            <a:avLst>
              <a:gd name="adj1" fmla="val -199"/>
              <a:gd name="adj2" fmla="val 157696"/>
            </a:avLst>
          </a:prstGeom>
          <a:solidFill>
            <a:schemeClr val="bg1"/>
          </a:solidFill>
          <a:ln w="12700">
            <a:solidFill>
              <a:srgbClr val="00A1DE"/>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177800" indent="-177800"/>
            <a:r>
              <a:rPr lang="en-GB" sz="1100" b="1" dirty="0">
                <a:solidFill>
                  <a:schemeClr val="tx1"/>
                </a:solidFill>
              </a:rPr>
              <a:t>Performance Measures</a:t>
            </a:r>
          </a:p>
          <a:p>
            <a:pPr marL="177800" indent="-177800">
              <a:buFont typeface="Wingdings" pitchFamily="2" charset="2"/>
              <a:buChar char="§"/>
            </a:pPr>
            <a:r>
              <a:rPr lang="en-GB" sz="1100" b="0" dirty="0" smtClean="0">
                <a:solidFill>
                  <a:schemeClr val="tx1"/>
                </a:solidFill>
              </a:rPr>
              <a:t>Quality, </a:t>
            </a:r>
            <a:r>
              <a:rPr lang="en-GB" sz="1100" b="0" dirty="0">
                <a:solidFill>
                  <a:schemeClr val="tx1"/>
                </a:solidFill>
              </a:rPr>
              <a:t>cost and delivery measures</a:t>
            </a:r>
          </a:p>
          <a:p>
            <a:pPr marL="177800" indent="-177800">
              <a:buFont typeface="Wingdings" pitchFamily="2" charset="2"/>
              <a:buChar char="§"/>
            </a:pPr>
            <a:r>
              <a:rPr lang="en-GB" sz="1100" b="0" dirty="0">
                <a:solidFill>
                  <a:schemeClr val="tx1"/>
                </a:solidFill>
              </a:rPr>
              <a:t>Displayed in trend format</a:t>
            </a:r>
          </a:p>
        </p:txBody>
      </p:sp>
      <p:sp>
        <p:nvSpPr>
          <p:cNvPr id="28" name="Rectangular Callout 27"/>
          <p:cNvSpPr/>
          <p:nvPr/>
        </p:nvSpPr>
        <p:spPr>
          <a:xfrm>
            <a:off x="678333" y="5729640"/>
            <a:ext cx="2401406" cy="620360"/>
          </a:xfrm>
          <a:prstGeom prst="wedgeRectCallout">
            <a:avLst>
              <a:gd name="adj1" fmla="val 58168"/>
              <a:gd name="adj2" fmla="val -204658"/>
            </a:avLst>
          </a:prstGeom>
          <a:solidFill>
            <a:schemeClr val="bg1"/>
          </a:solidFill>
          <a:ln w="12700">
            <a:solidFill>
              <a:srgbClr val="00A1DE"/>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177800" indent="-177800"/>
            <a:r>
              <a:rPr lang="en-GB" sz="1100" b="1" dirty="0">
                <a:solidFill>
                  <a:schemeClr val="tx1"/>
                </a:solidFill>
              </a:rPr>
              <a:t>5s status</a:t>
            </a:r>
          </a:p>
          <a:p>
            <a:pPr marL="177800" indent="-177800">
              <a:buFont typeface="Wingdings" pitchFamily="2" charset="2"/>
              <a:buChar char="§"/>
            </a:pPr>
            <a:r>
              <a:rPr lang="en-GB" sz="1100" b="0" dirty="0">
                <a:solidFill>
                  <a:schemeClr val="tx1"/>
                </a:solidFill>
              </a:rPr>
              <a:t>Corrective actions</a:t>
            </a:r>
          </a:p>
          <a:p>
            <a:pPr marL="177800" indent="-177800">
              <a:buFont typeface="Wingdings" pitchFamily="2" charset="2"/>
              <a:buChar char="§"/>
            </a:pPr>
            <a:r>
              <a:rPr lang="en-GB" sz="1100" b="0" dirty="0">
                <a:solidFill>
                  <a:schemeClr val="tx1"/>
                </a:solidFill>
              </a:rPr>
              <a:t>5s performance tracking</a:t>
            </a:r>
          </a:p>
        </p:txBody>
      </p:sp>
      <p:sp>
        <p:nvSpPr>
          <p:cNvPr id="29" name="Rectangular Callout 28"/>
          <p:cNvSpPr/>
          <p:nvPr/>
        </p:nvSpPr>
        <p:spPr>
          <a:xfrm>
            <a:off x="3362230" y="5729640"/>
            <a:ext cx="2401406" cy="620360"/>
          </a:xfrm>
          <a:prstGeom prst="wedgeRectCallout">
            <a:avLst>
              <a:gd name="adj1" fmla="val 45503"/>
              <a:gd name="adj2" fmla="val -180091"/>
            </a:avLst>
          </a:prstGeom>
          <a:solidFill>
            <a:schemeClr val="bg1"/>
          </a:solidFill>
          <a:ln w="12700">
            <a:solidFill>
              <a:srgbClr val="00A1DE"/>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177800" indent="-177800"/>
            <a:r>
              <a:rPr lang="en-GB" sz="1100" b="1" dirty="0">
                <a:solidFill>
                  <a:schemeClr val="tx1"/>
                </a:solidFill>
              </a:rPr>
              <a:t>Daily huddle agenda</a:t>
            </a:r>
          </a:p>
          <a:p>
            <a:pPr marL="177800" indent="-177800">
              <a:buFont typeface="Wingdings" pitchFamily="2" charset="2"/>
              <a:buChar char="§"/>
            </a:pPr>
            <a:r>
              <a:rPr lang="en-GB" sz="1100" b="0" dirty="0">
                <a:solidFill>
                  <a:schemeClr val="tx1"/>
                </a:solidFill>
              </a:rPr>
              <a:t>Standard daily update agenda</a:t>
            </a:r>
          </a:p>
          <a:p>
            <a:pPr marL="177800" indent="-177800">
              <a:buFont typeface="Wingdings" pitchFamily="2" charset="2"/>
              <a:buChar char="§"/>
            </a:pPr>
            <a:r>
              <a:rPr lang="en-GB" sz="1100" b="0" dirty="0">
                <a:solidFill>
                  <a:schemeClr val="tx1"/>
                </a:solidFill>
              </a:rPr>
              <a:t>Completed for reference</a:t>
            </a:r>
          </a:p>
        </p:txBody>
      </p:sp>
      <p:sp>
        <p:nvSpPr>
          <p:cNvPr id="31" name="Rectangular Callout 30"/>
          <p:cNvSpPr/>
          <p:nvPr/>
        </p:nvSpPr>
        <p:spPr>
          <a:xfrm>
            <a:off x="6266333" y="1602140"/>
            <a:ext cx="2401406" cy="620360"/>
          </a:xfrm>
          <a:prstGeom prst="wedgeRectCallout">
            <a:avLst>
              <a:gd name="adj1" fmla="val -42046"/>
              <a:gd name="adj2" fmla="val 98327"/>
            </a:avLst>
          </a:prstGeom>
          <a:solidFill>
            <a:schemeClr val="bg1"/>
          </a:solidFill>
          <a:ln w="12700">
            <a:solidFill>
              <a:srgbClr val="00A1DE"/>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177800" indent="-177800"/>
            <a:r>
              <a:rPr lang="en-GB" sz="1100" b="1" dirty="0">
                <a:solidFill>
                  <a:schemeClr val="tx1"/>
                </a:solidFill>
              </a:rPr>
              <a:t>CI ideas board</a:t>
            </a:r>
          </a:p>
          <a:p>
            <a:pPr marL="177800" indent="-177800">
              <a:buFont typeface="Wingdings" pitchFamily="2" charset="2"/>
              <a:buChar char="§"/>
            </a:pPr>
            <a:r>
              <a:rPr lang="en-GB" sz="1100" b="0" dirty="0">
                <a:solidFill>
                  <a:schemeClr val="tx1"/>
                </a:solidFill>
              </a:rPr>
              <a:t>CI Ideas board showing progress</a:t>
            </a:r>
          </a:p>
          <a:p>
            <a:pPr marL="177800" indent="-177800"/>
            <a:r>
              <a:rPr lang="en-GB" sz="1100" b="0" dirty="0">
                <a:solidFill>
                  <a:schemeClr val="tx1"/>
                </a:solidFill>
              </a:rPr>
              <a:t>	and status</a:t>
            </a:r>
          </a:p>
        </p:txBody>
      </p:sp>
      <p:sp>
        <p:nvSpPr>
          <p:cNvPr id="35" name="Rectangular Callout 34"/>
          <p:cNvSpPr/>
          <p:nvPr/>
        </p:nvSpPr>
        <p:spPr>
          <a:xfrm>
            <a:off x="3510433" y="1602140"/>
            <a:ext cx="2401406" cy="620360"/>
          </a:xfrm>
          <a:prstGeom prst="wedgeRectCallout">
            <a:avLst>
              <a:gd name="adj1" fmla="val 352"/>
              <a:gd name="adj2" fmla="val 116752"/>
            </a:avLst>
          </a:prstGeom>
          <a:solidFill>
            <a:schemeClr val="bg1"/>
          </a:solidFill>
          <a:ln w="12700">
            <a:solidFill>
              <a:srgbClr val="00A1DE"/>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177800" indent="-177800"/>
            <a:r>
              <a:rPr lang="en-GB" sz="1100" b="1" dirty="0">
                <a:solidFill>
                  <a:schemeClr val="tx1"/>
                </a:solidFill>
              </a:rPr>
              <a:t>Process Documentation</a:t>
            </a:r>
          </a:p>
          <a:p>
            <a:pPr marL="177800" indent="-177800">
              <a:buFont typeface="Wingdings" pitchFamily="2" charset="2"/>
              <a:buChar char="§"/>
            </a:pPr>
            <a:r>
              <a:rPr lang="en-GB" sz="1100" b="0" dirty="0">
                <a:solidFill>
                  <a:schemeClr val="tx1"/>
                </a:solidFill>
              </a:rPr>
              <a:t>Process information</a:t>
            </a:r>
          </a:p>
          <a:p>
            <a:pPr marL="177800" indent="-177800">
              <a:buFont typeface="Wingdings" pitchFamily="2" charset="2"/>
              <a:buChar char="§"/>
            </a:pPr>
            <a:r>
              <a:rPr lang="en-GB" sz="1100" b="0" dirty="0">
                <a:solidFill>
                  <a:schemeClr val="tx1"/>
                </a:solidFill>
              </a:rPr>
              <a:t>Standard operations</a:t>
            </a:r>
          </a:p>
        </p:txBody>
      </p:sp>
      <p:sp>
        <p:nvSpPr>
          <p:cNvPr id="24" name="Rectangle 23"/>
          <p:cNvSpPr/>
          <p:nvPr/>
        </p:nvSpPr>
        <p:spPr>
          <a:xfrm>
            <a:off x="2393288" y="3886200"/>
            <a:ext cx="11684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Supporting MI</a:t>
            </a:r>
            <a:endParaRPr lang="en-GB" dirty="0"/>
          </a:p>
        </p:txBody>
      </p:sp>
      <p:sp>
        <p:nvSpPr>
          <p:cNvPr id="26" name="Rectangular Callout 25"/>
          <p:cNvSpPr/>
          <p:nvPr/>
        </p:nvSpPr>
        <p:spPr>
          <a:xfrm>
            <a:off x="6046126" y="5729640"/>
            <a:ext cx="2401406" cy="620360"/>
          </a:xfrm>
          <a:prstGeom prst="wedgeRectCallout">
            <a:avLst>
              <a:gd name="adj1" fmla="val -28537"/>
              <a:gd name="adj2" fmla="val -249696"/>
            </a:avLst>
          </a:prstGeom>
          <a:solidFill>
            <a:schemeClr val="bg1"/>
          </a:solidFill>
          <a:ln w="12700">
            <a:solidFill>
              <a:srgbClr val="00A1DE"/>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lang="en-GB" sz="1100" b="1" dirty="0">
                <a:solidFill>
                  <a:schemeClr val="tx1"/>
                </a:solidFill>
              </a:rPr>
              <a:t>People information</a:t>
            </a:r>
          </a:p>
          <a:p>
            <a:pPr marL="177800" indent="-177800">
              <a:buFont typeface="Wingdings" pitchFamily="2" charset="2"/>
              <a:buChar char="§"/>
            </a:pPr>
            <a:r>
              <a:rPr lang="en-GB" sz="1100" b="0" dirty="0">
                <a:solidFill>
                  <a:schemeClr val="tx1"/>
                </a:solidFill>
              </a:rPr>
              <a:t>Skills matrix </a:t>
            </a:r>
          </a:p>
          <a:p>
            <a:endParaRPr lang="en-GB" sz="1100" dirty="0"/>
          </a:p>
        </p:txBody>
      </p:sp>
    </p:spTree>
    <p:extLst>
      <p:ext uri="{BB962C8B-B14F-4D97-AF65-F5344CB8AC3E}">
        <p14:creationId xmlns:p14="http://schemas.microsoft.com/office/powerpoint/2010/main" val="419678508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24" name="Rectangle 2"/>
          <p:cNvSpPr>
            <a:spLocks noGrp="1" noChangeArrowheads="1"/>
          </p:cNvSpPr>
          <p:nvPr>
            <p:ph type="title"/>
          </p:nvPr>
        </p:nvSpPr>
        <p:spPr>
          <a:xfrm>
            <a:off x="358775" y="358775"/>
            <a:ext cx="8245475" cy="498475"/>
          </a:xfrm>
        </p:spPr>
        <p:txBody>
          <a:bodyPr/>
          <a:lstStyle/>
          <a:p>
            <a:r>
              <a:rPr lang="en-US" sz="2400" dirty="0" smtClean="0"/>
              <a:t>Example</a:t>
            </a:r>
            <a:br>
              <a:rPr lang="en-US" sz="2400" dirty="0" smtClean="0"/>
            </a:br>
            <a:r>
              <a:rPr lang="en-GB" sz="1800" b="1" dirty="0" smtClean="0">
                <a:solidFill>
                  <a:srgbClr val="99CC33"/>
                </a:solidFill>
                <a:cs typeface="Arial" pitchFamily="34" charset="0"/>
              </a:rPr>
              <a:t>Visual Management Displays</a:t>
            </a:r>
          </a:p>
        </p:txBody>
      </p:sp>
      <p:sp>
        <p:nvSpPr>
          <p:cNvPr id="162818" name="Rectangle 3"/>
          <p:cNvSpPr>
            <a:spLocks noGrp="1" noChangeArrowheads="1"/>
          </p:cNvSpPr>
          <p:nvPr>
            <p:ph idx="1"/>
          </p:nvPr>
        </p:nvSpPr>
        <p:spPr>
          <a:xfrm>
            <a:off x="371498" y="1331913"/>
            <a:ext cx="2924175" cy="2452687"/>
          </a:xfrm>
        </p:spPr>
        <p:txBody>
          <a:bodyPr/>
          <a:lstStyle/>
          <a:p>
            <a:pPr marL="0" indent="0" eaLnBrk="1" hangingPunct="1"/>
            <a:r>
              <a:rPr lang="en-GB" dirty="0" smtClean="0">
                <a:solidFill>
                  <a:schemeClr val="accent1"/>
                </a:solidFill>
              </a:rPr>
              <a:t>Display boards created at a client site:</a:t>
            </a:r>
          </a:p>
          <a:p>
            <a:pPr lvl="1" eaLnBrk="1" hangingPunct="1">
              <a:buFont typeface="Wingdings" panose="05000000000000000000" pitchFamily="2" charset="2"/>
              <a:buChar char="§"/>
            </a:pPr>
            <a:r>
              <a:rPr lang="en-GB" dirty="0" smtClean="0">
                <a:solidFill>
                  <a:schemeClr val="accent1"/>
                </a:solidFill>
              </a:rPr>
              <a:t>Process Output Statistics updated on a daily based</a:t>
            </a:r>
          </a:p>
          <a:p>
            <a:pPr lvl="1" eaLnBrk="1" hangingPunct="1">
              <a:buFont typeface="Wingdings" panose="05000000000000000000" pitchFamily="2" charset="2"/>
              <a:buChar char="§"/>
            </a:pPr>
            <a:r>
              <a:rPr lang="en-GB" dirty="0" smtClean="0">
                <a:solidFill>
                  <a:schemeClr val="accent1"/>
                </a:solidFill>
              </a:rPr>
              <a:t>Statistics plotted as monthly trends</a:t>
            </a:r>
          </a:p>
        </p:txBody>
      </p:sp>
      <p:sp>
        <p:nvSpPr>
          <p:cNvPr id="9" name="Slide Number Placeholder 4"/>
          <p:cNvSpPr>
            <a:spLocks noGrp="1"/>
          </p:cNvSpPr>
          <p:nvPr>
            <p:ph type="sldNum" sz="quarter" idx="11"/>
          </p:nvPr>
        </p:nvSpPr>
        <p:spPr>
          <a:noFill/>
        </p:spPr>
        <p:txBody>
          <a:bodyPr/>
          <a:lstStyle/>
          <a:p>
            <a:fld id="{8378419C-AF56-455E-844A-2F42E2AED845}" type="slidenum">
              <a:rPr lang="en-GB" altLang="en-GB"/>
              <a:pPr/>
              <a:t>51</a:t>
            </a:fld>
            <a:endParaRPr lang="en-GB" altLang="en-GB"/>
          </a:p>
        </p:txBody>
      </p:sp>
      <p:pic>
        <p:nvPicPr>
          <p:cNvPr id="162820" name="Picture 4" descr="Final Notice Board 1"/>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440113" y="1262063"/>
            <a:ext cx="2762250" cy="2200275"/>
          </a:xfrm>
          <a:prstGeom prst="rect">
            <a:avLst/>
          </a:prstGeom>
          <a:noFill/>
          <a:ln w="9525">
            <a:noFill/>
            <a:miter lim="800000"/>
            <a:headEnd/>
            <a:tailEnd/>
          </a:ln>
        </p:spPr>
      </p:pic>
      <p:pic>
        <p:nvPicPr>
          <p:cNvPr id="162821" name="Picture 5" descr="Final Notice Board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307138" y="1262063"/>
            <a:ext cx="2511425" cy="2198687"/>
          </a:xfrm>
          <a:prstGeom prst="rect">
            <a:avLst/>
          </a:prstGeom>
          <a:noFill/>
          <a:ln w="9525">
            <a:noFill/>
            <a:miter lim="800000"/>
            <a:headEnd/>
            <a:tailEnd/>
          </a:ln>
        </p:spPr>
      </p:pic>
      <p:sp>
        <p:nvSpPr>
          <p:cNvPr id="162822" name="Rectangle 7"/>
          <p:cNvSpPr>
            <a:spLocks noChangeArrowheads="1"/>
          </p:cNvSpPr>
          <p:nvPr/>
        </p:nvSpPr>
        <p:spPr bwMode="auto">
          <a:xfrm>
            <a:off x="371498" y="3763967"/>
            <a:ext cx="2924175" cy="2452687"/>
          </a:xfrm>
          <a:prstGeom prst="rect">
            <a:avLst/>
          </a:prstGeom>
          <a:noFill/>
          <a:ln w="9525">
            <a:noFill/>
            <a:miter lim="800000"/>
            <a:headEnd/>
            <a:tailEnd/>
          </a:ln>
        </p:spPr>
        <p:txBody>
          <a:bodyPr/>
          <a:lstStyle/>
          <a:p>
            <a:pPr>
              <a:buClr>
                <a:schemeClr val="accent2"/>
              </a:buClr>
            </a:pPr>
            <a:r>
              <a:rPr lang="en-GB" b="0" dirty="0">
                <a:solidFill>
                  <a:schemeClr val="accent1"/>
                </a:solidFill>
              </a:rPr>
              <a:t>Display boards created at a </a:t>
            </a:r>
            <a:r>
              <a:rPr lang="en-GB" b="0" dirty="0" smtClean="0">
                <a:solidFill>
                  <a:schemeClr val="accent1"/>
                </a:solidFill>
              </a:rPr>
              <a:t>Dalian</a:t>
            </a:r>
            <a:r>
              <a:rPr lang="en-GB" b="0" dirty="0">
                <a:solidFill>
                  <a:schemeClr val="accent1"/>
                </a:solidFill>
              </a:rPr>
              <a:t>:</a:t>
            </a:r>
          </a:p>
          <a:p>
            <a:pPr marL="373063" lvl="1" indent="-285750">
              <a:spcBef>
                <a:spcPct val="25000"/>
              </a:spcBef>
              <a:spcAft>
                <a:spcPct val="15000"/>
              </a:spcAft>
              <a:buFont typeface="Wingdings" panose="05000000000000000000" pitchFamily="2" charset="2"/>
              <a:buChar char="§"/>
              <a:tabLst>
                <a:tab pos="261938" algn="l"/>
              </a:tabLst>
            </a:pPr>
            <a:r>
              <a:rPr lang="en-GB" sz="1600" b="0" dirty="0">
                <a:solidFill>
                  <a:schemeClr val="accent1"/>
                </a:solidFill>
              </a:rPr>
              <a:t>Pilot Individual Ticket Progress Board to track the minute by minute progress of tickets raised each day as it progresses through the process.</a:t>
            </a:r>
          </a:p>
        </p:txBody>
      </p:sp>
      <p:pic>
        <p:nvPicPr>
          <p:cNvPr id="162823" name="Picture 9" descr="DSCN1697 (Custom)"/>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435350" y="3598863"/>
            <a:ext cx="5394325" cy="2695575"/>
          </a:xfrm>
          <a:prstGeom prst="rect">
            <a:avLst/>
          </a:prstGeom>
          <a:noFill/>
          <a:ln w="9525">
            <a:noFill/>
            <a:miter lim="800000"/>
            <a:headEnd/>
            <a:tailEnd/>
          </a:ln>
        </p:spPr>
      </p:pic>
      <p:sp>
        <p:nvSpPr>
          <p:cNvPr id="10" name="Rectangle 9"/>
          <p:cNvSpPr/>
          <p:nvPr/>
        </p:nvSpPr>
        <p:spPr>
          <a:xfrm>
            <a:off x="21772" y="36286"/>
            <a:ext cx="9072000" cy="67680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1628758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r>
              <a:rPr lang="en-GB" altLang="en-GB" smtClean="0"/>
              <a:t>Lean Workshops</a:t>
            </a:r>
            <a:endParaRPr lang="en-GB" altLang="en-GB"/>
          </a:p>
        </p:txBody>
      </p:sp>
      <p:sp>
        <p:nvSpPr>
          <p:cNvPr id="4" name="Slide Number Placeholder 3"/>
          <p:cNvSpPr>
            <a:spLocks noGrp="1"/>
          </p:cNvSpPr>
          <p:nvPr>
            <p:ph type="sldNum" sz="quarter" idx="11"/>
          </p:nvPr>
        </p:nvSpPr>
        <p:spPr/>
        <p:txBody>
          <a:bodyPr/>
          <a:lstStyle/>
          <a:p>
            <a:pPr>
              <a:defRPr/>
            </a:pPr>
            <a:fld id="{52E1F56E-0AD8-4EA9-9BCA-27C227E9B0E9}" type="slidenum">
              <a:rPr lang="en-GB" altLang="en-GB" smtClean="0"/>
              <a:pPr>
                <a:defRPr/>
              </a:pPr>
              <a:t>52</a:t>
            </a:fld>
            <a:endParaRPr lang="en-GB" altLang="en-GB"/>
          </a:p>
        </p:txBody>
      </p:sp>
      <p:sp>
        <p:nvSpPr>
          <p:cNvPr id="33" name="Rectangle 2"/>
          <p:cNvSpPr txBox="1">
            <a:spLocks noChangeArrowheads="1"/>
          </p:cNvSpPr>
          <p:nvPr/>
        </p:nvSpPr>
        <p:spPr bwMode="auto">
          <a:xfrm>
            <a:off x="377825" y="345128"/>
            <a:ext cx="8421688" cy="630238"/>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a:lnSpc>
                <a:spcPts val="2600"/>
              </a:lnSpc>
            </a:pPr>
            <a:r>
              <a:rPr lang="en-US" sz="2400" b="0" kern="0" dirty="0" smtClean="0">
                <a:solidFill>
                  <a:srgbClr val="000066"/>
                </a:solidFill>
                <a:latin typeface="Arial"/>
              </a:rPr>
              <a:t>Example</a:t>
            </a:r>
          </a:p>
          <a:p>
            <a:pPr>
              <a:lnSpc>
                <a:spcPts val="2600"/>
              </a:lnSpc>
            </a:pPr>
            <a:r>
              <a:rPr lang="en-US" dirty="0" smtClean="0">
                <a:solidFill>
                  <a:srgbClr val="99CC33"/>
                </a:solidFill>
                <a:latin typeface="Arial"/>
              </a:rPr>
              <a:t>Managing the year end financial closure process</a:t>
            </a:r>
          </a:p>
        </p:txBody>
      </p:sp>
      <p:sp>
        <p:nvSpPr>
          <p:cNvPr id="34" name="Text Placeholder 5"/>
          <p:cNvSpPr txBox="1">
            <a:spLocks/>
          </p:cNvSpPr>
          <p:nvPr/>
        </p:nvSpPr>
        <p:spPr>
          <a:xfrm>
            <a:off x="384837" y="3973731"/>
            <a:ext cx="8223250" cy="2346325"/>
          </a:xfrm>
          <a:prstGeom prst="rect">
            <a:avLst/>
          </a:prstGeom>
          <a:noFill/>
          <a:ln w="3175">
            <a:solidFill>
              <a:srgbClr val="FFFFFF"/>
            </a:solidFill>
          </a:ln>
        </p:spPr>
        <p:txBody>
          <a:bodyPr lIns="94662" tIns="126216" rIns="94662" bIns="31554" anchor="ctr"/>
          <a:lstStyle>
            <a:defPPr>
              <a:defRPr lang="fr-FR"/>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marL="160890" marR="0" lvl="0" indent="-160890" algn="l" defTabSz="800705" rtl="0" eaLnBrk="1" fontAlgn="base" latinLnBrk="0" hangingPunct="1">
              <a:lnSpc>
                <a:spcPct val="100000"/>
              </a:lnSpc>
              <a:spcBef>
                <a:spcPts val="236"/>
              </a:spcBef>
              <a:spcAft>
                <a:spcPts val="236"/>
              </a:spcAft>
              <a:buClrTx/>
              <a:buSzTx/>
              <a:buFontTx/>
              <a:buNone/>
              <a:tabLst/>
              <a:defRPr/>
            </a:pPr>
            <a:endParaRPr kumimoji="0" lang="fr-FR" sz="1000" b="0" i="0" u="none" strike="noStrike" kern="0" cap="none" spc="0" normalizeH="0" baseline="0" noProof="0" dirty="0">
              <a:ln>
                <a:noFill/>
              </a:ln>
              <a:solidFill>
                <a:srgbClr val="002776"/>
              </a:solidFill>
              <a:effectLst/>
              <a:uLnTx/>
              <a:uFillTx/>
              <a:latin typeface="Arial" charset="0"/>
              <a:ea typeface="+mn-ea"/>
              <a:cs typeface="+mn-cs"/>
            </a:endParaRPr>
          </a:p>
        </p:txBody>
      </p:sp>
      <p:pic>
        <p:nvPicPr>
          <p:cNvPr id="35" name="Picture 34" descr="reveil.jpg"/>
          <p:cNvPicPr>
            <a:picLocks/>
          </p:cNvPicPr>
          <p:nvPr/>
        </p:nvPicPr>
        <p:blipFill>
          <a:blip r:embed="rId2">
            <a:grayscl/>
            <a:extLst>
              <a:ext uri="{28A0092B-C50C-407E-A947-70E740481C1C}">
                <a14:useLocalDpi xmlns:a14="http://schemas.microsoft.com/office/drawing/2010/main" val="0"/>
              </a:ext>
            </a:extLst>
          </a:blip>
          <a:srcRect/>
          <a:stretch>
            <a:fillRect/>
          </a:stretch>
        </p:blipFill>
        <p:spPr bwMode="auto">
          <a:xfrm>
            <a:off x="4647274" y="4802406"/>
            <a:ext cx="1196975" cy="1255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 Placeholder 5"/>
          <p:cNvSpPr txBox="1">
            <a:spLocks/>
          </p:cNvSpPr>
          <p:nvPr/>
        </p:nvSpPr>
        <p:spPr>
          <a:xfrm>
            <a:off x="2715287" y="1578194"/>
            <a:ext cx="5889625" cy="2246312"/>
          </a:xfrm>
          <a:prstGeom prst="rect">
            <a:avLst/>
          </a:prstGeom>
          <a:noFill/>
          <a:ln w="3175">
            <a:solidFill>
              <a:srgbClr val="002776"/>
            </a:solidFill>
          </a:ln>
        </p:spPr>
        <p:txBody>
          <a:bodyPr lIns="1476000" tIns="108000" rIns="94662" bIns="108000"/>
          <a:lstStyle>
            <a:defPPr>
              <a:defRPr lang="fr-FR"/>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marL="465750" marR="0" lvl="1" indent="-285750" algn="l" defTabSz="800705" rtl="0" eaLnBrk="1" fontAlgn="base" latinLnBrk="0" hangingPunct="1">
              <a:lnSpc>
                <a:spcPct val="100000"/>
              </a:lnSpc>
              <a:spcBef>
                <a:spcPts val="600"/>
              </a:spcBef>
              <a:spcAft>
                <a:spcPct val="0"/>
              </a:spcAft>
              <a:buClrTx/>
              <a:buSzTx/>
              <a:buFont typeface="Wingdings" panose="05000000000000000000" pitchFamily="2" charset="2"/>
              <a:buChar char="§"/>
              <a:tabLst/>
              <a:defRPr/>
            </a:pPr>
            <a:r>
              <a:rPr kumimoji="0" sz="1400" b="0" i="0" u="none" strike="noStrike" kern="0" cap="none" spc="0" normalizeH="0" baseline="0" noProof="0" dirty="0" smtClean="0">
                <a:ln>
                  <a:noFill/>
                </a:ln>
                <a:solidFill>
                  <a:srgbClr val="002776"/>
                </a:solidFill>
                <a:effectLst/>
                <a:uLnTx/>
                <a:uFillTx/>
                <a:latin typeface="Arial" charset="0"/>
                <a:ea typeface="+mn-ea"/>
                <a:cs typeface="+mn-cs"/>
              </a:rPr>
              <a:t>Build a detailed planning per entity starting from the preparation phase</a:t>
            </a:r>
          </a:p>
          <a:p>
            <a:pPr marL="465750" marR="0" lvl="1" indent="-285750" algn="l" defTabSz="800705" rtl="0" eaLnBrk="1" fontAlgn="base" latinLnBrk="0" hangingPunct="1">
              <a:lnSpc>
                <a:spcPct val="100000"/>
              </a:lnSpc>
              <a:spcBef>
                <a:spcPts val="600"/>
              </a:spcBef>
              <a:spcAft>
                <a:spcPct val="0"/>
              </a:spcAft>
              <a:buClrTx/>
              <a:buSzTx/>
              <a:buFont typeface="Wingdings" panose="05000000000000000000" pitchFamily="2" charset="2"/>
              <a:buChar char="§"/>
              <a:tabLst/>
              <a:defRPr/>
            </a:pPr>
            <a:r>
              <a:rPr kumimoji="0" sz="1400" b="0" i="0" u="none" strike="noStrike" kern="0" cap="none" spc="0" normalizeH="0" baseline="0" noProof="0" dirty="0" smtClean="0">
                <a:ln>
                  <a:noFill/>
                </a:ln>
                <a:solidFill>
                  <a:srgbClr val="002776"/>
                </a:solidFill>
                <a:effectLst/>
                <a:uLnTx/>
                <a:uFillTx/>
                <a:latin typeface="Arial" charset="0"/>
                <a:ea typeface="+mn-ea"/>
                <a:cs typeface="+mn-cs"/>
              </a:rPr>
              <a:t>Monitor the end to end process (for all entities) with a visual display of what information /task are late and an escalation of key issues </a:t>
            </a:r>
            <a:endParaRPr kumimoji="0" lang="fr-FR" sz="1400" b="0" i="0" u="none" strike="noStrike" kern="0" cap="none" spc="0" normalizeH="0" baseline="0" noProof="0" dirty="0">
              <a:ln>
                <a:noFill/>
              </a:ln>
              <a:solidFill>
                <a:srgbClr val="002776"/>
              </a:solidFill>
              <a:effectLst/>
              <a:uLnTx/>
              <a:uFillTx/>
              <a:latin typeface="Arial" charset="0"/>
              <a:ea typeface="+mn-ea"/>
              <a:cs typeface="+mn-cs"/>
            </a:endParaRPr>
          </a:p>
          <a:p>
            <a:pPr marL="465750" marR="0" lvl="1" indent="-285750" algn="l" defTabSz="800705" rtl="0" eaLnBrk="1" fontAlgn="base" latinLnBrk="0" hangingPunct="1">
              <a:lnSpc>
                <a:spcPct val="100000"/>
              </a:lnSpc>
              <a:spcBef>
                <a:spcPts val="600"/>
              </a:spcBef>
              <a:spcAft>
                <a:spcPct val="0"/>
              </a:spcAft>
              <a:buClrTx/>
              <a:buSzTx/>
              <a:buFont typeface="Wingdings" panose="05000000000000000000" pitchFamily="2" charset="2"/>
              <a:buChar char="§"/>
              <a:tabLst/>
              <a:defRPr/>
            </a:pPr>
            <a:r>
              <a:rPr kumimoji="0" lang="fr-FR" sz="1400" b="0" i="0" u="none" strike="noStrike" kern="0" cap="none" spc="0" normalizeH="0" baseline="0" noProof="0" dirty="0" smtClean="0">
                <a:ln>
                  <a:noFill/>
                </a:ln>
                <a:solidFill>
                  <a:srgbClr val="002776"/>
                </a:solidFill>
                <a:effectLst/>
                <a:uLnTx/>
                <a:uFillTx/>
                <a:latin typeface="Arial" charset="0"/>
                <a:ea typeface="+mn-ea"/>
                <a:cs typeface="+mn-cs"/>
              </a:rPr>
              <a:t>Capture and </a:t>
            </a:r>
            <a:r>
              <a:rPr kumimoji="0" lang="fr-FR" sz="1400" b="0" i="0" u="none" strike="noStrike" kern="0" cap="none" spc="0" normalizeH="0" baseline="0" noProof="0" dirty="0" err="1" smtClean="0">
                <a:ln>
                  <a:noFill/>
                </a:ln>
                <a:solidFill>
                  <a:srgbClr val="002776"/>
                </a:solidFill>
                <a:effectLst/>
                <a:uLnTx/>
                <a:uFillTx/>
                <a:latin typeface="Arial" charset="0"/>
                <a:ea typeface="+mn-ea"/>
                <a:cs typeface="+mn-cs"/>
              </a:rPr>
              <a:t>act</a:t>
            </a:r>
            <a:r>
              <a:rPr kumimoji="0" lang="fr-FR" sz="1400" b="0" i="0" u="none" strike="noStrike" kern="0" cap="none" spc="0" normalizeH="0" baseline="0" noProof="0" dirty="0" smtClean="0">
                <a:ln>
                  <a:noFill/>
                </a:ln>
                <a:solidFill>
                  <a:srgbClr val="002776"/>
                </a:solidFill>
                <a:effectLst/>
                <a:uLnTx/>
                <a:uFillTx/>
                <a:latin typeface="Arial" charset="0"/>
                <a:ea typeface="+mn-ea"/>
                <a:cs typeface="+mn-cs"/>
              </a:rPr>
              <a:t> on issues</a:t>
            </a:r>
            <a:endParaRPr kumimoji="0" sz="1400" b="0" i="0" u="none" strike="noStrike" kern="0" cap="none" spc="0" normalizeH="0" baseline="0" noProof="0" dirty="0" smtClean="0">
              <a:ln>
                <a:noFill/>
              </a:ln>
              <a:solidFill>
                <a:srgbClr val="002776"/>
              </a:solidFill>
              <a:effectLst/>
              <a:uLnTx/>
              <a:uFillTx/>
              <a:latin typeface="Arial" charset="0"/>
              <a:ea typeface="+mn-ea"/>
              <a:cs typeface="+mn-cs"/>
            </a:endParaRPr>
          </a:p>
        </p:txBody>
      </p:sp>
      <p:sp>
        <p:nvSpPr>
          <p:cNvPr id="37" name="Pentagon 36"/>
          <p:cNvSpPr/>
          <p:nvPr/>
        </p:nvSpPr>
        <p:spPr>
          <a:xfrm>
            <a:off x="372137" y="1578194"/>
            <a:ext cx="2389187" cy="2246312"/>
          </a:xfrm>
          <a:prstGeom prst="homePlate">
            <a:avLst>
              <a:gd name="adj" fmla="val 9909"/>
            </a:avLst>
          </a:prstGeom>
          <a:solidFill>
            <a:srgbClr val="FFFFFF"/>
          </a:solidFill>
          <a:ln w="3175" cap="flat" cmpd="sng" algn="ctr">
            <a:solidFill>
              <a:srgbClr val="002776"/>
            </a:solidFill>
            <a:prstDash val="solid"/>
          </a:ln>
          <a:effectLst/>
        </p:spPr>
        <p:txBody>
          <a:bodyPr lIns="94662" tIns="31554" rIns="0" bIns="31554" anchor="ctr"/>
          <a:lstStyle>
            <a:defPPr>
              <a:defRPr lang="fr-FR"/>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160890" marR="0" lvl="0" indent="-160890" algn="l" defTabSz="800705" rtl="0" eaLnBrk="1" fontAlgn="base" latinLnBrk="0" hangingPunct="1">
              <a:lnSpc>
                <a:spcPct val="100000"/>
              </a:lnSpc>
              <a:spcBef>
                <a:spcPts val="1052"/>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srgbClr val="002776"/>
                </a:solidFill>
                <a:effectLst/>
                <a:uLnTx/>
                <a:uFillTx/>
                <a:latin typeface="Arial"/>
                <a:ea typeface="+mn-ea"/>
                <a:cs typeface="Arial" charset="0"/>
              </a:rPr>
              <a:t>The tracking of progress was not formalised nor transparent</a:t>
            </a:r>
          </a:p>
          <a:p>
            <a:pPr marL="266700" marR="0" lvl="0" indent="-266700" algn="l" defTabSz="800705" rtl="0" eaLnBrk="1" fontAlgn="base" latinLnBrk="0" hangingPunct="1">
              <a:lnSpc>
                <a:spcPct val="100000"/>
              </a:lnSpc>
              <a:spcBef>
                <a:spcPts val="1052"/>
              </a:spcBef>
              <a:spcAft>
                <a:spcPts val="0"/>
              </a:spcAft>
              <a:buClrTx/>
              <a:buSzTx/>
              <a:buFont typeface="Symbol" pitchFamily="18" charset="2"/>
              <a:buChar char="Þ"/>
              <a:tabLst/>
              <a:defRPr/>
            </a:pPr>
            <a:r>
              <a:rPr kumimoji="0" lang="en-US" sz="1400" b="0" i="0" u="none" strike="noStrike" kern="1200" cap="none" spc="0" normalizeH="0" baseline="0" noProof="0" dirty="0">
                <a:ln>
                  <a:noFill/>
                </a:ln>
                <a:solidFill>
                  <a:srgbClr val="002776"/>
                </a:solidFill>
                <a:effectLst/>
                <a:uLnTx/>
                <a:uFillTx/>
                <a:latin typeface="Arial"/>
                <a:ea typeface="+mn-ea"/>
                <a:cs typeface="Arial" charset="0"/>
              </a:rPr>
              <a:t>Not sure what info was still outstanding</a:t>
            </a:r>
          </a:p>
          <a:p>
            <a:pPr marL="266700" marR="0" lvl="0" indent="-266700" algn="l" defTabSz="800705" rtl="0" eaLnBrk="1" fontAlgn="base" latinLnBrk="0" hangingPunct="1">
              <a:lnSpc>
                <a:spcPct val="100000"/>
              </a:lnSpc>
              <a:spcBef>
                <a:spcPts val="1052"/>
              </a:spcBef>
              <a:spcAft>
                <a:spcPts val="0"/>
              </a:spcAft>
              <a:buClrTx/>
              <a:buSzTx/>
              <a:buFont typeface="Symbol" pitchFamily="18" charset="2"/>
              <a:buChar char="Þ"/>
              <a:tabLst/>
              <a:defRPr/>
            </a:pPr>
            <a:r>
              <a:rPr kumimoji="0" lang="en-US" sz="1400" b="0" i="0" u="none" strike="noStrike" kern="1200" cap="none" spc="0" normalizeH="0" baseline="0" noProof="0" dirty="0">
                <a:ln>
                  <a:noFill/>
                </a:ln>
                <a:solidFill>
                  <a:srgbClr val="002776"/>
                </a:solidFill>
                <a:effectLst/>
                <a:uLnTx/>
                <a:uFillTx/>
                <a:latin typeface="Arial"/>
                <a:ea typeface="+mn-ea"/>
                <a:cs typeface="+mn-cs"/>
              </a:rPr>
              <a:t>No easy way to track the resolution of issues</a:t>
            </a:r>
          </a:p>
        </p:txBody>
      </p:sp>
      <p:sp>
        <p:nvSpPr>
          <p:cNvPr id="38" name="Content Placeholder 2"/>
          <p:cNvSpPr>
            <a:spLocks noGrp="1"/>
          </p:cNvSpPr>
          <p:nvPr/>
        </p:nvSpPr>
        <p:spPr bwMode="auto">
          <a:xfrm>
            <a:off x="399124" y="1128931"/>
            <a:ext cx="2278063"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36000" rIns="36000" bIns="36000" numCol="1" anchor="b" anchorCtr="0" compatLnSpc="1">
            <a:prstTxWarp prst="textNoShape">
              <a:avLst/>
            </a:prstTxWarp>
          </a:bodyPr>
          <a:lstStyle>
            <a:lvl1pPr marL="342900" indent="-342900" algn="l" rtl="0" eaLnBrk="0" fontAlgn="base" hangingPunct="0">
              <a:spcBef>
                <a:spcPts val="0"/>
              </a:spcBef>
              <a:spcAft>
                <a:spcPts val="1052"/>
              </a:spcAft>
              <a:buChar char="•"/>
              <a:defRPr sz="1400" b="1">
                <a:solidFill>
                  <a:srgbClr val="C0C0C0"/>
                </a:solidFill>
                <a:latin typeface="+mn-lt"/>
                <a:ea typeface="+mn-ea"/>
                <a:cs typeface="+mn-cs"/>
              </a:defRPr>
            </a:lvl1pPr>
            <a:lvl2pPr marL="227013" indent="-225425" algn="l" rtl="0" eaLnBrk="0" fontAlgn="base" hangingPunct="0">
              <a:spcBef>
                <a:spcPts val="0"/>
              </a:spcBef>
              <a:spcAft>
                <a:spcPct val="20000"/>
              </a:spcAft>
              <a:buFont typeface="Arial" charset="0"/>
              <a:buChar char="–"/>
              <a:defRPr sz="1400">
                <a:solidFill>
                  <a:schemeClr val="tx1"/>
                </a:solidFill>
                <a:latin typeface="+mn-lt"/>
              </a:defRPr>
            </a:lvl2pPr>
            <a:lvl3pPr marL="455613" indent="-227013" algn="l" rtl="0" eaLnBrk="0" fontAlgn="base" hangingPunct="0">
              <a:spcBef>
                <a:spcPct val="20000"/>
              </a:spcBef>
              <a:spcAft>
                <a:spcPct val="20000"/>
              </a:spcAft>
              <a:buClr>
                <a:srgbClr val="F98151"/>
              </a:buClr>
              <a:buSzPct val="125000"/>
              <a:buChar char="•"/>
              <a:defRPr sz="1200">
                <a:solidFill>
                  <a:schemeClr val="tx1"/>
                </a:solidFill>
                <a:latin typeface="+mn-lt"/>
              </a:defRPr>
            </a:lvl3pPr>
            <a:lvl4pPr marL="1042988" indent="-350838" algn="l" rtl="0" eaLnBrk="0" fontAlgn="base" hangingPunct="0">
              <a:spcBef>
                <a:spcPct val="20000"/>
              </a:spcBef>
              <a:spcAft>
                <a:spcPct val="0"/>
              </a:spcAft>
              <a:buClr>
                <a:srgbClr val="F98151"/>
              </a:buClr>
              <a:buFont typeface="Arial" charset="0"/>
              <a:buChar char="–"/>
              <a:defRPr sz="1000">
                <a:solidFill>
                  <a:schemeClr val="tx1"/>
                </a:solidFill>
                <a:latin typeface="+mn-lt"/>
              </a:defRPr>
            </a:lvl4pPr>
            <a:lvl5pPr marL="1519238" indent="-361950" algn="l" rtl="0" eaLnBrk="0" fontAlgn="base" hangingPunct="0">
              <a:spcBef>
                <a:spcPct val="20000"/>
              </a:spcBef>
              <a:spcAft>
                <a:spcPct val="0"/>
              </a:spcAft>
              <a:buClr>
                <a:srgbClr val="F98151"/>
              </a:buClr>
              <a:buFont typeface="Arial" charset="0"/>
              <a:buChar char="»"/>
              <a:defRPr sz="1000">
                <a:solidFill>
                  <a:schemeClr val="tx1"/>
                </a:solidFill>
                <a:latin typeface="+mn-lt"/>
              </a:defRPr>
            </a:lvl5pPr>
            <a:lvl6pPr marL="1976438" indent="-361950" algn="l" rtl="0" fontAlgn="base">
              <a:spcBef>
                <a:spcPct val="20000"/>
              </a:spcBef>
              <a:spcAft>
                <a:spcPct val="0"/>
              </a:spcAft>
              <a:buClr>
                <a:srgbClr val="F98151"/>
              </a:buClr>
              <a:buFont typeface="Arial" charset="0"/>
              <a:buChar char="»"/>
              <a:defRPr sz="1000">
                <a:solidFill>
                  <a:schemeClr val="tx1"/>
                </a:solidFill>
                <a:latin typeface="+mn-lt"/>
              </a:defRPr>
            </a:lvl6pPr>
            <a:lvl7pPr marL="2433638" indent="-361950" algn="l" rtl="0" fontAlgn="base">
              <a:spcBef>
                <a:spcPct val="20000"/>
              </a:spcBef>
              <a:spcAft>
                <a:spcPct val="0"/>
              </a:spcAft>
              <a:buClr>
                <a:srgbClr val="F98151"/>
              </a:buClr>
              <a:buFont typeface="Arial" charset="0"/>
              <a:buChar char="»"/>
              <a:defRPr sz="1000">
                <a:solidFill>
                  <a:schemeClr val="tx1"/>
                </a:solidFill>
                <a:latin typeface="+mn-lt"/>
              </a:defRPr>
            </a:lvl7pPr>
            <a:lvl8pPr marL="2890838" indent="-361950" algn="l" rtl="0" fontAlgn="base">
              <a:spcBef>
                <a:spcPct val="20000"/>
              </a:spcBef>
              <a:spcAft>
                <a:spcPct val="0"/>
              </a:spcAft>
              <a:buClr>
                <a:srgbClr val="F98151"/>
              </a:buClr>
              <a:buFont typeface="Arial" charset="0"/>
              <a:buChar char="»"/>
              <a:defRPr sz="1000">
                <a:solidFill>
                  <a:schemeClr val="tx1"/>
                </a:solidFill>
                <a:latin typeface="+mn-lt"/>
              </a:defRPr>
            </a:lvl8pPr>
            <a:lvl9pPr marL="3348038" indent="-361950" algn="l" rtl="0" fontAlgn="base">
              <a:spcBef>
                <a:spcPct val="20000"/>
              </a:spcBef>
              <a:spcAft>
                <a:spcPct val="0"/>
              </a:spcAft>
              <a:buClr>
                <a:srgbClr val="F98151"/>
              </a:buClr>
              <a:buFont typeface="Arial" charset="0"/>
              <a:buChar char="»"/>
              <a:defRPr sz="1000">
                <a:solidFill>
                  <a:schemeClr val="tx1"/>
                </a:solidFill>
                <a:latin typeface="+mn-lt"/>
              </a:defRPr>
            </a:lvl9pPr>
          </a:lstStyle>
          <a:p>
            <a:pPr marL="0" marR="0" lvl="1" indent="0" algn="l" defTabSz="800100" rtl="0" eaLnBrk="1" fontAlgn="base" latinLnBrk="0" hangingPunct="1">
              <a:lnSpc>
                <a:spcPct val="100000"/>
              </a:lnSpc>
              <a:spcBef>
                <a:spcPct val="0"/>
              </a:spcBef>
              <a:spcAft>
                <a:spcPct val="0"/>
              </a:spcAft>
              <a:buClrTx/>
              <a:buSzTx/>
              <a:buFont typeface="Arial" charset="0"/>
              <a:buNone/>
              <a:tabLst/>
              <a:defRPr/>
            </a:pPr>
            <a:r>
              <a:rPr kumimoji="0" lang="en-US" altLang="fr-FR" sz="1400" b="0" i="0" u="none" strike="noStrike" kern="0" cap="none" spc="0" normalizeH="0" baseline="0" noProof="0" dirty="0" smtClean="0">
                <a:ln>
                  <a:noFill/>
                </a:ln>
                <a:solidFill>
                  <a:srgbClr val="002776"/>
                </a:solidFill>
                <a:effectLst/>
                <a:uLnTx/>
                <a:uFillTx/>
                <a:latin typeface="Arial"/>
              </a:rPr>
              <a:t>Issue highlighted</a:t>
            </a:r>
          </a:p>
        </p:txBody>
      </p:sp>
      <p:sp>
        <p:nvSpPr>
          <p:cNvPr id="39" name="Content Placeholder 3"/>
          <p:cNvSpPr txBox="1">
            <a:spLocks/>
          </p:cNvSpPr>
          <p:nvPr/>
        </p:nvSpPr>
        <p:spPr>
          <a:xfrm>
            <a:off x="2715287" y="1128931"/>
            <a:ext cx="3195637" cy="288925"/>
          </a:xfrm>
          <a:prstGeom prst="rect">
            <a:avLst/>
          </a:prstGeom>
        </p:spPr>
        <p:txBody>
          <a:bodyPr wrap="none" lIns="36000" tIns="36000" rIns="36000" bIns="36000" anchor="b"/>
          <a:lstStyle>
            <a:defPPr>
              <a:defRPr lang="fr-FR"/>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marL="0" lvl="1" defTabSz="872722" fontAlgn="auto">
              <a:lnSpc>
                <a:spcPts val="1402"/>
              </a:lnSpc>
              <a:spcBef>
                <a:spcPts val="0"/>
              </a:spcBef>
              <a:spcAft>
                <a:spcPts val="526"/>
              </a:spcAft>
              <a:defRPr/>
            </a:pPr>
            <a:r>
              <a:rPr lang="en-US" sz="1400" dirty="0">
                <a:solidFill>
                  <a:srgbClr val="002776"/>
                </a:solidFill>
                <a:latin typeface="Arial" pitchFamily="34" charset="0"/>
              </a:rPr>
              <a:t>Proposed solution</a:t>
            </a:r>
          </a:p>
        </p:txBody>
      </p:sp>
      <p:pic>
        <p:nvPicPr>
          <p:cNvPr id="40" name="Picture 3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2949" y="1708369"/>
            <a:ext cx="1123950" cy="208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4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0562" y="4048344"/>
            <a:ext cx="3960812" cy="220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Oval 41"/>
          <p:cNvSpPr/>
          <p:nvPr/>
        </p:nvSpPr>
        <p:spPr>
          <a:xfrm>
            <a:off x="2916899" y="4946869"/>
            <a:ext cx="642938" cy="574675"/>
          </a:xfrm>
          <a:prstGeom prst="ellipse">
            <a:avLst/>
          </a:prstGeom>
          <a:noFill/>
          <a:ln w="25400" cap="flat" cmpd="sng" algn="ctr">
            <a:solidFill>
              <a:srgbClr val="FF0000"/>
            </a:solidFill>
            <a:prstDash val="solid"/>
          </a:ln>
          <a:effectLst/>
        </p:spPr>
        <p:txBody>
          <a:bodyPr lIns="80147" tIns="40074" rIns="80147" bIns="40074" anchor="ctr"/>
          <a:lstStyle>
            <a:defPPr>
              <a:defRPr lang="fr-FR"/>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002776"/>
              </a:solidFill>
              <a:effectLst/>
              <a:uLnTx/>
              <a:uFillTx/>
              <a:latin typeface="Arial"/>
              <a:ea typeface="+mn-ea"/>
              <a:cs typeface="+mn-cs"/>
            </a:endParaRPr>
          </a:p>
        </p:txBody>
      </p:sp>
      <p:cxnSp>
        <p:nvCxnSpPr>
          <p:cNvPr id="43" name="Straight Arrow Connector 42"/>
          <p:cNvCxnSpPr>
            <a:stCxn id="42" idx="6"/>
          </p:cNvCxnSpPr>
          <p:nvPr/>
        </p:nvCxnSpPr>
        <p:spPr>
          <a:xfrm flipV="1">
            <a:off x="3559837" y="5234206"/>
            <a:ext cx="1158875" cy="0"/>
          </a:xfrm>
          <a:prstGeom prst="straightConnector1">
            <a:avLst/>
          </a:prstGeom>
          <a:noFill/>
          <a:ln w="76200" cap="flat" cmpd="sng" algn="ctr">
            <a:solidFill>
              <a:srgbClr val="FF0000"/>
            </a:solidFill>
            <a:prstDash val="solid"/>
            <a:tailEnd type="arrow"/>
          </a:ln>
          <a:effectLst/>
        </p:spPr>
      </p:cxnSp>
      <p:pic>
        <p:nvPicPr>
          <p:cNvPr id="44" name="Picture 4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6002051" y="3234519"/>
            <a:ext cx="2592388" cy="3067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Oval 44"/>
          <p:cNvSpPr/>
          <p:nvPr/>
        </p:nvSpPr>
        <p:spPr>
          <a:xfrm rot="20601215">
            <a:off x="6424374" y="3317168"/>
            <a:ext cx="2037238" cy="1403350"/>
          </a:xfrm>
          <a:prstGeom prst="ellipse">
            <a:avLst/>
          </a:prstGeom>
          <a:noFill/>
          <a:ln w="25400" cap="flat" cmpd="sng" algn="ctr">
            <a:solidFill>
              <a:srgbClr val="FF0000"/>
            </a:solidFill>
            <a:prstDash val="solid"/>
          </a:ln>
          <a:effectLst/>
        </p:spPr>
        <p:txBody>
          <a:bodyPr lIns="80147" tIns="40074" rIns="80147" bIns="40074" anchor="ctr"/>
          <a:lstStyle>
            <a:defPPr>
              <a:defRPr lang="fr-FR"/>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002776"/>
              </a:solidFill>
              <a:effectLst/>
              <a:uLnTx/>
              <a:uFillTx/>
              <a:latin typeface="Arial"/>
              <a:ea typeface="+mn-ea"/>
              <a:cs typeface="+mn-cs"/>
            </a:endParaRPr>
          </a:p>
        </p:txBody>
      </p:sp>
      <p:sp>
        <p:nvSpPr>
          <p:cNvPr id="46" name="Content Placeholder 2"/>
          <p:cNvSpPr>
            <a:spLocks noGrp="1"/>
          </p:cNvSpPr>
          <p:nvPr/>
        </p:nvSpPr>
        <p:spPr bwMode="auto">
          <a:xfrm>
            <a:off x="4647274" y="5913656"/>
            <a:ext cx="1260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36000" rIns="36000" bIns="36000" numCol="1" anchor="b" anchorCtr="0" compatLnSpc="1">
            <a:prstTxWarp prst="textNoShape">
              <a:avLst/>
            </a:prstTxWarp>
          </a:bodyPr>
          <a:lstStyle>
            <a:lvl1pPr marL="342900" indent="-342900" algn="l" rtl="0" eaLnBrk="0" fontAlgn="base" hangingPunct="0">
              <a:spcBef>
                <a:spcPts val="0"/>
              </a:spcBef>
              <a:spcAft>
                <a:spcPts val="1052"/>
              </a:spcAft>
              <a:buChar char="•"/>
              <a:defRPr sz="1400" b="1">
                <a:solidFill>
                  <a:srgbClr val="C0C0C0"/>
                </a:solidFill>
                <a:latin typeface="+mn-lt"/>
                <a:ea typeface="+mn-ea"/>
                <a:cs typeface="+mn-cs"/>
              </a:defRPr>
            </a:lvl1pPr>
            <a:lvl2pPr marL="227013" indent="-225425" algn="l" rtl="0" eaLnBrk="0" fontAlgn="base" hangingPunct="0">
              <a:spcBef>
                <a:spcPts val="0"/>
              </a:spcBef>
              <a:spcAft>
                <a:spcPct val="20000"/>
              </a:spcAft>
              <a:buFont typeface="Arial" charset="0"/>
              <a:buChar char="–"/>
              <a:defRPr sz="1400">
                <a:solidFill>
                  <a:schemeClr val="tx1"/>
                </a:solidFill>
                <a:latin typeface="+mn-lt"/>
              </a:defRPr>
            </a:lvl2pPr>
            <a:lvl3pPr marL="455613" indent="-227013" algn="l" rtl="0" eaLnBrk="0" fontAlgn="base" hangingPunct="0">
              <a:spcBef>
                <a:spcPct val="20000"/>
              </a:spcBef>
              <a:spcAft>
                <a:spcPct val="20000"/>
              </a:spcAft>
              <a:buClr>
                <a:srgbClr val="F98151"/>
              </a:buClr>
              <a:buSzPct val="125000"/>
              <a:buChar char="•"/>
              <a:defRPr sz="1200">
                <a:solidFill>
                  <a:schemeClr val="tx1"/>
                </a:solidFill>
                <a:latin typeface="+mn-lt"/>
              </a:defRPr>
            </a:lvl3pPr>
            <a:lvl4pPr marL="1042988" indent="-350838" algn="l" rtl="0" eaLnBrk="0" fontAlgn="base" hangingPunct="0">
              <a:spcBef>
                <a:spcPct val="20000"/>
              </a:spcBef>
              <a:spcAft>
                <a:spcPct val="0"/>
              </a:spcAft>
              <a:buClr>
                <a:srgbClr val="F98151"/>
              </a:buClr>
              <a:buFont typeface="Arial" charset="0"/>
              <a:buChar char="–"/>
              <a:defRPr sz="1000">
                <a:solidFill>
                  <a:schemeClr val="tx1"/>
                </a:solidFill>
                <a:latin typeface="+mn-lt"/>
              </a:defRPr>
            </a:lvl4pPr>
            <a:lvl5pPr marL="1519238" indent="-361950" algn="l" rtl="0" eaLnBrk="0" fontAlgn="base" hangingPunct="0">
              <a:spcBef>
                <a:spcPct val="20000"/>
              </a:spcBef>
              <a:spcAft>
                <a:spcPct val="0"/>
              </a:spcAft>
              <a:buClr>
                <a:srgbClr val="F98151"/>
              </a:buClr>
              <a:buFont typeface="Arial" charset="0"/>
              <a:buChar char="»"/>
              <a:defRPr sz="1000">
                <a:solidFill>
                  <a:schemeClr val="tx1"/>
                </a:solidFill>
                <a:latin typeface="+mn-lt"/>
              </a:defRPr>
            </a:lvl5pPr>
            <a:lvl6pPr marL="1976438" indent="-361950" algn="l" rtl="0" fontAlgn="base">
              <a:spcBef>
                <a:spcPct val="20000"/>
              </a:spcBef>
              <a:spcAft>
                <a:spcPct val="0"/>
              </a:spcAft>
              <a:buClr>
                <a:srgbClr val="F98151"/>
              </a:buClr>
              <a:buFont typeface="Arial" charset="0"/>
              <a:buChar char="»"/>
              <a:defRPr sz="1000">
                <a:solidFill>
                  <a:schemeClr val="tx1"/>
                </a:solidFill>
                <a:latin typeface="+mn-lt"/>
              </a:defRPr>
            </a:lvl6pPr>
            <a:lvl7pPr marL="2433638" indent="-361950" algn="l" rtl="0" fontAlgn="base">
              <a:spcBef>
                <a:spcPct val="20000"/>
              </a:spcBef>
              <a:spcAft>
                <a:spcPct val="0"/>
              </a:spcAft>
              <a:buClr>
                <a:srgbClr val="F98151"/>
              </a:buClr>
              <a:buFont typeface="Arial" charset="0"/>
              <a:buChar char="»"/>
              <a:defRPr sz="1000">
                <a:solidFill>
                  <a:schemeClr val="tx1"/>
                </a:solidFill>
                <a:latin typeface="+mn-lt"/>
              </a:defRPr>
            </a:lvl7pPr>
            <a:lvl8pPr marL="2890838" indent="-361950" algn="l" rtl="0" fontAlgn="base">
              <a:spcBef>
                <a:spcPct val="20000"/>
              </a:spcBef>
              <a:spcAft>
                <a:spcPct val="0"/>
              </a:spcAft>
              <a:buClr>
                <a:srgbClr val="F98151"/>
              </a:buClr>
              <a:buFont typeface="Arial" charset="0"/>
              <a:buChar char="»"/>
              <a:defRPr sz="1000">
                <a:solidFill>
                  <a:schemeClr val="tx1"/>
                </a:solidFill>
                <a:latin typeface="+mn-lt"/>
              </a:defRPr>
            </a:lvl8pPr>
            <a:lvl9pPr marL="3348038" indent="-361950" algn="l" rtl="0" fontAlgn="base">
              <a:spcBef>
                <a:spcPct val="20000"/>
              </a:spcBef>
              <a:spcAft>
                <a:spcPct val="0"/>
              </a:spcAft>
              <a:buClr>
                <a:srgbClr val="F98151"/>
              </a:buClr>
              <a:buFont typeface="Arial" charset="0"/>
              <a:buChar char="»"/>
              <a:defRPr sz="1000">
                <a:solidFill>
                  <a:schemeClr val="tx1"/>
                </a:solidFill>
                <a:latin typeface="+mn-lt"/>
              </a:defRPr>
            </a:lvl9pPr>
          </a:lstStyle>
          <a:p>
            <a:pPr marL="0" marR="0" lvl="1" indent="0" algn="l" defTabSz="800100" rtl="0" eaLnBrk="1" fontAlgn="base" latinLnBrk="0" hangingPunct="1">
              <a:lnSpc>
                <a:spcPct val="100000"/>
              </a:lnSpc>
              <a:spcBef>
                <a:spcPct val="0"/>
              </a:spcBef>
              <a:spcAft>
                <a:spcPct val="0"/>
              </a:spcAft>
              <a:buClrTx/>
              <a:buSzTx/>
              <a:buFont typeface="Arial" charset="0"/>
              <a:buNone/>
              <a:tabLst/>
              <a:defRPr/>
            </a:pPr>
            <a:r>
              <a:rPr kumimoji="0" lang="en-US" altLang="fr-FR" sz="1400" b="0" i="0" u="none" strike="noStrike" kern="0" cap="none" spc="0" normalizeH="0" baseline="0" noProof="0" dirty="0" smtClean="0">
                <a:ln>
                  <a:noFill/>
                </a:ln>
                <a:solidFill>
                  <a:srgbClr val="002776"/>
                </a:solidFill>
                <a:effectLst/>
                <a:uLnTx/>
                <a:uFillTx/>
                <a:latin typeface="Arial"/>
              </a:rPr>
              <a:t>Built in </a:t>
            </a:r>
            <a:r>
              <a:rPr kumimoji="0" lang="en-US" altLang="fr-FR" sz="1400" b="0" i="0" u="none" strike="noStrike" kern="0" cap="none" spc="0" normalizeH="0" baseline="0" noProof="0" dirty="0" err="1" smtClean="0">
                <a:ln>
                  <a:noFill/>
                </a:ln>
                <a:solidFill>
                  <a:srgbClr val="002776"/>
                </a:solidFill>
                <a:effectLst/>
                <a:uLnTx/>
                <a:uFillTx/>
                <a:latin typeface="Arial"/>
              </a:rPr>
              <a:t>Andon</a:t>
            </a:r>
            <a:endParaRPr kumimoji="0" lang="en-US" altLang="fr-FR" sz="1400" b="0" i="0" u="none" strike="noStrike" kern="0" cap="none" spc="0" normalizeH="0" baseline="0" noProof="0" dirty="0" smtClean="0">
              <a:ln>
                <a:noFill/>
              </a:ln>
              <a:solidFill>
                <a:srgbClr val="002776"/>
              </a:solidFill>
              <a:effectLst/>
              <a:uLnTx/>
              <a:uFillTx/>
              <a:latin typeface="Arial"/>
            </a:endParaRPr>
          </a:p>
        </p:txBody>
      </p:sp>
      <p:sp>
        <p:nvSpPr>
          <p:cNvPr id="47" name="Rectangle 46"/>
          <p:cNvSpPr/>
          <p:nvPr/>
        </p:nvSpPr>
        <p:spPr>
          <a:xfrm>
            <a:off x="21772" y="36286"/>
            <a:ext cx="9072000" cy="67680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746475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2"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Formalising the skills matrix</a:t>
            </a:r>
          </a:p>
        </p:txBody>
      </p:sp>
      <p:sp>
        <p:nvSpPr>
          <p:cNvPr id="7" name="Slide Number Placeholder 4"/>
          <p:cNvSpPr>
            <a:spLocks noGrp="1"/>
          </p:cNvSpPr>
          <p:nvPr>
            <p:ph type="sldNum" sz="quarter" idx="11"/>
          </p:nvPr>
        </p:nvSpPr>
        <p:spPr>
          <a:noFill/>
        </p:spPr>
        <p:txBody>
          <a:bodyPr/>
          <a:lstStyle/>
          <a:p>
            <a:fld id="{8378419C-AF56-455E-844A-2F42E2AED845}" type="slidenum">
              <a:rPr lang="en-GB" altLang="en-GB"/>
              <a:pPr/>
              <a:t>53</a:t>
            </a:fld>
            <a:endParaRPr lang="en-GB" altLang="en-GB"/>
          </a:p>
        </p:txBody>
      </p:sp>
      <p:sp>
        <p:nvSpPr>
          <p:cNvPr id="8" name="Rectangle 7"/>
          <p:cNvSpPr>
            <a:spLocks noChangeArrowheads="1"/>
          </p:cNvSpPr>
          <p:nvPr/>
        </p:nvSpPr>
        <p:spPr bwMode="auto">
          <a:xfrm>
            <a:off x="361949" y="1287463"/>
            <a:ext cx="8455025" cy="5191125"/>
          </a:xfrm>
          <a:prstGeom prst="rect">
            <a:avLst/>
          </a:prstGeom>
          <a:noFill/>
          <a:ln w="12700" algn="ctr">
            <a:solidFill>
              <a:srgbClr val="00A1DE"/>
            </a:solidFill>
            <a:miter lim="800000"/>
            <a:headEnd/>
            <a:tailEnd/>
          </a:ln>
        </p:spPr>
        <p:txBody>
          <a:bodyPr lIns="72000" tIns="40118" rIns="72000" bIns="40118"/>
          <a:lstStyle/>
          <a:p>
            <a:pPr>
              <a:spcBef>
                <a:spcPts val="0"/>
              </a:spcBef>
              <a:spcAft>
                <a:spcPts val="0"/>
              </a:spcAft>
            </a:pPr>
            <a:endParaRPr lang="en-BZ" sz="1200" dirty="0">
              <a:solidFill>
                <a:schemeClr val="tx2"/>
              </a:solidFill>
            </a:endParaRPr>
          </a:p>
        </p:txBody>
      </p:sp>
      <p:grpSp>
        <p:nvGrpSpPr>
          <p:cNvPr id="2" name="Group 1"/>
          <p:cNvGrpSpPr/>
          <p:nvPr/>
        </p:nvGrpSpPr>
        <p:grpSpPr>
          <a:xfrm>
            <a:off x="459356" y="1384844"/>
            <a:ext cx="8174525" cy="4933408"/>
            <a:chOff x="459356" y="1394070"/>
            <a:chExt cx="5411238" cy="3265737"/>
          </a:xfrm>
        </p:grpSpPr>
        <p:pic>
          <p:nvPicPr>
            <p:cNvPr id="9" name="Picture 11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1956" y="1673228"/>
              <a:ext cx="2835214" cy="2028179"/>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10" name="AutoShape 117"/>
            <p:cNvSpPr>
              <a:spLocks noChangeArrowheads="1"/>
            </p:cNvSpPr>
            <p:nvPr/>
          </p:nvSpPr>
          <p:spPr bwMode="auto">
            <a:xfrm>
              <a:off x="3449447" y="2492010"/>
              <a:ext cx="653203" cy="1042412"/>
            </a:xfrm>
            <a:prstGeom prst="wedgeRoundRectCallout">
              <a:avLst>
                <a:gd name="adj1" fmla="val -75736"/>
                <a:gd name="adj2" fmla="val 25426"/>
                <a:gd name="adj3" fmla="val 16667"/>
              </a:avLst>
            </a:prstGeom>
            <a:solidFill>
              <a:schemeClr val="bg1"/>
            </a:solidFill>
            <a:ln w="9525" algn="ctr">
              <a:solidFill>
                <a:srgbClr val="3C8A2E"/>
              </a:solidFill>
              <a:miter lim="800000"/>
              <a:headEnd/>
              <a:tailEnd/>
            </a:ln>
          </p:spPr>
          <p:txBody>
            <a:bodyPr lIns="36000" tIns="36000" rIns="36000" bIns="36000" anchor="ctr" anchorCtr="0"/>
            <a:lstStyle/>
            <a:p>
              <a:r>
                <a:rPr lang="en-GB" sz="1200" b="0" dirty="0"/>
                <a:t>Magic squares to be written on the matrix for each skills for each individual</a:t>
              </a:r>
            </a:p>
          </p:txBody>
        </p:sp>
        <p:sp>
          <p:nvSpPr>
            <p:cNvPr id="11" name="AutoShape 112"/>
            <p:cNvSpPr>
              <a:spLocks noChangeArrowheads="1"/>
            </p:cNvSpPr>
            <p:nvPr/>
          </p:nvSpPr>
          <p:spPr bwMode="auto">
            <a:xfrm>
              <a:off x="2011625" y="1529112"/>
              <a:ext cx="1534803" cy="366364"/>
            </a:xfrm>
            <a:prstGeom prst="wedgeRoundRectCallout">
              <a:avLst>
                <a:gd name="adj1" fmla="val -19486"/>
                <a:gd name="adj2" fmla="val 94079"/>
                <a:gd name="adj3" fmla="val 16667"/>
              </a:avLst>
            </a:prstGeom>
            <a:solidFill>
              <a:schemeClr val="bg1"/>
            </a:solidFill>
            <a:ln w="9525" algn="ctr">
              <a:solidFill>
                <a:srgbClr val="3C8A2E"/>
              </a:solidFill>
              <a:miter lim="800000"/>
              <a:headEnd/>
              <a:tailEnd/>
            </a:ln>
          </p:spPr>
          <p:txBody>
            <a:bodyPr lIns="36000" tIns="36000" rIns="36000" bIns="36000" anchor="ctr" anchorCtr="0"/>
            <a:lstStyle/>
            <a:p>
              <a:r>
                <a:rPr lang="en-GB" sz="1200" b="0" dirty="0"/>
                <a:t>Skill Matrix to be displayed in the working area</a:t>
              </a:r>
            </a:p>
          </p:txBody>
        </p:sp>
        <p:sp>
          <p:nvSpPr>
            <p:cNvPr id="12" name="AutoShape 118"/>
            <p:cNvSpPr>
              <a:spLocks noChangeArrowheads="1"/>
            </p:cNvSpPr>
            <p:nvPr/>
          </p:nvSpPr>
          <p:spPr bwMode="auto">
            <a:xfrm>
              <a:off x="459356" y="3808547"/>
              <a:ext cx="3643294" cy="851260"/>
            </a:xfrm>
            <a:prstGeom prst="wedgeRoundRectCallout">
              <a:avLst>
                <a:gd name="adj1" fmla="val -20494"/>
                <a:gd name="adj2" fmla="val -69338"/>
                <a:gd name="adj3" fmla="val 16667"/>
              </a:avLst>
            </a:prstGeom>
            <a:solidFill>
              <a:schemeClr val="bg1"/>
            </a:solidFill>
            <a:ln w="9525" algn="ctr">
              <a:solidFill>
                <a:srgbClr val="3C8A2E"/>
              </a:solidFill>
              <a:miter lim="800000"/>
              <a:headEnd/>
              <a:tailEnd/>
            </a:ln>
          </p:spPr>
          <p:txBody>
            <a:bodyPr lIns="36000" tIns="36000" rIns="36000" bIns="36000" anchor="ctr" anchorCtr="0"/>
            <a:lstStyle/>
            <a:p>
              <a:r>
                <a:rPr lang="en-GB" sz="1200" b="0" dirty="0"/>
                <a:t>The magic square has 4 sides, completed as the person gains increasing expertise in the job</a:t>
              </a:r>
              <a:r>
                <a:rPr lang="en-GB" sz="1200" b="0" dirty="0" smtClean="0"/>
                <a:t>:</a:t>
              </a:r>
              <a:endParaRPr lang="en-GB" sz="1200" b="0" dirty="0"/>
            </a:p>
            <a:p>
              <a:r>
                <a:rPr lang="en-GB" sz="1200" b="0" dirty="0"/>
                <a:t>I = Currently learning the task / skill</a:t>
              </a:r>
            </a:p>
            <a:p>
              <a:r>
                <a:rPr lang="en-GB" sz="1200" b="0" dirty="0"/>
                <a:t>L = Knows and applies all job instructions with correct level of quality</a:t>
              </a:r>
            </a:p>
            <a:p>
              <a:r>
                <a:rPr lang="en-GB" sz="1200" b="0" dirty="0"/>
                <a:t>U = Additionally ensures the quantity demanded</a:t>
              </a:r>
            </a:p>
            <a:p>
              <a:r>
                <a:rPr lang="en-GB" sz="1200" b="0" dirty="0">
                  <a:sym typeface="Wingdings" pitchFamily="2" charset="2"/>
                </a:rPr>
                <a:t></a:t>
              </a:r>
              <a:r>
                <a:rPr lang="en-GB" sz="1200" b="0" dirty="0"/>
                <a:t> = Capable of training fellow team member. </a:t>
              </a:r>
            </a:p>
          </p:txBody>
        </p:sp>
        <p:pic>
          <p:nvPicPr>
            <p:cNvPr id="13" name="Picture 1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04555" y="2957286"/>
              <a:ext cx="1192502" cy="170252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4" name="Rectangle 13"/>
            <p:cNvSpPr/>
            <p:nvPr/>
          </p:nvSpPr>
          <p:spPr>
            <a:xfrm>
              <a:off x="533076" y="1394070"/>
              <a:ext cx="2061470" cy="233949"/>
            </a:xfrm>
            <a:prstGeom prst="rect">
              <a:avLst/>
            </a:prstGeom>
          </p:spPr>
          <p:txBody>
            <a:bodyPr wrap="square" anchor="t" anchorCtr="0">
              <a:noAutofit/>
            </a:bodyPr>
            <a:lstStyle/>
            <a:p>
              <a:r>
                <a:rPr lang="en-GB" sz="1400" b="1" dirty="0" smtClean="0">
                  <a:solidFill>
                    <a:schemeClr val="tx2"/>
                  </a:solidFill>
                </a:rPr>
                <a:t>Example of skills matrix</a:t>
              </a:r>
              <a:endParaRPr lang="en-US" sz="1400" b="1" dirty="0"/>
            </a:p>
          </p:txBody>
        </p:sp>
        <p:sp>
          <p:nvSpPr>
            <p:cNvPr id="15" name="Rectangle 14"/>
            <p:cNvSpPr/>
            <p:nvPr/>
          </p:nvSpPr>
          <p:spPr>
            <a:xfrm>
              <a:off x="4466594" y="2736811"/>
              <a:ext cx="1404000" cy="233949"/>
            </a:xfrm>
            <a:prstGeom prst="rect">
              <a:avLst/>
            </a:prstGeom>
          </p:spPr>
          <p:txBody>
            <a:bodyPr wrap="square" anchor="t" anchorCtr="0">
              <a:noAutofit/>
            </a:bodyPr>
            <a:lstStyle/>
            <a:p>
              <a:r>
                <a:rPr lang="en-GB" sz="1400" b="1" dirty="0" smtClean="0">
                  <a:solidFill>
                    <a:schemeClr val="tx2"/>
                  </a:solidFill>
                </a:rPr>
                <a:t>Audit sheet</a:t>
              </a:r>
              <a:endParaRPr lang="en-US" sz="1400" b="1" dirty="0"/>
            </a:p>
          </p:txBody>
        </p:sp>
      </p:grpSp>
      <p:sp>
        <p:nvSpPr>
          <p:cNvPr id="16" name="Content Placeholder 2"/>
          <p:cNvSpPr txBox="1">
            <a:spLocks/>
          </p:cNvSpPr>
          <p:nvPr/>
        </p:nvSpPr>
        <p:spPr>
          <a:xfrm>
            <a:off x="5469741" y="1547902"/>
            <a:ext cx="3164140" cy="1071506"/>
          </a:xfrm>
          <a:prstGeom prst="rect">
            <a:avLst/>
          </a:prstGeom>
        </p:spPr>
        <p:txBody>
          <a:bodyPr vert="horz" lIns="0" tIns="0" rIns="0" bIns="0" rtlCol="0" anchor="t" anchorCtr="0">
            <a:noAutofit/>
          </a:bodyPr>
          <a:lstStyle>
            <a:lvl1pPr marL="0" indent="0" algn="l" defTabSz="914342" rtl="0" eaLnBrk="1" latinLnBrk="0" hangingPunct="1">
              <a:lnSpc>
                <a:spcPts val="1286"/>
              </a:lnSpc>
              <a:spcBef>
                <a:spcPts val="0"/>
              </a:spcBef>
              <a:spcAft>
                <a:spcPts val="1102"/>
              </a:spcAft>
              <a:buFont typeface="Arial" pitchFamily="34" charset="0"/>
              <a:buNone/>
              <a:defRPr lang="en-US" sz="900" b="0" i="0" kern="1200" baseline="0">
                <a:solidFill>
                  <a:schemeClr val="tx1"/>
                </a:solidFill>
                <a:latin typeface="Arial" pitchFamily="34" charset="0"/>
                <a:ea typeface="+mj-ea"/>
                <a:cs typeface="+mj-cs"/>
              </a:defRPr>
            </a:lvl1pPr>
            <a:lvl2pPr marL="0" indent="0" algn="l" defTabSz="914342" rtl="0" eaLnBrk="1" latinLnBrk="0" hangingPunct="1">
              <a:lnSpc>
                <a:spcPts val="1469"/>
              </a:lnSpc>
              <a:spcBef>
                <a:spcPts val="0"/>
              </a:spcBef>
              <a:spcAft>
                <a:spcPts val="551"/>
              </a:spcAft>
              <a:buFont typeface="Arial" pitchFamily="34" charset="0"/>
              <a:buNone/>
              <a:defRPr lang="en-US" sz="1100" b="1" kern="1200" baseline="0">
                <a:solidFill>
                  <a:srgbClr val="00A1DE"/>
                </a:solidFill>
                <a:latin typeface="Arial" pitchFamily="34" charset="0"/>
                <a:ea typeface="+mj-ea"/>
                <a:cs typeface="+mj-cs"/>
              </a:defRPr>
            </a:lvl2pPr>
            <a:lvl3pPr marL="209923" indent="-209923" algn="l" defTabSz="914342" rtl="0" eaLnBrk="1" latinLnBrk="0" hangingPunct="1">
              <a:lnSpc>
                <a:spcPts val="1286"/>
              </a:lnSpc>
              <a:spcBef>
                <a:spcPts val="0"/>
              </a:spcBef>
              <a:spcAft>
                <a:spcPts val="1102"/>
              </a:spcAft>
              <a:buFont typeface="+mj-lt"/>
              <a:buAutoNum type="arabicPeriod"/>
              <a:defRPr lang="en-US" sz="900" kern="1200" dirty="0" smtClean="0">
                <a:solidFill>
                  <a:schemeClr val="tx1"/>
                </a:solidFill>
                <a:latin typeface="+mn-lt"/>
                <a:ea typeface="+mj-ea"/>
                <a:cs typeface="+mj-cs"/>
              </a:defRPr>
            </a:lvl3pPr>
            <a:lvl4pPr marL="208270" indent="-208270" algn="l" defTabSz="914342" rtl="0" eaLnBrk="1" latinLnBrk="0" hangingPunct="1">
              <a:lnSpc>
                <a:spcPts val="1286"/>
              </a:lnSpc>
              <a:spcBef>
                <a:spcPts val="0"/>
              </a:spcBef>
              <a:spcAft>
                <a:spcPts val="551"/>
              </a:spcAft>
              <a:buFont typeface="Arial" pitchFamily="34" charset="0"/>
              <a:buChar char="•"/>
              <a:defRPr lang="en-US" sz="900" kern="1200" dirty="0" smtClean="0">
                <a:solidFill>
                  <a:schemeClr val="tx1"/>
                </a:solidFill>
                <a:latin typeface="+mn-lt"/>
                <a:ea typeface="+mj-ea"/>
                <a:cs typeface="+mj-cs"/>
              </a:defRPr>
            </a:lvl4pPr>
            <a:lvl5pPr marL="416541" indent="-208270" algn="l" defTabSz="914342" rtl="0" eaLnBrk="1" latinLnBrk="0" hangingPunct="1">
              <a:lnSpc>
                <a:spcPts val="1286"/>
              </a:lnSpc>
              <a:spcBef>
                <a:spcPts val="0"/>
              </a:spcBef>
              <a:spcAft>
                <a:spcPts val="551"/>
              </a:spcAft>
              <a:buFont typeface="Arial" pitchFamily="34" charset="0"/>
              <a:buChar char="‒"/>
              <a:defRPr lang="en-GB" sz="900" kern="1200" baseline="0" dirty="0" smtClean="0">
                <a:solidFill>
                  <a:schemeClr val="tx1"/>
                </a:solidFill>
                <a:latin typeface="+mn-lt"/>
                <a:ea typeface="+mj-ea"/>
                <a:cs typeface="+mj-cs"/>
              </a:defRPr>
            </a:lvl5pPr>
            <a:lvl6pPr marL="899943" indent="-179989" algn="l" defTabSz="914342"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432"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59920"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39909" indent="-179989" algn="l" defTabSz="914342"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a:lstStyle>
          <a:p>
            <a:pPr lvl="0" algn="just" fontAlgn="auto">
              <a:lnSpc>
                <a:spcPct val="100000"/>
              </a:lnSpc>
            </a:pPr>
            <a:r>
              <a:rPr lang="en-US" sz="1400" dirty="0" smtClean="0">
                <a:solidFill>
                  <a:schemeClr val="tx2"/>
                </a:solidFill>
              </a:rPr>
              <a:t>The </a:t>
            </a:r>
            <a:r>
              <a:rPr lang="en-US" sz="1400" dirty="0">
                <a:solidFill>
                  <a:schemeClr val="tx2"/>
                </a:solidFill>
              </a:rPr>
              <a:t>Skill Matrix is a one page visual document to capture the </a:t>
            </a:r>
            <a:r>
              <a:rPr lang="en-US" sz="1400" dirty="0" smtClean="0">
                <a:solidFill>
                  <a:schemeClr val="tx2"/>
                </a:solidFill>
              </a:rPr>
              <a:t>skillset required for each role and the level </a:t>
            </a:r>
            <a:r>
              <a:rPr lang="en-US" sz="1400" dirty="0">
                <a:solidFill>
                  <a:schemeClr val="tx2"/>
                </a:solidFill>
              </a:rPr>
              <a:t>of skills acquired by </a:t>
            </a:r>
            <a:r>
              <a:rPr lang="en-US" sz="1400" dirty="0" smtClean="0">
                <a:solidFill>
                  <a:schemeClr val="tx2"/>
                </a:solidFill>
              </a:rPr>
              <a:t>each </a:t>
            </a:r>
            <a:r>
              <a:rPr lang="en-US" sz="1400" dirty="0">
                <a:solidFill>
                  <a:schemeClr val="tx2"/>
                </a:solidFill>
              </a:rPr>
              <a:t>team </a:t>
            </a:r>
            <a:r>
              <a:rPr lang="en-US" sz="1400" dirty="0" smtClean="0">
                <a:solidFill>
                  <a:schemeClr val="tx2"/>
                </a:solidFill>
              </a:rPr>
              <a:t>member</a:t>
            </a:r>
            <a:r>
              <a:rPr lang="en-US" sz="1400" dirty="0">
                <a:solidFill>
                  <a:schemeClr val="tx2"/>
                </a:solidFill>
              </a:rPr>
              <a:t>. </a:t>
            </a:r>
            <a:endParaRPr lang="en-US" sz="1400" dirty="0" smtClean="0">
              <a:solidFill>
                <a:schemeClr val="tx2"/>
              </a:solidFill>
            </a:endParaRPr>
          </a:p>
          <a:p>
            <a:pPr lvl="0" algn="just" fontAlgn="auto">
              <a:lnSpc>
                <a:spcPct val="100000"/>
              </a:lnSpc>
            </a:pPr>
            <a:r>
              <a:rPr lang="en-US" sz="1400" dirty="0" smtClean="0">
                <a:solidFill>
                  <a:schemeClr val="tx2"/>
                </a:solidFill>
              </a:rPr>
              <a:t>It </a:t>
            </a:r>
            <a:r>
              <a:rPr lang="en-US" sz="1400" dirty="0">
                <a:solidFill>
                  <a:schemeClr val="tx2"/>
                </a:solidFill>
              </a:rPr>
              <a:t>is a living tool </a:t>
            </a:r>
            <a:r>
              <a:rPr lang="en-US" sz="1400" dirty="0" smtClean="0">
                <a:solidFill>
                  <a:schemeClr val="tx2"/>
                </a:solidFill>
              </a:rPr>
              <a:t>necessarily </a:t>
            </a:r>
            <a:r>
              <a:rPr lang="en-US" sz="1400" dirty="0">
                <a:solidFill>
                  <a:schemeClr val="tx2"/>
                </a:solidFill>
              </a:rPr>
              <a:t>updated </a:t>
            </a:r>
            <a:r>
              <a:rPr lang="en-US" sz="1400" dirty="0" smtClean="0">
                <a:solidFill>
                  <a:schemeClr val="tx2"/>
                </a:solidFill>
              </a:rPr>
              <a:t>and checked everyday.</a:t>
            </a:r>
            <a:endParaRPr lang="en-US" sz="1400" dirty="0">
              <a:solidFill>
                <a:schemeClr val="tx2"/>
              </a:solidFill>
            </a:endParaRPr>
          </a:p>
        </p:txBody>
      </p:sp>
    </p:spTree>
    <p:extLst>
      <p:ext uri="{BB962C8B-B14F-4D97-AF65-F5344CB8AC3E}">
        <p14:creationId xmlns:p14="http://schemas.microsoft.com/office/powerpoint/2010/main" val="2546724337"/>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An exercise in using SOPs</a:t>
            </a:r>
            <a:endParaRPr lang="en-GB" sz="1800" dirty="0" smtClean="0"/>
          </a:p>
        </p:txBody>
      </p:sp>
      <p:sp>
        <p:nvSpPr>
          <p:cNvPr id="171011" name="Slide Number Placeholder 4"/>
          <p:cNvSpPr>
            <a:spLocks noGrp="1"/>
          </p:cNvSpPr>
          <p:nvPr>
            <p:ph type="sldNum" sz="quarter" idx="11"/>
          </p:nvPr>
        </p:nvSpPr>
        <p:spPr>
          <a:noFill/>
        </p:spPr>
        <p:txBody>
          <a:bodyPr/>
          <a:lstStyle/>
          <a:p>
            <a:fld id="{643405B4-4713-4A02-ABF9-C07E9E3C5ABD}" type="slidenum">
              <a:rPr lang="en-GB" altLang="en-GB"/>
              <a:pPr/>
              <a:t>54</a:t>
            </a:fld>
            <a:endParaRPr lang="en-GB" altLang="en-GB" dirty="0"/>
          </a:p>
        </p:txBody>
      </p:sp>
      <p:pic>
        <p:nvPicPr>
          <p:cNvPr id="48" name="Picture 4" descr="Fish 2.jp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1898650"/>
            <a:ext cx="4578350" cy="4959350"/>
          </a:xfrm>
          <a:prstGeom prst="rect">
            <a:avLst/>
          </a:prstGeom>
          <a:noFill/>
          <a:ln w="9525">
            <a:noFill/>
            <a:miter lim="800000"/>
            <a:headEnd/>
            <a:tailEnd/>
          </a:ln>
        </p:spPr>
      </p:pic>
      <p:pic>
        <p:nvPicPr>
          <p:cNvPr id="49" name="Picture 5" descr="Fish.jpg"/>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527550" y="1903414"/>
            <a:ext cx="2203450" cy="2384425"/>
          </a:xfrm>
          <a:prstGeom prst="rect">
            <a:avLst/>
          </a:prstGeom>
          <a:noFill/>
          <a:ln w="9525">
            <a:noFill/>
            <a:miter lim="800000"/>
            <a:headEnd/>
            <a:tailEnd/>
          </a:ln>
        </p:spPr>
      </p:pic>
      <p:pic>
        <p:nvPicPr>
          <p:cNvPr id="50" name="Picture 6" descr="Fish.jp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540251" y="4437063"/>
            <a:ext cx="2201863" cy="2386012"/>
          </a:xfrm>
          <a:prstGeom prst="rect">
            <a:avLst/>
          </a:prstGeom>
          <a:noFill/>
          <a:ln w="9525">
            <a:noFill/>
            <a:miter lim="800000"/>
            <a:headEnd/>
            <a:tailEnd/>
          </a:ln>
        </p:spPr>
      </p:pic>
      <p:pic>
        <p:nvPicPr>
          <p:cNvPr id="51" name="Picture 7" descr="Fish 2.jp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734176" y="1898650"/>
            <a:ext cx="2409825" cy="4959350"/>
          </a:xfrm>
          <a:prstGeom prst="rect">
            <a:avLst/>
          </a:prstGeom>
          <a:noFill/>
          <a:ln w="9525">
            <a:noFill/>
            <a:miter lim="800000"/>
            <a:headEnd/>
            <a:tailEnd/>
          </a:ln>
        </p:spPr>
      </p:pic>
      <p:sp>
        <p:nvSpPr>
          <p:cNvPr id="9" name="Rectangle 8"/>
          <p:cNvSpPr/>
          <p:nvPr/>
        </p:nvSpPr>
        <p:spPr>
          <a:xfrm>
            <a:off x="21772" y="36286"/>
            <a:ext cx="9072000" cy="67680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88754988"/>
      </p:ext>
    </p:extLst>
  </p:cSld>
  <p:clrMapOvr>
    <a:masterClrMapping/>
  </p:clrMapOvr>
  <p:transition advClick="0"/>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r>
              <a:rPr lang="en-GB" altLang="en-GB" smtClean="0"/>
              <a:t>Lean Workshops</a:t>
            </a:r>
            <a:endParaRPr lang="en-GB" altLang="en-GB"/>
          </a:p>
        </p:txBody>
      </p:sp>
      <p:sp>
        <p:nvSpPr>
          <p:cNvPr id="4" name="Slide Number Placeholder 3"/>
          <p:cNvSpPr>
            <a:spLocks noGrp="1"/>
          </p:cNvSpPr>
          <p:nvPr>
            <p:ph type="sldNum" sz="quarter" idx="11"/>
          </p:nvPr>
        </p:nvSpPr>
        <p:spPr/>
        <p:txBody>
          <a:bodyPr/>
          <a:lstStyle/>
          <a:p>
            <a:pPr>
              <a:defRPr/>
            </a:pPr>
            <a:fld id="{52E1F56E-0AD8-4EA9-9BCA-27C227E9B0E9}" type="slidenum">
              <a:rPr lang="en-GB" altLang="en-GB" smtClean="0"/>
              <a:pPr>
                <a:defRPr/>
              </a:pPr>
              <a:t>55</a:t>
            </a:fld>
            <a:endParaRPr lang="en-GB" altLang="en-GB"/>
          </a:p>
        </p:txBody>
      </p:sp>
      <p:graphicFrame>
        <p:nvGraphicFramePr>
          <p:cNvPr id="32" name="Group 3"/>
          <p:cNvGraphicFramePr>
            <a:graphicFrameLocks noGrp="1"/>
          </p:cNvGraphicFramePr>
          <p:nvPr>
            <p:extLst>
              <p:ext uri="{D42A27DB-BD31-4B8C-83A1-F6EECF244321}">
                <p14:modId xmlns:p14="http://schemas.microsoft.com/office/powerpoint/2010/main" val="1299022663"/>
              </p:ext>
            </p:extLst>
          </p:nvPr>
        </p:nvGraphicFramePr>
        <p:xfrm>
          <a:off x="428838" y="1387407"/>
          <a:ext cx="8281987" cy="4990421"/>
        </p:xfrm>
        <a:graphic>
          <a:graphicData uri="http://schemas.openxmlformats.org/drawingml/2006/table">
            <a:tbl>
              <a:tblPr/>
              <a:tblGrid>
                <a:gridCol w="2627150"/>
                <a:gridCol w="166819"/>
                <a:gridCol w="2658899"/>
                <a:gridCol w="166819"/>
                <a:gridCol w="2662300"/>
              </a:tblGrid>
              <a:tr h="1028474">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900" b="1" i="0" u="none" strike="noStrike" cap="none" normalizeH="0" baseline="0" dirty="0" smtClean="0">
                          <a:ln>
                            <a:noFill/>
                          </a:ln>
                          <a:solidFill>
                            <a:schemeClr val="bg1"/>
                          </a:solidFill>
                          <a:effectLst/>
                          <a:latin typeface="Arial" charset="0"/>
                        </a:rPr>
                        <a:t>KNOWLEDGE OF</a:t>
                      </a:r>
                    </a:p>
                    <a:p>
                      <a:pPr marL="0" marR="0" lvl="0" indent="0" algn="ctr" defTabSz="1279525" rtl="0" eaLnBrk="1" fontAlgn="base" latinLnBrk="0" hangingPunct="1">
                        <a:lnSpc>
                          <a:spcPct val="100000"/>
                        </a:lnSpc>
                        <a:spcBef>
                          <a:spcPct val="0"/>
                        </a:spcBef>
                        <a:spcAft>
                          <a:spcPct val="0"/>
                        </a:spcAft>
                        <a:buClrTx/>
                        <a:buSzPct val="130000"/>
                        <a:buFontTx/>
                        <a:buNone/>
                        <a:tabLst/>
                        <a:defRPr/>
                      </a:pPr>
                      <a:r>
                        <a:rPr kumimoji="0" lang="en-GB" sz="1900" b="1" i="0" u="none" strike="noStrike" cap="none" normalizeH="0" baseline="0" dirty="0" smtClean="0">
                          <a:ln>
                            <a:noFill/>
                          </a:ln>
                          <a:solidFill>
                            <a:schemeClr val="bg1"/>
                          </a:solidFill>
                          <a:effectLst/>
                          <a:latin typeface="Arial" charset="0"/>
                        </a:rPr>
                        <a:t>THE TOPIC</a:t>
                      </a:r>
                    </a:p>
                  </a:txBody>
                  <a:tcPr marL="64281" marR="64281" marT="33429" marB="33429" anchor="ctr" anchorCtr="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endParaRPr kumimoji="0" lang="en-US" sz="1900" b="1" i="0" u="none" strike="noStrike" cap="none" normalizeH="0" baseline="0" dirty="0" smtClean="0">
                        <a:ln>
                          <a:noFill/>
                        </a:ln>
                        <a:solidFill>
                          <a:schemeClr val="bg1"/>
                        </a:solidFill>
                        <a:effectLst/>
                        <a:latin typeface="Arial" charset="0"/>
                      </a:endParaRPr>
                    </a:p>
                  </a:txBody>
                  <a:tcPr marL="64281" marR="64281" marT="33429" marB="33429" anchor="ctr" anchorCtr="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900" b="1" i="0" u="none" strike="noStrike" cap="none" normalizeH="0" baseline="0" dirty="0" smtClean="0">
                          <a:ln>
                            <a:noFill/>
                          </a:ln>
                          <a:solidFill>
                            <a:schemeClr val="bg1"/>
                          </a:solidFill>
                          <a:effectLst/>
                          <a:latin typeface="Arial" charset="0"/>
                        </a:rPr>
                        <a:t>KNOWLEDGE OF</a:t>
                      </a:r>
                    </a:p>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900" b="1" i="0" u="none" strike="noStrike" cap="none" normalizeH="0" baseline="0" dirty="0" smtClean="0">
                          <a:ln>
                            <a:noFill/>
                          </a:ln>
                          <a:solidFill>
                            <a:schemeClr val="bg1"/>
                          </a:solidFill>
                          <a:effectLst/>
                          <a:latin typeface="Arial" charset="0"/>
                        </a:rPr>
                        <a:t>THE TOOLS</a:t>
                      </a:r>
                    </a:p>
                  </a:txBody>
                  <a:tcPr marL="64281" marR="64281" marT="33429" marB="33429" anchor="ctr" anchorCtr="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endParaRPr kumimoji="0" lang="en-US" sz="1900" b="1" i="0" u="none" strike="noStrike" cap="none" normalizeH="0" baseline="0" dirty="0" smtClean="0">
                        <a:ln>
                          <a:noFill/>
                        </a:ln>
                        <a:solidFill>
                          <a:schemeClr val="bg1"/>
                        </a:solidFill>
                        <a:effectLst/>
                        <a:latin typeface="Arial" charset="0"/>
                      </a:endParaRPr>
                    </a:p>
                  </a:txBody>
                  <a:tcPr marL="64281" marR="64281" marT="33429" marB="33429" anchor="ctr" anchorCtr="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900" b="1" i="0" u="none" strike="noStrike" cap="none" normalizeH="0" baseline="0" dirty="0" smtClean="0">
                          <a:ln>
                            <a:noFill/>
                          </a:ln>
                          <a:solidFill>
                            <a:schemeClr val="bg1"/>
                          </a:solidFill>
                          <a:effectLst/>
                          <a:latin typeface="Arial" charset="0"/>
                        </a:rPr>
                        <a:t>KNOWLEDGE OF THE BEST WAY TO PERFORM</a:t>
                      </a:r>
                    </a:p>
                  </a:txBody>
                  <a:tcPr marL="64281" marR="64281" marT="33429" marB="33429" anchor="ctr" anchorCtr="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tx2"/>
                    </a:solidFill>
                  </a:tcPr>
                </a:tc>
              </a:tr>
              <a:tr h="1131661">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GB" sz="1600" b="0" i="0" u="none" strike="noStrike" cap="none" normalizeH="0" baseline="0" dirty="0" smtClean="0">
                          <a:ln>
                            <a:noFill/>
                          </a:ln>
                          <a:solidFill>
                            <a:srgbClr val="000000"/>
                          </a:solidFill>
                          <a:effectLst/>
                          <a:latin typeface="Arial" charset="0"/>
                        </a:rPr>
                        <a:t>Understanding of :</a:t>
                      </a:r>
                    </a:p>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GB" sz="1600" b="0" i="0" u="none" strike="noStrike" cap="none" normalizeH="0" baseline="0" dirty="0" smtClean="0">
                          <a:ln>
                            <a:noFill/>
                          </a:ln>
                          <a:solidFill>
                            <a:srgbClr val="000000"/>
                          </a:solidFill>
                          <a:effectLst/>
                          <a:latin typeface="Arial" charset="0"/>
                        </a:rPr>
                        <a:t>- Policies</a:t>
                      </a:r>
                    </a:p>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US" sz="1600" b="0" i="0" u="none" strike="noStrike" cap="none" normalizeH="0" baseline="0" dirty="0" smtClean="0">
                          <a:ln>
                            <a:noFill/>
                          </a:ln>
                          <a:solidFill>
                            <a:srgbClr val="000000"/>
                          </a:solidFill>
                          <a:effectLst/>
                          <a:latin typeface="Arial" charset="0"/>
                        </a:rPr>
                        <a:t>- Regulations</a:t>
                      </a:r>
                    </a:p>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GB" sz="1600" b="0" i="0" u="none" strike="noStrike" cap="none" normalizeH="0" baseline="0" dirty="0" smtClean="0">
                          <a:ln>
                            <a:noFill/>
                          </a:ln>
                          <a:solidFill>
                            <a:srgbClr val="000000"/>
                          </a:solidFill>
                          <a:effectLst/>
                          <a:latin typeface="Arial" charset="0"/>
                        </a:rPr>
                        <a:t>- Interpretation of the Law</a:t>
                      </a:r>
                    </a:p>
                  </a:txBody>
                  <a:tcPr marL="77138"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endParaRPr kumimoji="0" lang="en-US" sz="1600" b="0" i="0" u="none" strike="noStrike" cap="none" normalizeH="0" baseline="0" dirty="0" smtClean="0">
                        <a:ln>
                          <a:noFill/>
                        </a:ln>
                        <a:solidFill>
                          <a:srgbClr val="000000"/>
                        </a:solidFill>
                        <a:effectLst/>
                        <a:latin typeface="Arial" charset="0"/>
                      </a:endParaRPr>
                    </a:p>
                  </a:txBody>
                  <a:tcPr marL="77138"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600" b="0" i="0" u="none" strike="noStrike" cap="none" normalizeH="0" baseline="0" dirty="0" smtClean="0">
                          <a:ln>
                            <a:noFill/>
                          </a:ln>
                          <a:solidFill>
                            <a:srgbClr val="000000"/>
                          </a:solidFill>
                          <a:effectLst/>
                          <a:latin typeface="Arial" charset="0"/>
                        </a:rPr>
                        <a:t>Understanding of how to operate specific </a:t>
                      </a:r>
                      <a:r>
                        <a:rPr kumimoji="0" lang="en-GB" sz="1600" b="1" i="0" u="none" strike="noStrike" cap="none" normalizeH="0" baseline="0" dirty="0" smtClean="0">
                          <a:ln>
                            <a:noFill/>
                          </a:ln>
                          <a:solidFill>
                            <a:srgbClr val="000000"/>
                          </a:solidFill>
                          <a:effectLst/>
                          <a:latin typeface="Arial" charset="0"/>
                        </a:rPr>
                        <a:t>tasks</a:t>
                      </a:r>
                      <a:r>
                        <a:rPr kumimoji="0" lang="en-GB" sz="1600" b="0" i="0" u="none" strike="noStrike" cap="none" normalizeH="0" baseline="0" dirty="0" smtClean="0">
                          <a:ln>
                            <a:noFill/>
                          </a:ln>
                          <a:solidFill>
                            <a:srgbClr val="000000"/>
                          </a:solidFill>
                          <a:effectLst/>
                          <a:latin typeface="Arial" charset="0"/>
                        </a:rPr>
                        <a:t> using the new tools and systems available</a:t>
                      </a:r>
                    </a:p>
                  </a:txBody>
                  <a:tcPr marL="77138"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endParaRPr kumimoji="0" lang="en-US" sz="1600" b="0" i="0" u="none" strike="noStrike" cap="none" normalizeH="0" baseline="0" dirty="0" smtClean="0">
                        <a:ln>
                          <a:noFill/>
                        </a:ln>
                        <a:solidFill>
                          <a:srgbClr val="000000"/>
                        </a:solidFill>
                        <a:effectLst/>
                        <a:latin typeface="Arial" charset="0"/>
                      </a:endParaRPr>
                    </a:p>
                  </a:txBody>
                  <a:tcPr marL="77138"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600" b="0" i="0" u="none" strike="noStrike" cap="none" normalizeH="0" baseline="0" dirty="0" smtClean="0">
                          <a:ln>
                            <a:noFill/>
                          </a:ln>
                          <a:solidFill>
                            <a:srgbClr val="000000"/>
                          </a:solidFill>
                          <a:effectLst/>
                          <a:latin typeface="Arial" charset="0"/>
                        </a:rPr>
                        <a:t>Understanding of what is the most efficient sequence of tasks to perform each </a:t>
                      </a:r>
                      <a:r>
                        <a:rPr kumimoji="0" lang="en-GB" sz="1600" b="1" i="0" u="none" strike="noStrike" cap="none" normalizeH="0" baseline="0" dirty="0" smtClean="0">
                          <a:ln>
                            <a:noFill/>
                          </a:ln>
                          <a:solidFill>
                            <a:srgbClr val="000000"/>
                          </a:solidFill>
                          <a:effectLst/>
                          <a:latin typeface="Arial" charset="0"/>
                        </a:rPr>
                        <a:t>activity</a:t>
                      </a:r>
                    </a:p>
                  </a:txBody>
                  <a:tcPr marL="77138"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r>
              <a:tr h="1903866">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endParaRPr kumimoji="0" lang="en-US" sz="1600" b="0" i="0" u="none" strike="noStrike" cap="none" normalizeH="0" baseline="0" dirty="0" smtClean="0">
                        <a:ln>
                          <a:noFill/>
                        </a:ln>
                        <a:solidFill>
                          <a:srgbClr val="000000"/>
                        </a:solidFill>
                        <a:effectLst/>
                        <a:latin typeface="Arial" charset="0"/>
                      </a:endParaRPr>
                    </a:p>
                  </a:txBody>
                  <a:tcPr marL="64281"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endParaRPr kumimoji="0" lang="en-US" sz="1600" b="0" i="0" u="none" strike="noStrike" cap="none" normalizeH="0" baseline="0" dirty="0" smtClean="0">
                        <a:ln>
                          <a:noFill/>
                        </a:ln>
                        <a:solidFill>
                          <a:srgbClr val="000000"/>
                        </a:solidFill>
                        <a:effectLst/>
                        <a:latin typeface="Arial" charset="0"/>
                      </a:endParaRPr>
                    </a:p>
                  </a:txBody>
                  <a:tcPr marL="64281"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endParaRPr kumimoji="0" lang="en-US" sz="1600" b="0" i="0" u="none" strike="noStrike" cap="none" normalizeH="0" baseline="0" dirty="0" smtClean="0">
                        <a:ln>
                          <a:noFill/>
                        </a:ln>
                        <a:solidFill>
                          <a:srgbClr val="000000"/>
                        </a:solidFill>
                        <a:effectLst/>
                        <a:latin typeface="Arial" charset="0"/>
                      </a:endParaRPr>
                    </a:p>
                  </a:txBody>
                  <a:tcPr marL="64281"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endParaRPr kumimoji="0" lang="en-US" sz="1600" b="0" i="0" u="none" strike="noStrike" cap="none" normalizeH="0" baseline="0" dirty="0" smtClean="0">
                        <a:ln>
                          <a:noFill/>
                        </a:ln>
                        <a:solidFill>
                          <a:srgbClr val="000000"/>
                        </a:solidFill>
                        <a:effectLst/>
                        <a:latin typeface="Arial" charset="0"/>
                      </a:endParaRPr>
                    </a:p>
                  </a:txBody>
                  <a:tcPr marL="64281"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endParaRPr kumimoji="0" lang="en-US" sz="1600" b="0" i="0" u="none" strike="noStrike" cap="none" normalizeH="0" baseline="0" dirty="0" smtClean="0">
                        <a:ln>
                          <a:noFill/>
                        </a:ln>
                        <a:solidFill>
                          <a:srgbClr val="000000"/>
                        </a:solidFill>
                        <a:effectLst/>
                        <a:latin typeface="Arial" charset="0"/>
                      </a:endParaRPr>
                    </a:p>
                  </a:txBody>
                  <a:tcPr marL="64281" marR="64281" marT="3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r>
              <a:tr h="565831">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600" b="1" i="0" u="none" strike="noStrike" cap="none" normalizeH="0" baseline="0" dirty="0" smtClean="0">
                          <a:ln>
                            <a:noFill/>
                          </a:ln>
                          <a:solidFill>
                            <a:schemeClr val="tx2"/>
                          </a:solidFill>
                          <a:effectLst/>
                          <a:latin typeface="Arial" charset="0"/>
                        </a:rPr>
                        <a:t>FOUNDATIONS</a:t>
                      </a:r>
                    </a:p>
                  </a:txBody>
                  <a:tcPr marL="64281" marR="64281" marT="12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endParaRPr kumimoji="0" lang="en-US" sz="1600" b="1" i="0" u="none" strike="noStrike" cap="none" normalizeH="0" baseline="0" dirty="0" smtClean="0">
                        <a:ln>
                          <a:noFill/>
                        </a:ln>
                        <a:solidFill>
                          <a:schemeClr val="tx2"/>
                        </a:solidFill>
                        <a:effectLst/>
                        <a:latin typeface="Arial" charset="0"/>
                      </a:endParaRPr>
                    </a:p>
                  </a:txBody>
                  <a:tcPr marL="64281" marR="64281" marT="12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600" b="1" i="0" u="none" strike="noStrike" cap="none" normalizeH="0" baseline="0" dirty="0" smtClean="0">
                          <a:ln>
                            <a:noFill/>
                          </a:ln>
                          <a:solidFill>
                            <a:schemeClr val="tx2"/>
                          </a:solidFill>
                          <a:effectLst/>
                          <a:latin typeface="Arial" charset="0"/>
                        </a:rPr>
                        <a:t>OPERATIONAL SKILLS</a:t>
                      </a:r>
                    </a:p>
                  </a:txBody>
                  <a:tcPr marL="64281" marR="64281" marT="12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endParaRPr kumimoji="0" lang="en-US" sz="1600" b="1" i="0" u="none" strike="noStrike" cap="none" normalizeH="0" baseline="0" dirty="0" smtClean="0">
                        <a:ln>
                          <a:noFill/>
                        </a:ln>
                        <a:solidFill>
                          <a:schemeClr val="bg1"/>
                        </a:solidFill>
                        <a:effectLst/>
                        <a:latin typeface="Arial" charset="0"/>
                      </a:endParaRPr>
                    </a:p>
                  </a:txBody>
                  <a:tcPr marL="64281" marR="64281" marT="12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600" b="1" i="0" u="none" strike="noStrike" cap="none" normalizeH="0" baseline="0" dirty="0" smtClean="0">
                          <a:ln>
                            <a:noFill/>
                          </a:ln>
                          <a:solidFill>
                            <a:srgbClr val="FF0000"/>
                          </a:solidFill>
                          <a:effectLst/>
                          <a:latin typeface="Arial" charset="0"/>
                        </a:rPr>
                        <a:t>SOP</a:t>
                      </a:r>
                    </a:p>
                  </a:txBody>
                  <a:tcPr marL="64281" marR="64281" marT="123429" marB="33429"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r>
              <a:tr h="360589">
                <a:tc gridSpan="5">
                  <a:txBody>
                    <a:bodyPr/>
                    <a:lstStyle/>
                    <a:p>
                      <a:pPr marL="0" marR="0" lvl="0" indent="0" algn="ctr" defTabSz="1279525" rtl="0" eaLnBrk="1" fontAlgn="base" latinLnBrk="0" hangingPunct="1">
                        <a:lnSpc>
                          <a:spcPct val="100000"/>
                        </a:lnSpc>
                        <a:spcBef>
                          <a:spcPct val="0"/>
                        </a:spcBef>
                        <a:spcAft>
                          <a:spcPct val="0"/>
                        </a:spcAft>
                        <a:buClrTx/>
                        <a:buSzPct val="130000"/>
                        <a:buFontTx/>
                        <a:buNone/>
                        <a:tabLst/>
                      </a:pPr>
                      <a:r>
                        <a:rPr kumimoji="0" lang="en-GB" sz="1600" b="1" i="0" u="none" strike="noStrike" cap="none" normalizeH="0" baseline="0" dirty="0" smtClean="0">
                          <a:ln>
                            <a:noFill/>
                          </a:ln>
                          <a:solidFill>
                            <a:schemeClr val="tx2"/>
                          </a:solidFill>
                          <a:effectLst/>
                          <a:latin typeface="Arial" charset="0"/>
                        </a:rPr>
                        <a:t>Training is required to acquire the relevant competencies to perform specific roles</a:t>
                      </a:r>
                    </a:p>
                  </a:txBody>
                  <a:tcPr marL="64281" marR="64281" marT="33429" marB="33429" anchor="ctr" horzOverflow="overflow">
                    <a:lnL cap="flat">
                      <a:noFill/>
                    </a:lnL>
                    <a:lnR cap="flat">
                      <a:noFill/>
                    </a:lnR>
                    <a:lnT w="28575" cap="flat" cmpd="sng" algn="ctr">
                      <a:solidFill>
                        <a:schemeClr val="bg1"/>
                      </a:solidFill>
                      <a:prstDash val="solid"/>
                      <a:round/>
                      <a:headEnd type="none" w="med" len="med"/>
                      <a:tailEnd type="none" w="med" len="med"/>
                    </a:lnT>
                    <a:lnB cap="flat">
                      <a:noFill/>
                    </a:lnB>
                    <a:lnTlToBr>
                      <a:noFill/>
                    </a:lnTlToBr>
                    <a:lnBlToTr>
                      <a:noFill/>
                    </a:lnBlToTr>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bl>
          </a:graphicData>
        </a:graphic>
      </p:graphicFrame>
      <p:sp>
        <p:nvSpPr>
          <p:cNvPr id="33" name="AutoShape 41"/>
          <p:cNvSpPr>
            <a:spLocks noChangeArrowheads="1"/>
          </p:cNvSpPr>
          <p:nvPr/>
        </p:nvSpPr>
        <p:spPr bwMode="gray">
          <a:xfrm rot="10800000">
            <a:off x="419766" y="3580066"/>
            <a:ext cx="2623911" cy="108000"/>
          </a:xfrm>
          <a:prstGeom prst="triangle">
            <a:avLst>
              <a:gd name="adj" fmla="val 50000"/>
            </a:avLst>
          </a:prstGeom>
          <a:solidFill>
            <a:schemeClr val="bg1"/>
          </a:solidFill>
          <a:ln w="9525" algn="ctr">
            <a:solidFill>
              <a:schemeClr val="bg1"/>
            </a:solidFill>
            <a:miter lim="800000"/>
            <a:headEnd/>
            <a:tailEnd/>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grpSp>
        <p:nvGrpSpPr>
          <p:cNvPr id="34" name="Group 42"/>
          <p:cNvGrpSpPr>
            <a:grpSpLocks/>
          </p:cNvGrpSpPr>
          <p:nvPr/>
        </p:nvGrpSpPr>
        <p:grpSpPr bwMode="auto">
          <a:xfrm>
            <a:off x="1219186" y="3908130"/>
            <a:ext cx="1164545" cy="1338036"/>
            <a:chOff x="675" y="3478"/>
            <a:chExt cx="1543" cy="1723"/>
          </a:xfrm>
          <a:solidFill>
            <a:schemeClr val="bg1"/>
          </a:solidFill>
        </p:grpSpPr>
        <p:sp>
          <p:nvSpPr>
            <p:cNvPr id="35" name="AutoShape 43"/>
            <p:cNvSpPr>
              <a:spLocks noChangeArrowheads="1"/>
            </p:cNvSpPr>
            <p:nvPr/>
          </p:nvSpPr>
          <p:spPr bwMode="gray">
            <a:xfrm flipV="1">
              <a:off x="1084" y="3478"/>
              <a:ext cx="1134" cy="1406"/>
            </a:xfrm>
            <a:prstGeom prst="foldedCorner">
              <a:avLst>
                <a:gd name="adj" fmla="val 12500"/>
              </a:avLst>
            </a:prstGeom>
            <a:grpFill/>
            <a:ln w="9525">
              <a:solidFill>
                <a:schemeClr val="tx1"/>
              </a:solidFill>
              <a:round/>
              <a:headEnd/>
              <a:tailEnd/>
            </a:ln>
          </p:spPr>
          <p:txBody>
            <a:bodyPr rot="10800000" wrap="none"/>
            <a:lstStyle>
              <a:lvl1pPr defTabSz="1279525" eaLnBrk="0" hangingPunct="0">
                <a:defRPr sz="2500">
                  <a:solidFill>
                    <a:schemeClr val="tx1"/>
                  </a:solidFill>
                  <a:latin typeface="Akzidenz Grotesk CE Roman" pitchFamily="2" charset="0"/>
                  <a:cs typeface="Arial" pitchFamily="34" charset="0"/>
                </a:defRPr>
              </a:lvl1pPr>
              <a:lvl2pPr marL="742950" indent="-285750" defTabSz="1279525" eaLnBrk="0" hangingPunct="0">
                <a:defRPr sz="2500">
                  <a:solidFill>
                    <a:schemeClr val="tx1"/>
                  </a:solidFill>
                  <a:latin typeface="Akzidenz Grotesk CE Roman" pitchFamily="2" charset="0"/>
                  <a:cs typeface="Arial" pitchFamily="34" charset="0"/>
                </a:defRPr>
              </a:lvl2pPr>
              <a:lvl3pPr marL="1143000" indent="-228600" defTabSz="1279525" eaLnBrk="0" hangingPunct="0">
                <a:defRPr sz="2500">
                  <a:solidFill>
                    <a:schemeClr val="tx1"/>
                  </a:solidFill>
                  <a:latin typeface="Akzidenz Grotesk CE Roman" pitchFamily="2" charset="0"/>
                  <a:cs typeface="Arial" pitchFamily="34" charset="0"/>
                </a:defRPr>
              </a:lvl3pPr>
              <a:lvl4pPr marL="1600200" indent="-228600" defTabSz="1279525" eaLnBrk="0" hangingPunct="0">
                <a:defRPr sz="2500">
                  <a:solidFill>
                    <a:schemeClr val="tx1"/>
                  </a:solidFill>
                  <a:latin typeface="Akzidenz Grotesk CE Roman" pitchFamily="2" charset="0"/>
                  <a:cs typeface="Arial" pitchFamily="34" charset="0"/>
                </a:defRPr>
              </a:lvl4pPr>
              <a:lvl5pPr marL="2057400" indent="-228600" defTabSz="1279525" eaLnBrk="0" hangingPunct="0">
                <a:defRPr sz="2500">
                  <a:solidFill>
                    <a:schemeClr val="tx1"/>
                  </a:solidFill>
                  <a:latin typeface="Akzidenz Grotesk CE Roman" pitchFamily="2" charset="0"/>
                  <a:cs typeface="Arial" pitchFamily="34" charset="0"/>
                </a:defRPr>
              </a:lvl5pPr>
              <a:lvl6pPr marL="25146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en-US" altLang="fr-FR" b="1">
                <a:solidFill>
                  <a:schemeClr val="tx2"/>
                </a:solidFill>
                <a:latin typeface="+mj-lt"/>
              </a:endParaRPr>
            </a:p>
          </p:txBody>
        </p:sp>
        <p:sp>
          <p:nvSpPr>
            <p:cNvPr id="36" name="AutoShape 44"/>
            <p:cNvSpPr>
              <a:spLocks noChangeArrowheads="1"/>
            </p:cNvSpPr>
            <p:nvPr/>
          </p:nvSpPr>
          <p:spPr bwMode="gray">
            <a:xfrm flipV="1">
              <a:off x="857" y="3614"/>
              <a:ext cx="1134" cy="1406"/>
            </a:xfrm>
            <a:prstGeom prst="foldedCorner">
              <a:avLst>
                <a:gd name="adj" fmla="val 12500"/>
              </a:avLst>
            </a:prstGeom>
            <a:grpFill/>
            <a:ln w="9525">
              <a:solidFill>
                <a:schemeClr val="tx1"/>
              </a:solidFill>
              <a:round/>
              <a:headEnd/>
              <a:tailEnd/>
            </a:ln>
          </p:spPr>
          <p:txBody>
            <a:bodyPr rot="10800000" wrap="none"/>
            <a:lstStyle>
              <a:lvl1pPr defTabSz="1279525" eaLnBrk="0" hangingPunct="0">
                <a:defRPr sz="2500">
                  <a:solidFill>
                    <a:schemeClr val="tx1"/>
                  </a:solidFill>
                  <a:latin typeface="Akzidenz Grotesk CE Roman" pitchFamily="2" charset="0"/>
                  <a:cs typeface="Arial" pitchFamily="34" charset="0"/>
                </a:defRPr>
              </a:lvl1pPr>
              <a:lvl2pPr marL="742950" indent="-285750" defTabSz="1279525" eaLnBrk="0" hangingPunct="0">
                <a:defRPr sz="2500">
                  <a:solidFill>
                    <a:schemeClr val="tx1"/>
                  </a:solidFill>
                  <a:latin typeface="Akzidenz Grotesk CE Roman" pitchFamily="2" charset="0"/>
                  <a:cs typeface="Arial" pitchFamily="34" charset="0"/>
                </a:defRPr>
              </a:lvl2pPr>
              <a:lvl3pPr marL="1143000" indent="-228600" defTabSz="1279525" eaLnBrk="0" hangingPunct="0">
                <a:defRPr sz="2500">
                  <a:solidFill>
                    <a:schemeClr val="tx1"/>
                  </a:solidFill>
                  <a:latin typeface="Akzidenz Grotesk CE Roman" pitchFamily="2" charset="0"/>
                  <a:cs typeface="Arial" pitchFamily="34" charset="0"/>
                </a:defRPr>
              </a:lvl3pPr>
              <a:lvl4pPr marL="1600200" indent="-228600" defTabSz="1279525" eaLnBrk="0" hangingPunct="0">
                <a:defRPr sz="2500">
                  <a:solidFill>
                    <a:schemeClr val="tx1"/>
                  </a:solidFill>
                  <a:latin typeface="Akzidenz Grotesk CE Roman" pitchFamily="2" charset="0"/>
                  <a:cs typeface="Arial" pitchFamily="34" charset="0"/>
                </a:defRPr>
              </a:lvl4pPr>
              <a:lvl5pPr marL="2057400" indent="-228600" defTabSz="1279525" eaLnBrk="0" hangingPunct="0">
                <a:defRPr sz="2500">
                  <a:solidFill>
                    <a:schemeClr val="tx1"/>
                  </a:solidFill>
                  <a:latin typeface="Akzidenz Grotesk CE Roman" pitchFamily="2" charset="0"/>
                  <a:cs typeface="Arial" pitchFamily="34" charset="0"/>
                </a:defRPr>
              </a:lvl5pPr>
              <a:lvl6pPr marL="25146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en-US" altLang="fr-FR" b="1">
                <a:solidFill>
                  <a:schemeClr val="tx2"/>
                </a:solidFill>
                <a:latin typeface="+mj-lt"/>
              </a:endParaRPr>
            </a:p>
          </p:txBody>
        </p:sp>
        <p:sp>
          <p:nvSpPr>
            <p:cNvPr id="37" name="AutoShape 45"/>
            <p:cNvSpPr>
              <a:spLocks noChangeArrowheads="1"/>
            </p:cNvSpPr>
            <p:nvPr/>
          </p:nvSpPr>
          <p:spPr bwMode="gray">
            <a:xfrm flipV="1">
              <a:off x="675" y="3795"/>
              <a:ext cx="1134" cy="1406"/>
            </a:xfrm>
            <a:prstGeom prst="foldedCorner">
              <a:avLst>
                <a:gd name="adj" fmla="val 12500"/>
              </a:avLst>
            </a:prstGeom>
            <a:grpFill/>
            <a:ln w="9525">
              <a:solidFill>
                <a:schemeClr val="tx1"/>
              </a:solidFill>
              <a:round/>
              <a:headEnd/>
              <a:tailEnd/>
            </a:ln>
          </p:spPr>
          <p:txBody>
            <a:bodyPr rot="10800000" wrap="none"/>
            <a:lstStyle>
              <a:lvl1pPr defTabSz="1279525" eaLnBrk="0" hangingPunct="0">
                <a:defRPr sz="2500">
                  <a:solidFill>
                    <a:schemeClr val="tx1"/>
                  </a:solidFill>
                  <a:latin typeface="Akzidenz Grotesk CE Roman" pitchFamily="2" charset="0"/>
                  <a:cs typeface="Arial" pitchFamily="34" charset="0"/>
                </a:defRPr>
              </a:lvl1pPr>
              <a:lvl2pPr marL="742950" indent="-285750" defTabSz="1279525" eaLnBrk="0" hangingPunct="0">
                <a:defRPr sz="2500">
                  <a:solidFill>
                    <a:schemeClr val="tx1"/>
                  </a:solidFill>
                  <a:latin typeface="Akzidenz Grotesk CE Roman" pitchFamily="2" charset="0"/>
                  <a:cs typeface="Arial" pitchFamily="34" charset="0"/>
                </a:defRPr>
              </a:lvl2pPr>
              <a:lvl3pPr marL="1143000" indent="-228600" defTabSz="1279525" eaLnBrk="0" hangingPunct="0">
                <a:defRPr sz="2500">
                  <a:solidFill>
                    <a:schemeClr val="tx1"/>
                  </a:solidFill>
                  <a:latin typeface="Akzidenz Grotesk CE Roman" pitchFamily="2" charset="0"/>
                  <a:cs typeface="Arial" pitchFamily="34" charset="0"/>
                </a:defRPr>
              </a:lvl3pPr>
              <a:lvl4pPr marL="1600200" indent="-228600" defTabSz="1279525" eaLnBrk="0" hangingPunct="0">
                <a:defRPr sz="2500">
                  <a:solidFill>
                    <a:schemeClr val="tx1"/>
                  </a:solidFill>
                  <a:latin typeface="Akzidenz Grotesk CE Roman" pitchFamily="2" charset="0"/>
                  <a:cs typeface="Arial" pitchFamily="34" charset="0"/>
                </a:defRPr>
              </a:lvl4pPr>
              <a:lvl5pPr marL="2057400" indent="-228600" defTabSz="1279525" eaLnBrk="0" hangingPunct="0">
                <a:defRPr sz="2500">
                  <a:solidFill>
                    <a:schemeClr val="tx1"/>
                  </a:solidFill>
                  <a:latin typeface="Akzidenz Grotesk CE Roman" pitchFamily="2" charset="0"/>
                  <a:cs typeface="Arial" pitchFamily="34" charset="0"/>
                </a:defRPr>
              </a:lvl5pPr>
              <a:lvl6pPr marL="25146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r>
                <a:rPr lang="en-GB" altLang="fr-FR" sz="1300" b="1">
                  <a:solidFill>
                    <a:schemeClr val="tx2"/>
                  </a:solidFill>
                  <a:latin typeface="+mj-lt"/>
                </a:rPr>
                <a:t>Guidance</a:t>
              </a:r>
            </a:p>
          </p:txBody>
        </p:sp>
      </p:grpSp>
      <p:sp>
        <p:nvSpPr>
          <p:cNvPr id="38" name="AutoShape 46"/>
          <p:cNvSpPr>
            <a:spLocks noChangeArrowheads="1"/>
          </p:cNvSpPr>
          <p:nvPr/>
        </p:nvSpPr>
        <p:spPr bwMode="gray">
          <a:xfrm flipV="1">
            <a:off x="3242363" y="1078978"/>
            <a:ext cx="2628000" cy="309563"/>
          </a:xfrm>
          <a:custGeom>
            <a:avLst/>
            <a:gdLst>
              <a:gd name="T0" fmla="*/ 3552804 w 21600"/>
              <a:gd name="T1" fmla="*/ 216694 h 21600"/>
              <a:gd name="T2" fmla="*/ 1849438 w 21600"/>
              <a:gd name="T3" fmla="*/ 433388 h 21600"/>
              <a:gd name="T4" fmla="*/ 146071 w 21600"/>
              <a:gd name="T5" fmla="*/ 216694 h 21600"/>
              <a:gd name="T6" fmla="*/ 1849438 w 21600"/>
              <a:gd name="T7" fmla="*/ 0 h 21600"/>
              <a:gd name="T8" fmla="*/ 0 60000 65536"/>
              <a:gd name="T9" fmla="*/ 0 60000 65536"/>
              <a:gd name="T10" fmla="*/ 0 60000 65536"/>
              <a:gd name="T11" fmla="*/ 0 60000 65536"/>
              <a:gd name="T12" fmla="*/ 2653 w 21600"/>
              <a:gd name="T13" fmla="*/ 2653 h 21600"/>
              <a:gd name="T14" fmla="*/ 18947 w 21600"/>
              <a:gd name="T15" fmla="*/ 18947 h 21600"/>
            </a:gdLst>
            <a:ahLst/>
            <a:cxnLst>
              <a:cxn ang="T8">
                <a:pos x="T0" y="T1"/>
              </a:cxn>
              <a:cxn ang="T9">
                <a:pos x="T2" y="T3"/>
              </a:cxn>
              <a:cxn ang="T10">
                <a:pos x="T4" y="T5"/>
              </a:cxn>
              <a:cxn ang="T11">
                <a:pos x="T6" y="T7"/>
              </a:cxn>
            </a:cxnLst>
            <a:rect l="T12" t="T13" r="T14" b="T15"/>
            <a:pathLst>
              <a:path w="21600" h="21600">
                <a:moveTo>
                  <a:pt x="0" y="0"/>
                </a:moveTo>
                <a:lnTo>
                  <a:pt x="1705" y="21600"/>
                </a:lnTo>
                <a:lnTo>
                  <a:pt x="19895" y="21600"/>
                </a:lnTo>
                <a:lnTo>
                  <a:pt x="21600" y="0"/>
                </a:lnTo>
                <a:close/>
              </a:path>
            </a:pathLst>
          </a:custGeom>
          <a:solidFill>
            <a:schemeClr val="accent1"/>
          </a:solidFill>
          <a:ln w="9525" algn="ctr">
            <a:solidFill>
              <a:schemeClr val="tx2"/>
            </a:solidFill>
            <a:miter lim="800000"/>
            <a:headEnd/>
            <a:tailEnd/>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39" name="Freeform 47"/>
          <p:cNvSpPr>
            <a:spLocks/>
          </p:cNvSpPr>
          <p:nvPr/>
        </p:nvSpPr>
        <p:spPr bwMode="gray">
          <a:xfrm>
            <a:off x="442486" y="1080112"/>
            <a:ext cx="2808000" cy="308429"/>
          </a:xfrm>
          <a:custGeom>
            <a:avLst/>
            <a:gdLst>
              <a:gd name="T0" fmla="*/ 0 w 2495"/>
              <a:gd name="T1" fmla="*/ 272 h 272"/>
              <a:gd name="T2" fmla="*/ 2314 w 2495"/>
              <a:gd name="T3" fmla="*/ 272 h 272"/>
              <a:gd name="T4" fmla="*/ 2495 w 2495"/>
              <a:gd name="T5" fmla="*/ 0 h 272"/>
              <a:gd name="T6" fmla="*/ 272 w 2495"/>
              <a:gd name="T7" fmla="*/ 0 h 272"/>
              <a:gd name="T8" fmla="*/ 0 w 2495"/>
              <a:gd name="T9" fmla="*/ 272 h 272"/>
              <a:gd name="T10" fmla="*/ 0 60000 65536"/>
              <a:gd name="T11" fmla="*/ 0 60000 65536"/>
              <a:gd name="T12" fmla="*/ 0 60000 65536"/>
              <a:gd name="T13" fmla="*/ 0 60000 65536"/>
              <a:gd name="T14" fmla="*/ 0 60000 65536"/>
              <a:gd name="T15" fmla="*/ 0 w 2495"/>
              <a:gd name="T16" fmla="*/ 0 h 272"/>
              <a:gd name="T17" fmla="*/ 2495 w 2495"/>
              <a:gd name="T18" fmla="*/ 272 h 272"/>
            </a:gdLst>
            <a:ahLst/>
            <a:cxnLst>
              <a:cxn ang="T10">
                <a:pos x="T0" y="T1"/>
              </a:cxn>
              <a:cxn ang="T11">
                <a:pos x="T2" y="T3"/>
              </a:cxn>
              <a:cxn ang="T12">
                <a:pos x="T4" y="T5"/>
              </a:cxn>
              <a:cxn ang="T13">
                <a:pos x="T6" y="T7"/>
              </a:cxn>
              <a:cxn ang="T14">
                <a:pos x="T8" y="T9"/>
              </a:cxn>
            </a:cxnLst>
            <a:rect l="T15" t="T16" r="T17" b="T18"/>
            <a:pathLst>
              <a:path w="2495" h="272">
                <a:moveTo>
                  <a:pt x="0" y="272"/>
                </a:moveTo>
                <a:lnTo>
                  <a:pt x="2314" y="272"/>
                </a:lnTo>
                <a:lnTo>
                  <a:pt x="2495" y="0"/>
                </a:lnTo>
                <a:lnTo>
                  <a:pt x="272" y="0"/>
                </a:lnTo>
                <a:lnTo>
                  <a:pt x="0" y="272"/>
                </a:lnTo>
                <a:close/>
              </a:path>
            </a:pathLst>
          </a:custGeom>
          <a:solidFill>
            <a:schemeClr val="accent1"/>
          </a:solidFill>
          <a:ln w="9525">
            <a:solidFill>
              <a:schemeClr val="tx2"/>
            </a:solidFill>
            <a:round/>
            <a:headEnd/>
            <a:tailEnd/>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40" name="Freeform 48"/>
          <p:cNvSpPr>
            <a:spLocks/>
          </p:cNvSpPr>
          <p:nvPr/>
        </p:nvSpPr>
        <p:spPr bwMode="gray">
          <a:xfrm flipH="1">
            <a:off x="5863120" y="1080112"/>
            <a:ext cx="2808000" cy="308429"/>
          </a:xfrm>
          <a:custGeom>
            <a:avLst/>
            <a:gdLst>
              <a:gd name="T0" fmla="*/ 0 w 2495"/>
              <a:gd name="T1" fmla="*/ 272 h 272"/>
              <a:gd name="T2" fmla="*/ 2314 w 2495"/>
              <a:gd name="T3" fmla="*/ 272 h 272"/>
              <a:gd name="T4" fmla="*/ 2495 w 2495"/>
              <a:gd name="T5" fmla="*/ 0 h 272"/>
              <a:gd name="T6" fmla="*/ 272 w 2495"/>
              <a:gd name="T7" fmla="*/ 0 h 272"/>
              <a:gd name="T8" fmla="*/ 0 w 2495"/>
              <a:gd name="T9" fmla="*/ 272 h 272"/>
              <a:gd name="T10" fmla="*/ 0 60000 65536"/>
              <a:gd name="T11" fmla="*/ 0 60000 65536"/>
              <a:gd name="T12" fmla="*/ 0 60000 65536"/>
              <a:gd name="T13" fmla="*/ 0 60000 65536"/>
              <a:gd name="T14" fmla="*/ 0 60000 65536"/>
              <a:gd name="T15" fmla="*/ 0 w 2495"/>
              <a:gd name="T16" fmla="*/ 0 h 272"/>
              <a:gd name="T17" fmla="*/ 2495 w 2495"/>
              <a:gd name="T18" fmla="*/ 272 h 272"/>
            </a:gdLst>
            <a:ahLst/>
            <a:cxnLst>
              <a:cxn ang="T10">
                <a:pos x="T0" y="T1"/>
              </a:cxn>
              <a:cxn ang="T11">
                <a:pos x="T2" y="T3"/>
              </a:cxn>
              <a:cxn ang="T12">
                <a:pos x="T4" y="T5"/>
              </a:cxn>
              <a:cxn ang="T13">
                <a:pos x="T6" y="T7"/>
              </a:cxn>
              <a:cxn ang="T14">
                <a:pos x="T8" y="T9"/>
              </a:cxn>
            </a:cxnLst>
            <a:rect l="T15" t="T16" r="T17" b="T18"/>
            <a:pathLst>
              <a:path w="2495" h="272">
                <a:moveTo>
                  <a:pt x="0" y="272"/>
                </a:moveTo>
                <a:lnTo>
                  <a:pt x="2314" y="272"/>
                </a:lnTo>
                <a:lnTo>
                  <a:pt x="2495" y="0"/>
                </a:lnTo>
                <a:lnTo>
                  <a:pt x="272" y="0"/>
                </a:lnTo>
                <a:lnTo>
                  <a:pt x="0" y="272"/>
                </a:lnTo>
                <a:close/>
              </a:path>
            </a:pathLst>
          </a:custGeom>
          <a:solidFill>
            <a:schemeClr val="accent1"/>
          </a:solidFill>
          <a:ln w="9525">
            <a:solidFill>
              <a:schemeClr val="tx2"/>
            </a:solidFill>
            <a:round/>
            <a:headEnd/>
            <a:tailEnd/>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41" name="AutoShape 49"/>
          <p:cNvSpPr>
            <a:spLocks noChangeArrowheads="1"/>
          </p:cNvSpPr>
          <p:nvPr/>
        </p:nvSpPr>
        <p:spPr bwMode="gray">
          <a:xfrm rot="10800000">
            <a:off x="3197891" y="3580066"/>
            <a:ext cx="2623911" cy="108000"/>
          </a:xfrm>
          <a:prstGeom prst="triangle">
            <a:avLst>
              <a:gd name="adj" fmla="val 50000"/>
            </a:avLst>
          </a:prstGeom>
          <a:solidFill>
            <a:schemeClr val="bg1"/>
          </a:solidFill>
          <a:ln w="9525" algn="ctr">
            <a:solidFill>
              <a:schemeClr val="bg1"/>
            </a:solidFill>
            <a:miter lim="800000"/>
            <a:headEnd/>
            <a:tailEnd/>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42" name="AutoShape 50"/>
          <p:cNvSpPr>
            <a:spLocks noChangeArrowheads="1"/>
          </p:cNvSpPr>
          <p:nvPr/>
        </p:nvSpPr>
        <p:spPr bwMode="gray">
          <a:xfrm rot="10800000">
            <a:off x="5991891" y="3580066"/>
            <a:ext cx="2657929" cy="108000"/>
          </a:xfrm>
          <a:prstGeom prst="triangle">
            <a:avLst>
              <a:gd name="adj" fmla="val 50000"/>
            </a:avLst>
          </a:prstGeom>
          <a:solidFill>
            <a:schemeClr val="bg1"/>
          </a:solidFill>
          <a:ln w="9525" algn="ctr">
            <a:solidFill>
              <a:schemeClr val="bg1"/>
            </a:solidFill>
            <a:miter lim="800000"/>
            <a:headEnd/>
            <a:tailEnd/>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grpSp>
        <p:nvGrpSpPr>
          <p:cNvPr id="43" name="Group 51"/>
          <p:cNvGrpSpPr>
            <a:grpSpLocks/>
          </p:cNvGrpSpPr>
          <p:nvPr/>
        </p:nvGrpSpPr>
        <p:grpSpPr bwMode="auto">
          <a:xfrm>
            <a:off x="3874847" y="3855970"/>
            <a:ext cx="1285875" cy="1248455"/>
            <a:chOff x="2244" y="1767"/>
            <a:chExt cx="2029" cy="2029"/>
          </a:xfrm>
        </p:grpSpPr>
        <p:sp>
          <p:nvSpPr>
            <p:cNvPr id="44" name="Freeform 52"/>
            <p:cNvSpPr>
              <a:spLocks/>
            </p:cNvSpPr>
            <p:nvPr/>
          </p:nvSpPr>
          <p:spPr bwMode="blackWhite">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rgbClr val="FFFFFF"/>
            </a:solidFill>
            <a:ln w="12700" cap="rnd">
              <a:solidFill>
                <a:srgbClr val="000000"/>
              </a:solidFill>
              <a:round/>
              <a:headEnd/>
              <a:tailEnd/>
            </a:ln>
          </p:spPr>
          <p:txBody>
            <a:bodyP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45" name="Freeform 53"/>
            <p:cNvSpPr>
              <a:spLocks/>
            </p:cNvSpPr>
            <p:nvPr/>
          </p:nvSpPr>
          <p:spPr bwMode="blackWhite">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FFFFFF"/>
            </a:solidFill>
            <a:ln w="12700" cap="rnd">
              <a:solidFill>
                <a:srgbClr val="000000"/>
              </a:solidFill>
              <a:round/>
              <a:headEnd/>
              <a:tailEnd/>
            </a:ln>
          </p:spPr>
          <p:txBody>
            <a:bodyP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46" name="Freeform 54"/>
            <p:cNvSpPr>
              <a:spLocks/>
            </p:cNvSpPr>
            <p:nvPr/>
          </p:nvSpPr>
          <p:spPr bwMode="blackWhite">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FFFFFF"/>
            </a:solidFill>
            <a:ln w="12700" cap="rnd">
              <a:solidFill>
                <a:srgbClr val="000000"/>
              </a:solidFill>
              <a:round/>
              <a:headEnd/>
              <a:tailEnd/>
            </a:ln>
          </p:spPr>
          <p:txBody>
            <a:bodyP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47" name="Freeform 55"/>
            <p:cNvSpPr>
              <a:spLocks/>
            </p:cNvSpPr>
            <p:nvPr/>
          </p:nvSpPr>
          <p:spPr bwMode="blackWhite">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rgbClr val="FFFFFF"/>
            </a:solidFill>
            <a:ln w="12700" cap="rnd">
              <a:solidFill>
                <a:srgbClr val="000000"/>
              </a:solidFill>
              <a:round/>
              <a:headEnd/>
              <a:tailEnd/>
            </a:ln>
          </p:spPr>
          <p:txBody>
            <a:bodyP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grpSp>
      <p:sp>
        <p:nvSpPr>
          <p:cNvPr id="48" name="Text Box 56"/>
          <p:cNvSpPr txBox="1">
            <a:spLocks noChangeArrowheads="1"/>
          </p:cNvSpPr>
          <p:nvPr/>
        </p:nvSpPr>
        <p:spPr bwMode="gray">
          <a:xfrm>
            <a:off x="4948824" y="3906996"/>
            <a:ext cx="838812" cy="265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65306" tIns="32653" rIns="65306" bIns="32653">
            <a:spAutoFit/>
          </a:bodyPr>
          <a:lstStyle>
            <a:lvl1pPr defTabSz="1279525" eaLnBrk="0" hangingPunct="0">
              <a:defRPr sz="2500">
                <a:solidFill>
                  <a:schemeClr val="tx1"/>
                </a:solidFill>
                <a:latin typeface="Akzidenz Grotesk CE Roman" pitchFamily="2" charset="0"/>
                <a:cs typeface="Arial" pitchFamily="34" charset="0"/>
              </a:defRPr>
            </a:lvl1pPr>
            <a:lvl2pPr marL="742950" indent="-285750" defTabSz="1279525" eaLnBrk="0" hangingPunct="0">
              <a:defRPr sz="2500">
                <a:solidFill>
                  <a:schemeClr val="tx1"/>
                </a:solidFill>
                <a:latin typeface="Akzidenz Grotesk CE Roman" pitchFamily="2" charset="0"/>
                <a:cs typeface="Arial" pitchFamily="34" charset="0"/>
              </a:defRPr>
            </a:lvl2pPr>
            <a:lvl3pPr marL="1143000" indent="-228600" defTabSz="1279525" eaLnBrk="0" hangingPunct="0">
              <a:defRPr sz="2500">
                <a:solidFill>
                  <a:schemeClr val="tx1"/>
                </a:solidFill>
                <a:latin typeface="Akzidenz Grotesk CE Roman" pitchFamily="2" charset="0"/>
                <a:cs typeface="Arial" pitchFamily="34" charset="0"/>
              </a:defRPr>
            </a:lvl3pPr>
            <a:lvl4pPr marL="1600200" indent="-228600" defTabSz="1279525" eaLnBrk="0" hangingPunct="0">
              <a:defRPr sz="2500">
                <a:solidFill>
                  <a:schemeClr val="tx1"/>
                </a:solidFill>
                <a:latin typeface="Akzidenz Grotesk CE Roman" pitchFamily="2" charset="0"/>
                <a:cs typeface="Arial" pitchFamily="34" charset="0"/>
              </a:defRPr>
            </a:lvl4pPr>
            <a:lvl5pPr marL="2057400" indent="-228600" defTabSz="1279525" eaLnBrk="0" hangingPunct="0">
              <a:defRPr sz="2500">
                <a:solidFill>
                  <a:schemeClr val="tx1"/>
                </a:solidFill>
                <a:latin typeface="Akzidenz Grotesk CE Roman" pitchFamily="2" charset="0"/>
                <a:cs typeface="Arial" pitchFamily="34" charset="0"/>
              </a:defRPr>
            </a:lvl5pPr>
            <a:lvl6pPr marL="25146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r>
              <a:rPr lang="en-GB" altLang="fr-FR" sz="1300" b="1">
                <a:solidFill>
                  <a:schemeClr val="tx2"/>
                </a:solidFill>
                <a:latin typeface="Arial" pitchFamily="34" charset="0"/>
              </a:rPr>
              <a:t>Learning</a:t>
            </a:r>
          </a:p>
        </p:txBody>
      </p:sp>
      <p:sp>
        <p:nvSpPr>
          <p:cNvPr id="49" name="Text Box 57"/>
          <p:cNvSpPr txBox="1">
            <a:spLocks noChangeArrowheads="1"/>
          </p:cNvSpPr>
          <p:nvPr/>
        </p:nvSpPr>
        <p:spPr bwMode="gray">
          <a:xfrm>
            <a:off x="3203406" y="3902460"/>
            <a:ext cx="855291" cy="265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65306" tIns="32653" rIns="65306" bIns="32653">
            <a:spAutoFit/>
          </a:bodyPr>
          <a:lstStyle>
            <a:lvl1pPr defTabSz="1279525" eaLnBrk="0" hangingPunct="0">
              <a:defRPr sz="2500">
                <a:solidFill>
                  <a:schemeClr val="tx1"/>
                </a:solidFill>
                <a:latin typeface="Akzidenz Grotesk CE Roman" pitchFamily="2" charset="0"/>
                <a:cs typeface="Arial" pitchFamily="34" charset="0"/>
              </a:defRPr>
            </a:lvl1pPr>
            <a:lvl2pPr marL="742950" indent="-285750" defTabSz="1279525" eaLnBrk="0" hangingPunct="0">
              <a:defRPr sz="2500">
                <a:solidFill>
                  <a:schemeClr val="tx1"/>
                </a:solidFill>
                <a:latin typeface="Akzidenz Grotesk CE Roman" pitchFamily="2" charset="0"/>
                <a:cs typeface="Arial" pitchFamily="34" charset="0"/>
              </a:defRPr>
            </a:lvl2pPr>
            <a:lvl3pPr marL="1143000" indent="-228600" defTabSz="1279525" eaLnBrk="0" hangingPunct="0">
              <a:defRPr sz="2500">
                <a:solidFill>
                  <a:schemeClr val="tx1"/>
                </a:solidFill>
                <a:latin typeface="Akzidenz Grotesk CE Roman" pitchFamily="2" charset="0"/>
                <a:cs typeface="Arial" pitchFamily="34" charset="0"/>
              </a:defRPr>
            </a:lvl3pPr>
            <a:lvl4pPr marL="1600200" indent="-228600" defTabSz="1279525" eaLnBrk="0" hangingPunct="0">
              <a:defRPr sz="2500">
                <a:solidFill>
                  <a:schemeClr val="tx1"/>
                </a:solidFill>
                <a:latin typeface="Akzidenz Grotesk CE Roman" pitchFamily="2" charset="0"/>
                <a:cs typeface="Arial" pitchFamily="34" charset="0"/>
              </a:defRPr>
            </a:lvl4pPr>
            <a:lvl5pPr marL="2057400" indent="-228600" defTabSz="1279525" eaLnBrk="0" hangingPunct="0">
              <a:defRPr sz="2500">
                <a:solidFill>
                  <a:schemeClr val="tx1"/>
                </a:solidFill>
                <a:latin typeface="Akzidenz Grotesk CE Roman" pitchFamily="2" charset="0"/>
                <a:cs typeface="Arial" pitchFamily="34" charset="0"/>
              </a:defRPr>
            </a:lvl5pPr>
            <a:lvl6pPr marL="25146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r>
              <a:rPr lang="en-GB" altLang="fr-FR" sz="1300" b="1" dirty="0">
                <a:solidFill>
                  <a:schemeClr val="tx2"/>
                </a:solidFill>
                <a:latin typeface="Arial" pitchFamily="34" charset="0"/>
              </a:rPr>
              <a:t>Teaching</a:t>
            </a:r>
          </a:p>
        </p:txBody>
      </p:sp>
      <p:sp>
        <p:nvSpPr>
          <p:cNvPr id="50" name="Text Box 58"/>
          <p:cNvSpPr txBox="1">
            <a:spLocks noChangeArrowheads="1"/>
          </p:cNvSpPr>
          <p:nvPr/>
        </p:nvSpPr>
        <p:spPr bwMode="gray">
          <a:xfrm>
            <a:off x="4685454" y="4940005"/>
            <a:ext cx="1181855" cy="265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65306" tIns="32653" rIns="65306" bIns="32653">
            <a:spAutoFit/>
          </a:bodyPr>
          <a:lstStyle>
            <a:lvl1pPr defTabSz="1279525" eaLnBrk="0" hangingPunct="0">
              <a:defRPr sz="2500">
                <a:solidFill>
                  <a:schemeClr val="tx1"/>
                </a:solidFill>
                <a:latin typeface="Akzidenz Grotesk CE Roman" pitchFamily="2" charset="0"/>
                <a:cs typeface="Arial" pitchFamily="34" charset="0"/>
              </a:defRPr>
            </a:lvl1pPr>
            <a:lvl2pPr marL="742950" indent="-285750" defTabSz="1279525" eaLnBrk="0" hangingPunct="0">
              <a:defRPr sz="2500">
                <a:solidFill>
                  <a:schemeClr val="tx1"/>
                </a:solidFill>
                <a:latin typeface="Akzidenz Grotesk CE Roman" pitchFamily="2" charset="0"/>
                <a:cs typeface="Arial" pitchFamily="34" charset="0"/>
              </a:defRPr>
            </a:lvl2pPr>
            <a:lvl3pPr marL="1143000" indent="-228600" defTabSz="1279525" eaLnBrk="0" hangingPunct="0">
              <a:defRPr sz="2500">
                <a:solidFill>
                  <a:schemeClr val="tx1"/>
                </a:solidFill>
                <a:latin typeface="Akzidenz Grotesk CE Roman" pitchFamily="2" charset="0"/>
                <a:cs typeface="Arial" pitchFamily="34" charset="0"/>
              </a:defRPr>
            </a:lvl3pPr>
            <a:lvl4pPr marL="1600200" indent="-228600" defTabSz="1279525" eaLnBrk="0" hangingPunct="0">
              <a:defRPr sz="2500">
                <a:solidFill>
                  <a:schemeClr val="tx1"/>
                </a:solidFill>
                <a:latin typeface="Akzidenz Grotesk CE Roman" pitchFamily="2" charset="0"/>
                <a:cs typeface="Arial" pitchFamily="34" charset="0"/>
              </a:defRPr>
            </a:lvl4pPr>
            <a:lvl5pPr marL="2057400" indent="-228600" defTabSz="1279525" eaLnBrk="0" hangingPunct="0">
              <a:defRPr sz="2500">
                <a:solidFill>
                  <a:schemeClr val="tx1"/>
                </a:solidFill>
                <a:latin typeface="Akzidenz Grotesk CE Roman" pitchFamily="2" charset="0"/>
                <a:cs typeface="Arial" pitchFamily="34" charset="0"/>
              </a:defRPr>
            </a:lvl5pPr>
            <a:lvl6pPr marL="25146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r>
              <a:rPr lang="en-GB" altLang="fr-FR" sz="1300" b="1">
                <a:solidFill>
                  <a:schemeClr val="tx2"/>
                </a:solidFill>
                <a:latin typeface="Arial" pitchFamily="34" charset="0"/>
              </a:rPr>
              <a:t>Experiencing</a:t>
            </a:r>
          </a:p>
        </p:txBody>
      </p:sp>
      <p:sp>
        <p:nvSpPr>
          <p:cNvPr id="51" name="Text Box 59"/>
          <p:cNvSpPr txBox="1">
            <a:spLocks noChangeArrowheads="1"/>
          </p:cNvSpPr>
          <p:nvPr/>
        </p:nvSpPr>
        <p:spPr bwMode="gray">
          <a:xfrm>
            <a:off x="3248408" y="4935470"/>
            <a:ext cx="1021555" cy="265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65306" tIns="32653" rIns="65306" bIns="32653">
            <a:spAutoFit/>
          </a:bodyPr>
          <a:lstStyle>
            <a:lvl1pPr defTabSz="1279525" eaLnBrk="0" hangingPunct="0">
              <a:defRPr sz="2500">
                <a:solidFill>
                  <a:schemeClr val="tx1"/>
                </a:solidFill>
                <a:latin typeface="Akzidenz Grotesk CE Roman" pitchFamily="2" charset="0"/>
                <a:cs typeface="Arial" pitchFamily="34" charset="0"/>
              </a:defRPr>
            </a:lvl1pPr>
            <a:lvl2pPr marL="742950" indent="-285750" defTabSz="1279525" eaLnBrk="0" hangingPunct="0">
              <a:defRPr sz="2500">
                <a:solidFill>
                  <a:schemeClr val="tx1"/>
                </a:solidFill>
                <a:latin typeface="Akzidenz Grotesk CE Roman" pitchFamily="2" charset="0"/>
                <a:cs typeface="Arial" pitchFamily="34" charset="0"/>
              </a:defRPr>
            </a:lvl2pPr>
            <a:lvl3pPr marL="1143000" indent="-228600" defTabSz="1279525" eaLnBrk="0" hangingPunct="0">
              <a:defRPr sz="2500">
                <a:solidFill>
                  <a:schemeClr val="tx1"/>
                </a:solidFill>
                <a:latin typeface="Akzidenz Grotesk CE Roman" pitchFamily="2" charset="0"/>
                <a:cs typeface="Arial" pitchFamily="34" charset="0"/>
              </a:defRPr>
            </a:lvl3pPr>
            <a:lvl4pPr marL="1600200" indent="-228600" defTabSz="1279525" eaLnBrk="0" hangingPunct="0">
              <a:defRPr sz="2500">
                <a:solidFill>
                  <a:schemeClr val="tx1"/>
                </a:solidFill>
                <a:latin typeface="Akzidenz Grotesk CE Roman" pitchFamily="2" charset="0"/>
                <a:cs typeface="Arial" pitchFamily="34" charset="0"/>
              </a:defRPr>
            </a:lvl4pPr>
            <a:lvl5pPr marL="2057400" indent="-228600" defTabSz="1279525" eaLnBrk="0" hangingPunct="0">
              <a:defRPr sz="2500">
                <a:solidFill>
                  <a:schemeClr val="tx1"/>
                </a:solidFill>
                <a:latin typeface="Akzidenz Grotesk CE Roman" pitchFamily="2" charset="0"/>
                <a:cs typeface="Arial" pitchFamily="34" charset="0"/>
              </a:defRPr>
            </a:lvl5pPr>
            <a:lvl6pPr marL="25146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r>
              <a:rPr lang="en-GB" altLang="fr-FR" sz="1300" b="1">
                <a:solidFill>
                  <a:schemeClr val="tx2"/>
                </a:solidFill>
                <a:latin typeface="Arial" pitchFamily="34" charset="0"/>
              </a:rPr>
              <a:t>Performing</a:t>
            </a:r>
          </a:p>
        </p:txBody>
      </p:sp>
      <p:sp>
        <p:nvSpPr>
          <p:cNvPr id="52" name="AutoShape 60"/>
          <p:cNvSpPr>
            <a:spLocks noChangeArrowheads="1"/>
          </p:cNvSpPr>
          <p:nvPr/>
        </p:nvSpPr>
        <p:spPr bwMode="gray">
          <a:xfrm rot="10800000">
            <a:off x="3205829" y="5483932"/>
            <a:ext cx="2623911" cy="108000"/>
          </a:xfrm>
          <a:prstGeom prst="triangle">
            <a:avLst>
              <a:gd name="adj" fmla="val 50000"/>
            </a:avLst>
          </a:prstGeom>
          <a:solidFill>
            <a:schemeClr val="bg1"/>
          </a:solidFill>
          <a:ln w="9525" algn="ctr">
            <a:solidFill>
              <a:schemeClr val="bg1"/>
            </a:solidFill>
            <a:miter lim="800000"/>
            <a:headEnd/>
            <a:tailEnd/>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53" name="AutoShape 61"/>
          <p:cNvSpPr>
            <a:spLocks noChangeArrowheads="1"/>
          </p:cNvSpPr>
          <p:nvPr/>
        </p:nvSpPr>
        <p:spPr bwMode="gray">
          <a:xfrm rot="10800000">
            <a:off x="5999828" y="5483932"/>
            <a:ext cx="2657929" cy="108000"/>
          </a:xfrm>
          <a:prstGeom prst="triangle">
            <a:avLst>
              <a:gd name="adj" fmla="val 50000"/>
            </a:avLst>
          </a:prstGeom>
          <a:solidFill>
            <a:schemeClr val="bg1"/>
          </a:solidFill>
          <a:ln w="9525" algn="ctr">
            <a:solidFill>
              <a:schemeClr val="bg1"/>
            </a:solidFill>
            <a:miter lim="800000"/>
            <a:headEnd/>
            <a:tailEnd/>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54" name="AutoShape 62"/>
          <p:cNvSpPr>
            <a:spLocks noChangeArrowheads="1"/>
          </p:cNvSpPr>
          <p:nvPr/>
        </p:nvSpPr>
        <p:spPr bwMode="gray">
          <a:xfrm rot="10800000">
            <a:off x="428838" y="5483932"/>
            <a:ext cx="2623911" cy="108000"/>
          </a:xfrm>
          <a:prstGeom prst="triangle">
            <a:avLst>
              <a:gd name="adj" fmla="val 50000"/>
            </a:avLst>
          </a:prstGeom>
          <a:solidFill>
            <a:schemeClr val="bg1"/>
          </a:solidFill>
          <a:ln w="9525" algn="ctr">
            <a:solidFill>
              <a:schemeClr val="bg1"/>
            </a:solidFill>
            <a:miter lim="800000"/>
            <a:headEnd/>
            <a:tailEnd/>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55" name="Text Box 63"/>
          <p:cNvSpPr txBox="1">
            <a:spLocks noChangeArrowheads="1"/>
          </p:cNvSpPr>
          <p:nvPr/>
        </p:nvSpPr>
        <p:spPr bwMode="gray">
          <a:xfrm>
            <a:off x="6087141" y="3701755"/>
            <a:ext cx="1871146" cy="265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65306" tIns="32653" rIns="65306" bIns="32653">
            <a:spAutoFit/>
          </a:bodyPr>
          <a:lstStyle>
            <a:lvl1pPr defTabSz="1279525" eaLnBrk="0" hangingPunct="0">
              <a:defRPr sz="2500">
                <a:solidFill>
                  <a:schemeClr val="tx1"/>
                </a:solidFill>
                <a:latin typeface="Akzidenz Grotesk CE Roman" pitchFamily="2" charset="0"/>
                <a:cs typeface="Arial" pitchFamily="34" charset="0"/>
              </a:defRPr>
            </a:lvl1pPr>
            <a:lvl2pPr marL="742950" indent="-285750" defTabSz="1279525" eaLnBrk="0" hangingPunct="0">
              <a:defRPr sz="2500">
                <a:solidFill>
                  <a:schemeClr val="tx1"/>
                </a:solidFill>
                <a:latin typeface="Akzidenz Grotesk CE Roman" pitchFamily="2" charset="0"/>
                <a:cs typeface="Arial" pitchFamily="34" charset="0"/>
              </a:defRPr>
            </a:lvl2pPr>
            <a:lvl3pPr marL="1143000" indent="-228600" defTabSz="1279525" eaLnBrk="0" hangingPunct="0">
              <a:defRPr sz="2500">
                <a:solidFill>
                  <a:schemeClr val="tx1"/>
                </a:solidFill>
                <a:latin typeface="Akzidenz Grotesk CE Roman" pitchFamily="2" charset="0"/>
                <a:cs typeface="Arial" pitchFamily="34" charset="0"/>
              </a:defRPr>
            </a:lvl3pPr>
            <a:lvl4pPr marL="1600200" indent="-228600" defTabSz="1279525" eaLnBrk="0" hangingPunct="0">
              <a:defRPr sz="2500">
                <a:solidFill>
                  <a:schemeClr val="tx1"/>
                </a:solidFill>
                <a:latin typeface="Akzidenz Grotesk CE Roman" pitchFamily="2" charset="0"/>
                <a:cs typeface="Arial" pitchFamily="34" charset="0"/>
              </a:defRPr>
            </a:lvl4pPr>
            <a:lvl5pPr marL="2057400" indent="-228600" defTabSz="1279525" eaLnBrk="0" hangingPunct="0">
              <a:defRPr sz="2500">
                <a:solidFill>
                  <a:schemeClr val="tx1"/>
                </a:solidFill>
                <a:latin typeface="Akzidenz Grotesk CE Roman" pitchFamily="2" charset="0"/>
                <a:cs typeface="Arial" pitchFamily="34" charset="0"/>
              </a:defRPr>
            </a:lvl5pPr>
            <a:lvl6pPr marL="25146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algn="l" eaLnBrk="1" hangingPunct="1"/>
            <a:r>
              <a:rPr lang="en-GB" altLang="fr-FR" sz="1300" b="1" dirty="0">
                <a:solidFill>
                  <a:schemeClr val="tx2"/>
                </a:solidFill>
                <a:latin typeface="Arial" pitchFamily="34" charset="0"/>
              </a:rPr>
              <a:t>End to end processes</a:t>
            </a:r>
          </a:p>
        </p:txBody>
      </p:sp>
      <p:pic>
        <p:nvPicPr>
          <p:cNvPr id="56" name="Picture 64"/>
          <p:cNvPicPr>
            <a:picLocks noChangeAspect="1" noChangeArrowheads="1"/>
          </p:cNvPicPr>
          <p:nvPr/>
        </p:nvPicPr>
        <p:blipFill>
          <a:blip r:embed="rId2" cstate="print">
            <a:extLst>
              <a:ext uri="{28A0092B-C50C-407E-A947-70E740481C1C}">
                <a14:useLocalDpi xmlns:a14="http://schemas.microsoft.com/office/drawing/2010/main" val="0"/>
              </a:ext>
            </a:extLst>
          </a:blip>
          <a:srcRect r="53323" b="40495"/>
          <a:stretch>
            <a:fillRect/>
          </a:stretch>
        </p:blipFill>
        <p:spPr bwMode="gray">
          <a:xfrm>
            <a:off x="6138168" y="3963692"/>
            <a:ext cx="1206500" cy="1387929"/>
          </a:xfrm>
          <a:prstGeom prst="rect">
            <a:avLst/>
          </a:prstGeom>
          <a:solidFill>
            <a:schemeClr val="bg1"/>
          </a:solidFill>
          <a:ln>
            <a:noFill/>
          </a:ln>
        </p:spPr>
      </p:pic>
      <p:sp>
        <p:nvSpPr>
          <p:cNvPr id="57" name="Freeform 65"/>
          <p:cNvSpPr>
            <a:spLocks/>
          </p:cNvSpPr>
          <p:nvPr/>
        </p:nvSpPr>
        <p:spPr bwMode="gray">
          <a:xfrm>
            <a:off x="7052114" y="4117907"/>
            <a:ext cx="680357" cy="1095375"/>
          </a:xfrm>
          <a:custGeom>
            <a:avLst/>
            <a:gdLst>
              <a:gd name="T0" fmla="*/ 600 w 600"/>
              <a:gd name="T1" fmla="*/ 0 h 966"/>
              <a:gd name="T2" fmla="*/ 0 w 600"/>
              <a:gd name="T3" fmla="*/ 102 h 966"/>
              <a:gd name="T4" fmla="*/ 0 w 600"/>
              <a:gd name="T5" fmla="*/ 230 h 966"/>
              <a:gd name="T6" fmla="*/ 596 w 600"/>
              <a:gd name="T7" fmla="*/ 966 h 966"/>
              <a:gd name="T8" fmla="*/ 600 w 600"/>
              <a:gd name="T9" fmla="*/ 0 h 966"/>
              <a:gd name="T10" fmla="*/ 0 60000 65536"/>
              <a:gd name="T11" fmla="*/ 0 60000 65536"/>
              <a:gd name="T12" fmla="*/ 0 60000 65536"/>
              <a:gd name="T13" fmla="*/ 0 60000 65536"/>
              <a:gd name="T14" fmla="*/ 0 60000 65536"/>
              <a:gd name="T15" fmla="*/ 0 w 600"/>
              <a:gd name="T16" fmla="*/ 0 h 966"/>
              <a:gd name="T17" fmla="*/ 600 w 600"/>
              <a:gd name="T18" fmla="*/ 966 h 966"/>
            </a:gdLst>
            <a:ahLst/>
            <a:cxnLst>
              <a:cxn ang="T10">
                <a:pos x="T0" y="T1"/>
              </a:cxn>
              <a:cxn ang="T11">
                <a:pos x="T2" y="T3"/>
              </a:cxn>
              <a:cxn ang="T12">
                <a:pos x="T4" y="T5"/>
              </a:cxn>
              <a:cxn ang="T13">
                <a:pos x="T6" y="T7"/>
              </a:cxn>
              <a:cxn ang="T14">
                <a:pos x="T8" y="T9"/>
              </a:cxn>
            </a:cxnLst>
            <a:rect l="T15" t="T16" r="T17" b="T18"/>
            <a:pathLst>
              <a:path w="600" h="966">
                <a:moveTo>
                  <a:pt x="600" y="0"/>
                </a:moveTo>
                <a:lnTo>
                  <a:pt x="0" y="102"/>
                </a:lnTo>
                <a:lnTo>
                  <a:pt x="0" y="230"/>
                </a:lnTo>
                <a:lnTo>
                  <a:pt x="596" y="966"/>
                </a:lnTo>
                <a:lnTo>
                  <a:pt x="600" y="0"/>
                </a:lnTo>
                <a:close/>
              </a:path>
            </a:pathLst>
          </a:custGeom>
          <a:solidFill>
            <a:schemeClr val="bg1">
              <a:lumMod val="85000"/>
            </a:schemeClr>
          </a:solidFill>
          <a:ln>
            <a:noFill/>
          </a:ln>
        </p:spPr>
        <p:txBody>
          <a:bodyPr wrap="none" lIns="65306" tIns="32653" rIns="65306" bIns="32653" anchor="ctr"/>
          <a:lstStyle>
            <a:lvl1pPr eaLnBrk="0" hangingPunct="0">
              <a:defRPr sz="2500">
                <a:solidFill>
                  <a:schemeClr val="tx1"/>
                </a:solidFill>
                <a:latin typeface="Akzidenz Grotesk CE Roman" pitchFamily="2" charset="0"/>
                <a:cs typeface="Arial" pitchFamily="34" charset="0"/>
              </a:defRPr>
            </a:lvl1pPr>
            <a:lvl2pPr marL="742950" indent="-285750" eaLnBrk="0" hangingPunct="0">
              <a:defRPr sz="2500">
                <a:solidFill>
                  <a:schemeClr val="tx1"/>
                </a:solidFill>
                <a:latin typeface="Akzidenz Grotesk CE Roman" pitchFamily="2" charset="0"/>
                <a:cs typeface="Arial" pitchFamily="34" charset="0"/>
              </a:defRPr>
            </a:lvl2pPr>
            <a:lvl3pPr marL="1143000" indent="-228600" eaLnBrk="0" hangingPunct="0">
              <a:defRPr sz="2500">
                <a:solidFill>
                  <a:schemeClr val="tx1"/>
                </a:solidFill>
                <a:latin typeface="Akzidenz Grotesk CE Roman" pitchFamily="2" charset="0"/>
                <a:cs typeface="Arial" pitchFamily="34" charset="0"/>
              </a:defRPr>
            </a:lvl3pPr>
            <a:lvl4pPr marL="1600200" indent="-228600" eaLnBrk="0" hangingPunct="0">
              <a:defRPr sz="2500">
                <a:solidFill>
                  <a:schemeClr val="tx1"/>
                </a:solidFill>
                <a:latin typeface="Akzidenz Grotesk CE Roman" pitchFamily="2" charset="0"/>
                <a:cs typeface="Arial" pitchFamily="34" charset="0"/>
              </a:defRPr>
            </a:lvl4pPr>
            <a:lvl5pPr marL="2057400" indent="-228600" eaLnBrk="0" hangingPunct="0">
              <a:defRPr sz="2500">
                <a:solidFill>
                  <a:schemeClr val="tx1"/>
                </a:solidFill>
                <a:latin typeface="Akzidenz Grotesk CE Roman" pitchFamily="2" charset="0"/>
                <a:cs typeface="Arial" pitchFamily="34" charset="0"/>
              </a:defRPr>
            </a:lvl5pPr>
            <a:lvl6pPr marL="25146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endParaRPr lang="fr-FR" altLang="fr-FR"/>
          </a:p>
        </p:txBody>
      </p:sp>
      <p:sp>
        <p:nvSpPr>
          <p:cNvPr id="58" name="AutoShape 66"/>
          <p:cNvSpPr>
            <a:spLocks noChangeArrowheads="1"/>
          </p:cNvSpPr>
          <p:nvPr/>
        </p:nvSpPr>
        <p:spPr bwMode="gray">
          <a:xfrm flipV="1">
            <a:off x="7732471" y="4117907"/>
            <a:ext cx="862920" cy="1101045"/>
          </a:xfrm>
          <a:prstGeom prst="foldedCorner">
            <a:avLst>
              <a:gd name="adj" fmla="val 12500"/>
            </a:avLst>
          </a:prstGeom>
          <a:solidFill>
            <a:schemeClr val="bg1"/>
          </a:solidFill>
          <a:ln w="9525">
            <a:solidFill>
              <a:schemeClr val="tx1"/>
            </a:solidFill>
            <a:round/>
            <a:headEnd/>
            <a:tailEnd/>
          </a:ln>
        </p:spPr>
        <p:txBody>
          <a:bodyPr rot="10800000" wrap="none" lIns="65306" tIns="32653" rIns="65306" bIns="32653"/>
          <a:lstStyle>
            <a:lvl1pPr defTabSz="1279525" eaLnBrk="0" hangingPunct="0">
              <a:defRPr sz="2500">
                <a:solidFill>
                  <a:schemeClr val="tx1"/>
                </a:solidFill>
                <a:latin typeface="Akzidenz Grotesk CE Roman" pitchFamily="2" charset="0"/>
                <a:cs typeface="Arial" pitchFamily="34" charset="0"/>
              </a:defRPr>
            </a:lvl1pPr>
            <a:lvl2pPr marL="742950" indent="-285750" defTabSz="1279525" eaLnBrk="0" hangingPunct="0">
              <a:defRPr sz="2500">
                <a:solidFill>
                  <a:schemeClr val="tx1"/>
                </a:solidFill>
                <a:latin typeface="Akzidenz Grotesk CE Roman" pitchFamily="2" charset="0"/>
                <a:cs typeface="Arial" pitchFamily="34" charset="0"/>
              </a:defRPr>
            </a:lvl2pPr>
            <a:lvl3pPr marL="1143000" indent="-228600" defTabSz="1279525" eaLnBrk="0" hangingPunct="0">
              <a:defRPr sz="2500">
                <a:solidFill>
                  <a:schemeClr val="tx1"/>
                </a:solidFill>
                <a:latin typeface="Akzidenz Grotesk CE Roman" pitchFamily="2" charset="0"/>
                <a:cs typeface="Arial" pitchFamily="34" charset="0"/>
              </a:defRPr>
            </a:lvl3pPr>
            <a:lvl4pPr marL="1600200" indent="-228600" defTabSz="1279525" eaLnBrk="0" hangingPunct="0">
              <a:defRPr sz="2500">
                <a:solidFill>
                  <a:schemeClr val="tx1"/>
                </a:solidFill>
                <a:latin typeface="Akzidenz Grotesk CE Roman" pitchFamily="2" charset="0"/>
                <a:cs typeface="Arial" pitchFamily="34" charset="0"/>
              </a:defRPr>
            </a:lvl4pPr>
            <a:lvl5pPr marL="2057400" indent="-228600" defTabSz="1279525" eaLnBrk="0" hangingPunct="0">
              <a:defRPr sz="2500">
                <a:solidFill>
                  <a:schemeClr val="tx1"/>
                </a:solidFill>
                <a:latin typeface="Akzidenz Grotesk CE Roman" pitchFamily="2" charset="0"/>
                <a:cs typeface="Arial" pitchFamily="34" charset="0"/>
              </a:defRPr>
            </a:lvl5pPr>
            <a:lvl6pPr marL="25146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6pPr>
            <a:lvl7pPr marL="29718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7pPr>
            <a:lvl8pPr marL="34290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8pPr>
            <a:lvl9pPr marL="3886200" indent="-228600" algn="ctr" defTabSz="1279525" eaLnBrk="0" fontAlgn="base" hangingPunct="0">
              <a:spcBef>
                <a:spcPct val="0"/>
              </a:spcBef>
              <a:spcAft>
                <a:spcPct val="0"/>
              </a:spcAft>
              <a:buClr>
                <a:schemeClr val="tx2"/>
              </a:buClr>
              <a:buSzPct val="120000"/>
              <a:buFont typeface="Wingdings" pitchFamily="2" charset="2"/>
              <a:defRPr sz="2500">
                <a:solidFill>
                  <a:schemeClr val="tx1"/>
                </a:solidFill>
                <a:latin typeface="Akzidenz Grotesk CE Roman" pitchFamily="2" charset="0"/>
                <a:cs typeface="Arial" pitchFamily="34" charset="0"/>
              </a:defRPr>
            </a:lvl9pPr>
          </a:lstStyle>
          <a:p>
            <a:pPr eaLnBrk="1" hangingPunct="1"/>
            <a:r>
              <a:rPr lang="en-GB" altLang="fr-FR" sz="1200" b="1" dirty="0">
                <a:solidFill>
                  <a:schemeClr val="tx2"/>
                </a:solidFill>
                <a:latin typeface="+mj-lt"/>
              </a:rPr>
              <a:t>Standard </a:t>
            </a:r>
          </a:p>
          <a:p>
            <a:pPr eaLnBrk="1" hangingPunct="1"/>
            <a:r>
              <a:rPr lang="en-GB" altLang="fr-FR" sz="1200" b="1" dirty="0" smtClean="0">
                <a:solidFill>
                  <a:schemeClr val="tx2"/>
                </a:solidFill>
                <a:latin typeface="+mj-lt"/>
              </a:rPr>
              <a:t>Operating</a:t>
            </a:r>
          </a:p>
          <a:p>
            <a:pPr eaLnBrk="1" hangingPunct="1"/>
            <a:r>
              <a:rPr lang="en-GB" altLang="fr-FR" sz="1200" b="1" dirty="0" smtClean="0">
                <a:solidFill>
                  <a:schemeClr val="tx2"/>
                </a:solidFill>
                <a:latin typeface="+mj-lt"/>
              </a:rPr>
              <a:t>Procedure</a:t>
            </a:r>
            <a:endParaRPr lang="en-GB" altLang="fr-FR" sz="1200" b="1" dirty="0">
              <a:solidFill>
                <a:schemeClr val="tx2"/>
              </a:solidFill>
              <a:latin typeface="+mj-lt"/>
            </a:endParaRPr>
          </a:p>
        </p:txBody>
      </p:sp>
      <p:sp>
        <p:nvSpPr>
          <p:cNvPr id="59"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Pre requisites for Standard Work</a:t>
            </a:r>
            <a:endParaRPr lang="en-GB" sz="1800" dirty="0" smtClean="0"/>
          </a:p>
        </p:txBody>
      </p:sp>
    </p:spTree>
    <p:extLst>
      <p:ext uri="{BB962C8B-B14F-4D97-AF65-F5344CB8AC3E}">
        <p14:creationId xmlns:p14="http://schemas.microsoft.com/office/powerpoint/2010/main" val="201765101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Standard Work</a:t>
            </a:r>
            <a:endParaRPr lang="en-GB" sz="1800" dirty="0" smtClean="0"/>
          </a:p>
        </p:txBody>
      </p:sp>
      <p:sp>
        <p:nvSpPr>
          <p:cNvPr id="7" name="Rectangle 7"/>
          <p:cNvSpPr>
            <a:spLocks noGrp="1" noChangeArrowheads="1"/>
          </p:cNvSpPr>
          <p:nvPr>
            <p:ph type="body" sz="half" idx="1"/>
          </p:nvPr>
        </p:nvSpPr>
        <p:spPr>
          <a:xfrm>
            <a:off x="358775" y="1276077"/>
            <a:ext cx="4764088" cy="5008562"/>
          </a:xfrm>
        </p:spPr>
        <p:txBody>
          <a:bodyPr/>
          <a:lstStyle/>
          <a:p>
            <a:pPr marL="273050" indent="-273050">
              <a:buFont typeface="Wingdings" panose="05000000000000000000" pitchFamily="2" charset="2"/>
              <a:buChar char="§"/>
            </a:pPr>
            <a:r>
              <a:rPr lang="en-US" altLang="fr-FR" sz="1600" dirty="0" smtClean="0"/>
              <a:t>Standard </a:t>
            </a:r>
            <a:r>
              <a:rPr lang="en-US" altLang="fr-FR" sz="1600" dirty="0"/>
              <a:t>Work means that </a:t>
            </a:r>
            <a:r>
              <a:rPr lang="en-US" altLang="fr-FR" sz="1600" b="1" dirty="0"/>
              <a:t>everyone</a:t>
            </a:r>
            <a:r>
              <a:rPr lang="en-US" altLang="fr-FR" sz="1600" dirty="0"/>
              <a:t> performs their work in the same way, and that is currently the </a:t>
            </a:r>
            <a:r>
              <a:rPr lang="en-US" altLang="fr-FR" sz="1600" b="1" dirty="0"/>
              <a:t>best way we know how to do </a:t>
            </a:r>
            <a:r>
              <a:rPr lang="en-US" altLang="fr-FR" sz="1600" b="1" dirty="0" smtClean="0"/>
              <a:t>it </a:t>
            </a:r>
          </a:p>
          <a:p>
            <a:pPr marL="273050" indent="-273050">
              <a:buFont typeface="Wingdings" panose="05000000000000000000" pitchFamily="2" charset="2"/>
              <a:buChar char="§"/>
            </a:pPr>
            <a:r>
              <a:rPr lang="en-US" altLang="fr-FR" sz="1600" dirty="0" smtClean="0"/>
              <a:t>Standard </a:t>
            </a:r>
            <a:r>
              <a:rPr lang="en-US" altLang="fr-FR" sz="1600" dirty="0"/>
              <a:t>Work is the </a:t>
            </a:r>
            <a:r>
              <a:rPr lang="en-US" altLang="fr-FR" sz="1600" dirty="0" smtClean="0"/>
              <a:t>foundation of </a:t>
            </a:r>
            <a:r>
              <a:rPr lang="en-US" altLang="fr-FR" sz="1600" dirty="0"/>
              <a:t>Lean and is the essential base for continuous improvement</a:t>
            </a:r>
            <a:endParaRPr lang="en-US" sz="1600" dirty="0"/>
          </a:p>
          <a:p>
            <a:pPr marL="273050" indent="-273050">
              <a:buFont typeface="Wingdings" panose="05000000000000000000" pitchFamily="2" charset="2"/>
              <a:buChar char="§"/>
            </a:pPr>
            <a:r>
              <a:rPr lang="en-US" sz="1600" dirty="0"/>
              <a:t> Standard Work is a method of defining, </a:t>
            </a:r>
            <a:r>
              <a:rPr lang="en-US" sz="1600" dirty="0" smtClean="0"/>
              <a:t>organizing </a:t>
            </a:r>
            <a:r>
              <a:rPr lang="en-US" sz="1600" dirty="0"/>
              <a:t>and agreeing the activity in a process so as to ensure</a:t>
            </a:r>
            <a:r>
              <a:rPr lang="en-US" sz="1600" dirty="0" smtClean="0"/>
              <a:t>:</a:t>
            </a:r>
          </a:p>
          <a:p>
            <a:pPr marL="627063" indent="-163513">
              <a:buFont typeface="+mj-lt"/>
              <a:buAutoNum type="arabicPeriod"/>
            </a:pPr>
            <a:r>
              <a:rPr lang="en-US" sz="1600" dirty="0" smtClean="0"/>
              <a:t>The </a:t>
            </a:r>
            <a:r>
              <a:rPr lang="en-US" sz="1600" b="1" dirty="0"/>
              <a:t>most effective &amp; efficient use </a:t>
            </a:r>
            <a:r>
              <a:rPr lang="en-US" sz="1600" dirty="0"/>
              <a:t>of resources, people, </a:t>
            </a:r>
            <a:r>
              <a:rPr lang="en-US" sz="1600" dirty="0" smtClean="0"/>
              <a:t>tools and equipment</a:t>
            </a:r>
          </a:p>
          <a:p>
            <a:pPr marL="627063" indent="-163513">
              <a:buFont typeface="+mj-lt"/>
              <a:buAutoNum type="arabicPeriod"/>
            </a:pPr>
            <a:r>
              <a:rPr lang="en-US" sz="1600" dirty="0" smtClean="0"/>
              <a:t>That </a:t>
            </a:r>
            <a:r>
              <a:rPr lang="en-US" sz="1600" dirty="0"/>
              <a:t>the customer receives a </a:t>
            </a:r>
            <a:r>
              <a:rPr lang="en-US" sz="1600" b="1" dirty="0"/>
              <a:t>consistently high level of quality</a:t>
            </a:r>
            <a:r>
              <a:rPr lang="en-US" sz="1600" dirty="0"/>
              <a:t> in every product or </a:t>
            </a:r>
            <a:r>
              <a:rPr lang="en-US" sz="1600" dirty="0" smtClean="0"/>
              <a:t>service</a:t>
            </a:r>
          </a:p>
          <a:p>
            <a:pPr marL="273050" indent="-273050">
              <a:buFont typeface="Wingdings" panose="05000000000000000000" pitchFamily="2" charset="2"/>
              <a:buChar char="§"/>
            </a:pPr>
            <a:r>
              <a:rPr lang="en-US" sz="1600" dirty="0"/>
              <a:t>It requires the engagement of people at every level, with everyone focusing on the needs of the customer.</a:t>
            </a:r>
          </a:p>
          <a:p>
            <a:pPr marL="285750" indent="-285750">
              <a:buFont typeface="Wingdings" panose="05000000000000000000" pitchFamily="2" charset="2"/>
              <a:buChar char="§"/>
            </a:pPr>
            <a:endParaRPr lang="en-GB" altLang="fr-FR" sz="1400" dirty="0" smtClean="0"/>
          </a:p>
          <a:p>
            <a:pPr marL="185738" indent="-185738">
              <a:buFontTx/>
              <a:buChar char="•"/>
            </a:pPr>
            <a:endParaRPr lang="en-GB" altLang="fr-FR" sz="1600" dirty="0"/>
          </a:p>
        </p:txBody>
      </p:sp>
      <p:sp>
        <p:nvSpPr>
          <p:cNvPr id="9" name="Slide Number Placeholder 4"/>
          <p:cNvSpPr>
            <a:spLocks noGrp="1"/>
          </p:cNvSpPr>
          <p:nvPr>
            <p:ph type="sldNum" sz="quarter" idx="10"/>
          </p:nvPr>
        </p:nvSpPr>
        <p:spPr>
          <a:prstGeom prst="rect">
            <a:avLst/>
          </a:prstGeom>
          <a:noFill/>
        </p:spPr>
        <p:txBody>
          <a:bodyPr/>
          <a:lstStyle/>
          <a:p>
            <a:fld id="{D7BA8602-1D36-42F3-9ADD-DC3FBBDDCECF}" type="slidenum">
              <a:rPr lang="en-GB" altLang="en-GB" sz="800"/>
              <a:pPr/>
              <a:t>56</a:t>
            </a:fld>
            <a:endParaRPr lang="en-GB" altLang="en-GB" sz="800"/>
          </a:p>
        </p:txBody>
      </p:sp>
      <p:sp>
        <p:nvSpPr>
          <p:cNvPr id="6" name="Rectangle 5"/>
          <p:cNvSpPr/>
          <p:nvPr/>
        </p:nvSpPr>
        <p:spPr>
          <a:xfrm>
            <a:off x="5149850" y="850900"/>
            <a:ext cx="407988" cy="1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10" name="Rectangle 4"/>
          <p:cNvSpPr>
            <a:spLocks noChangeArrowheads="1"/>
          </p:cNvSpPr>
          <p:nvPr/>
        </p:nvSpPr>
        <p:spPr bwMode="auto">
          <a:xfrm>
            <a:off x="361950" y="5935242"/>
            <a:ext cx="8455025" cy="369322"/>
          </a:xfrm>
          <a:prstGeom prst="rect">
            <a:avLst/>
          </a:prstGeom>
          <a:solidFill>
            <a:schemeClr val="accent3"/>
          </a:solidFill>
          <a:ln w="28575" algn="ctr">
            <a:noFill/>
            <a:miter lim="800000"/>
            <a:headEnd/>
            <a:tailEnd/>
          </a:ln>
        </p:spPr>
        <p:txBody>
          <a:bodyPr wrap="square" lIns="91429" tIns="45715" rIns="91429" bIns="45715">
            <a:spAutoFit/>
          </a:bodyPr>
          <a:lstStyle/>
          <a:p>
            <a:pPr algn="ctr" eaLnBrk="0" hangingPunct="0">
              <a:buClr>
                <a:srgbClr val="009900"/>
              </a:buClr>
              <a:buFont typeface="Monotype Sorts" pitchFamily="2" charset="2"/>
              <a:buNone/>
            </a:pPr>
            <a:r>
              <a:rPr lang="en-US" dirty="0">
                <a:solidFill>
                  <a:schemeClr val="bg1"/>
                </a:solidFill>
              </a:rPr>
              <a:t>“Without Standard Work there can be no Continuous </a:t>
            </a:r>
            <a:r>
              <a:rPr lang="en-US" dirty="0" smtClean="0">
                <a:solidFill>
                  <a:schemeClr val="bg1"/>
                </a:solidFill>
              </a:rPr>
              <a:t>Improvement”</a:t>
            </a:r>
            <a:endParaRPr lang="en-US" dirty="0">
              <a:solidFill>
                <a:schemeClr val="bg1"/>
              </a:solidFill>
            </a:endParaRPr>
          </a:p>
        </p:txBody>
      </p:sp>
      <p:sp>
        <p:nvSpPr>
          <p:cNvPr id="4" name="Oval 3"/>
          <p:cNvSpPr/>
          <p:nvPr/>
        </p:nvSpPr>
        <p:spPr bwMode="auto">
          <a:xfrm>
            <a:off x="5964074" y="2197289"/>
            <a:ext cx="1323833" cy="1323833"/>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 name="Isosceles Triangle 4"/>
          <p:cNvSpPr/>
          <p:nvPr/>
        </p:nvSpPr>
        <p:spPr bwMode="auto">
          <a:xfrm rot="19935167">
            <a:off x="5776240" y="3323230"/>
            <a:ext cx="869535" cy="504967"/>
          </a:xfrm>
          <a:prstGeom prst="triangle">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cxnSp>
        <p:nvCxnSpPr>
          <p:cNvPr id="3" name="Straight Connector 2"/>
          <p:cNvCxnSpPr/>
          <p:nvPr/>
        </p:nvCxnSpPr>
        <p:spPr bwMode="auto">
          <a:xfrm flipV="1">
            <a:off x="5508104" y="2661313"/>
            <a:ext cx="2885269" cy="1559775"/>
          </a:xfrm>
          <a:prstGeom prst="line">
            <a:avLst/>
          </a:prstGeom>
          <a:solidFill>
            <a:schemeClr val="accent1"/>
          </a:solidFill>
          <a:ln w="57150" cap="flat" cmpd="sng" algn="ctr">
            <a:solidFill>
              <a:schemeClr val="accent1"/>
            </a:solidFill>
            <a:prstDash val="solid"/>
            <a:round/>
            <a:headEnd type="none" w="med" len="med"/>
            <a:tailEnd type="none" w="med" len="med"/>
          </a:ln>
          <a:effectLst/>
        </p:spPr>
      </p:cxnSp>
      <p:sp>
        <p:nvSpPr>
          <p:cNvPr id="13" name="Right Arrow 12"/>
          <p:cNvSpPr/>
          <p:nvPr/>
        </p:nvSpPr>
        <p:spPr bwMode="auto">
          <a:xfrm rot="20034931">
            <a:off x="7231486" y="1965277"/>
            <a:ext cx="978717" cy="464024"/>
          </a:xfrm>
          <a:prstGeom prst="rightArrow">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14" name="Circular Arrow 13"/>
          <p:cNvSpPr/>
          <p:nvPr/>
        </p:nvSpPr>
        <p:spPr bwMode="auto">
          <a:xfrm rot="16644714">
            <a:off x="6074527" y="2251879"/>
            <a:ext cx="1108881" cy="1108881"/>
          </a:xfrm>
          <a:prstGeom prst="circularArrow">
            <a:avLst>
              <a:gd name="adj1" fmla="val 12500"/>
              <a:gd name="adj2" fmla="val 1142319"/>
              <a:gd name="adj3" fmla="val 20457681"/>
              <a:gd name="adj4" fmla="val 13684973"/>
              <a:gd name="adj5" fmla="val 12500"/>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17" name="Rounded Rectangular Callout 16"/>
          <p:cNvSpPr/>
          <p:nvPr/>
        </p:nvSpPr>
        <p:spPr bwMode="auto">
          <a:xfrm>
            <a:off x="6211006" y="4544704"/>
            <a:ext cx="2373435" cy="887105"/>
          </a:xfrm>
          <a:prstGeom prst="wedgeRoundRectCallout">
            <a:avLst>
              <a:gd name="adj1" fmla="val -45994"/>
              <a:gd name="adj2" fmla="val -133667"/>
              <a:gd name="adj3" fmla="val 16667"/>
            </a:avLst>
          </a:prstGeom>
          <a:solidFill>
            <a:schemeClr val="bg1">
              <a:lumMod val="75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rPr>
              <a:t>Without</a:t>
            </a:r>
            <a:r>
              <a:rPr kumimoji="0" lang="en-US" sz="1400" b="0" i="0" u="none" strike="noStrike" cap="none" normalizeH="0" dirty="0" smtClean="0">
                <a:ln>
                  <a:noFill/>
                </a:ln>
                <a:solidFill>
                  <a:schemeClr val="tx1"/>
                </a:solidFill>
                <a:effectLst/>
                <a:latin typeface="Arial" charset="0"/>
              </a:rPr>
              <a:t> </a:t>
            </a:r>
            <a:r>
              <a:rPr kumimoji="0" lang="en-US" sz="1400" i="0" u="none" strike="noStrike" cap="none" normalizeH="0" dirty="0" smtClean="0">
                <a:ln>
                  <a:noFill/>
                </a:ln>
                <a:solidFill>
                  <a:schemeClr val="tx1"/>
                </a:solidFill>
                <a:effectLst/>
                <a:latin typeface="Arial" charset="0"/>
              </a:rPr>
              <a:t>standardization</a:t>
            </a:r>
            <a:r>
              <a:rPr kumimoji="0" lang="en-US" sz="1400" b="0" i="0" u="none" strike="noStrike" cap="none" normalizeH="0" dirty="0" smtClean="0">
                <a:ln>
                  <a:noFill/>
                </a:ln>
                <a:solidFill>
                  <a:schemeClr val="tx1"/>
                </a:solidFill>
                <a:effectLst/>
                <a:latin typeface="Arial" charset="0"/>
              </a:rPr>
              <a:t>, all improvements will roll back in time</a:t>
            </a:r>
            <a:endParaRPr kumimoji="0" lang="en-US" sz="1400" b="0" i="0" u="none" strike="noStrike" cap="none" normalizeH="0" baseline="0" dirty="0" smtClean="0">
              <a:ln>
                <a:noFill/>
              </a:ln>
              <a:solidFill>
                <a:schemeClr val="tx1"/>
              </a:solidFill>
              <a:effectLst/>
              <a:latin typeface="Arial" charset="0"/>
            </a:endParaRPr>
          </a:p>
        </p:txBody>
      </p:sp>
      <p:sp>
        <p:nvSpPr>
          <p:cNvPr id="18" name="Rectangle 17"/>
          <p:cNvSpPr/>
          <p:nvPr/>
        </p:nvSpPr>
        <p:spPr bwMode="auto">
          <a:xfrm>
            <a:off x="6007636" y="1505357"/>
            <a:ext cx="2385738" cy="272955"/>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chemeClr val="tx2"/>
                </a:solidFill>
                <a:effectLst/>
                <a:latin typeface="Arial" charset="0"/>
              </a:rPr>
              <a:t>Continuous improvements</a:t>
            </a:r>
          </a:p>
        </p:txBody>
      </p:sp>
    </p:spTree>
    <p:extLst>
      <p:ext uri="{BB962C8B-B14F-4D97-AF65-F5344CB8AC3E}">
        <p14:creationId xmlns:p14="http://schemas.microsoft.com/office/powerpoint/2010/main" val="2277069538"/>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Standard Work – Practical use</a:t>
            </a:r>
            <a:endParaRPr lang="en-GB" sz="1800" dirty="0" smtClean="0"/>
          </a:p>
        </p:txBody>
      </p:sp>
      <p:sp>
        <p:nvSpPr>
          <p:cNvPr id="9" name="Slide Number Placeholder 4"/>
          <p:cNvSpPr>
            <a:spLocks noGrp="1"/>
          </p:cNvSpPr>
          <p:nvPr>
            <p:ph type="sldNum" sz="quarter" idx="10"/>
          </p:nvPr>
        </p:nvSpPr>
        <p:spPr>
          <a:prstGeom prst="rect">
            <a:avLst/>
          </a:prstGeom>
          <a:noFill/>
        </p:spPr>
        <p:txBody>
          <a:bodyPr/>
          <a:lstStyle/>
          <a:p>
            <a:fld id="{D7BA8602-1D36-42F3-9ADD-DC3FBBDDCECF}" type="slidenum">
              <a:rPr lang="en-GB" altLang="en-GB" sz="800"/>
              <a:pPr/>
              <a:t>57</a:t>
            </a:fld>
            <a:endParaRPr lang="en-GB" altLang="en-GB" sz="800"/>
          </a:p>
        </p:txBody>
      </p:sp>
      <p:sp>
        <p:nvSpPr>
          <p:cNvPr id="6" name="Rectangle 5"/>
          <p:cNvSpPr/>
          <p:nvPr/>
        </p:nvSpPr>
        <p:spPr>
          <a:xfrm>
            <a:off x="5149850" y="850900"/>
            <a:ext cx="407988" cy="1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sp>
        <p:nvSpPr>
          <p:cNvPr id="7" name="Rectangle 3"/>
          <p:cNvSpPr>
            <a:spLocks noChangeArrowheads="1"/>
          </p:cNvSpPr>
          <p:nvPr/>
        </p:nvSpPr>
        <p:spPr bwMode="auto">
          <a:xfrm>
            <a:off x="361950" y="1287463"/>
            <a:ext cx="8455025" cy="5259387"/>
          </a:xfrm>
          <a:prstGeom prst="rect">
            <a:avLst/>
          </a:prstGeom>
          <a:noFill/>
          <a:ln w="9525">
            <a:noFill/>
            <a:miter lim="800000"/>
            <a:headEnd/>
            <a:tailEnd/>
          </a:ln>
        </p:spPr>
        <p:txBody>
          <a:bodyPr lIns="0" tIns="0" rIns="0" bIns="0"/>
          <a:lstStyle/>
          <a:p>
            <a:pPr>
              <a:spcBef>
                <a:spcPts val="600"/>
              </a:spcBef>
            </a:pPr>
            <a:r>
              <a:rPr lang="en-GB" dirty="0">
                <a:solidFill>
                  <a:schemeClr val="accent1"/>
                </a:solidFill>
                <a:latin typeface="+mj-lt"/>
              </a:rPr>
              <a:t>Steps to develop an SOP:</a:t>
            </a:r>
          </a:p>
          <a:p>
            <a:pPr marL="285750" indent="-285750">
              <a:spcBef>
                <a:spcPts val="600"/>
              </a:spcBef>
              <a:buFont typeface="Wingdings" panose="05000000000000000000" pitchFamily="2" charset="2"/>
              <a:buChar char="§"/>
            </a:pPr>
            <a:endParaRPr lang="en-GB" sz="1600" b="0" dirty="0" smtClean="0">
              <a:solidFill>
                <a:schemeClr val="accent1"/>
              </a:solidFill>
              <a:latin typeface="+mj-lt"/>
            </a:endParaRPr>
          </a:p>
          <a:p>
            <a:pPr marL="285750" indent="-285750">
              <a:spcBef>
                <a:spcPts val="600"/>
              </a:spcBef>
              <a:buFont typeface="Wingdings" panose="05000000000000000000" pitchFamily="2" charset="2"/>
              <a:buChar char="§"/>
            </a:pPr>
            <a:endParaRPr lang="en-GB" sz="1600" b="0" dirty="0">
              <a:solidFill>
                <a:schemeClr val="accent1"/>
              </a:solidFill>
              <a:latin typeface="+mj-lt"/>
            </a:endParaRPr>
          </a:p>
          <a:p>
            <a:pPr marL="285750" indent="-285750">
              <a:spcBef>
                <a:spcPts val="600"/>
              </a:spcBef>
              <a:buFont typeface="Wingdings" panose="05000000000000000000" pitchFamily="2" charset="2"/>
              <a:buChar char="§"/>
            </a:pPr>
            <a:endParaRPr lang="en-GB" sz="1600" b="0" dirty="0">
              <a:solidFill>
                <a:schemeClr val="accent1"/>
              </a:solidFill>
              <a:latin typeface="+mj-lt"/>
            </a:endParaRPr>
          </a:p>
          <a:p>
            <a:pPr marL="285750" indent="-285750">
              <a:spcBef>
                <a:spcPts val="600"/>
              </a:spcBef>
              <a:buFont typeface="Wingdings" panose="05000000000000000000" pitchFamily="2" charset="2"/>
              <a:buChar char="§"/>
            </a:pPr>
            <a:r>
              <a:rPr lang="en-GB" sz="1600" dirty="0" smtClean="0">
                <a:solidFill>
                  <a:schemeClr val="accent1"/>
                </a:solidFill>
                <a:latin typeface="+mj-lt"/>
              </a:rPr>
              <a:t>Brainstorm</a:t>
            </a:r>
            <a:r>
              <a:rPr lang="en-GB" sz="1600" b="0" dirty="0" smtClean="0">
                <a:solidFill>
                  <a:schemeClr val="accent1"/>
                </a:solidFill>
                <a:latin typeface="+mj-lt"/>
              </a:rPr>
              <a:t> </a:t>
            </a:r>
            <a:r>
              <a:rPr lang="en-GB" sz="1600" b="0" dirty="0">
                <a:solidFill>
                  <a:schemeClr val="accent1"/>
                </a:solidFill>
                <a:latin typeface="+mj-lt"/>
              </a:rPr>
              <a:t>with the team to identify all the steps required to carry out a task or activity. Include individuals outside the team who are expected to carry out the task after the project is completed; this helps with buy-in </a:t>
            </a:r>
            <a:r>
              <a:rPr lang="en-GB" sz="1600" b="0" dirty="0" smtClean="0">
                <a:solidFill>
                  <a:schemeClr val="accent1"/>
                </a:solidFill>
                <a:latin typeface="+mj-lt"/>
              </a:rPr>
              <a:t>later</a:t>
            </a:r>
            <a:endParaRPr lang="en-GB" sz="1600" b="0" dirty="0">
              <a:solidFill>
                <a:schemeClr val="accent1"/>
              </a:solidFill>
              <a:latin typeface="+mj-lt"/>
            </a:endParaRPr>
          </a:p>
          <a:p>
            <a:pPr marL="285750" indent="-285750">
              <a:spcBef>
                <a:spcPts val="600"/>
              </a:spcBef>
              <a:buFont typeface="Wingdings" panose="05000000000000000000" pitchFamily="2" charset="2"/>
              <a:buChar char="§"/>
            </a:pPr>
            <a:r>
              <a:rPr lang="en-GB" sz="1600" dirty="0">
                <a:solidFill>
                  <a:schemeClr val="accent1"/>
                </a:solidFill>
                <a:latin typeface="+mj-lt"/>
              </a:rPr>
              <a:t>Organize</a:t>
            </a:r>
            <a:r>
              <a:rPr lang="en-GB" sz="1600" b="0" dirty="0">
                <a:solidFill>
                  <a:schemeClr val="accent1"/>
                </a:solidFill>
                <a:latin typeface="+mj-lt"/>
              </a:rPr>
              <a:t> activities into the proper time sequence and confirm with the </a:t>
            </a:r>
            <a:r>
              <a:rPr lang="en-GB" sz="1600" b="0" dirty="0" smtClean="0">
                <a:solidFill>
                  <a:schemeClr val="accent1"/>
                </a:solidFill>
                <a:latin typeface="+mj-lt"/>
              </a:rPr>
              <a:t>team</a:t>
            </a:r>
            <a:endParaRPr lang="en-GB" sz="1600" b="0" dirty="0">
              <a:solidFill>
                <a:schemeClr val="accent1"/>
              </a:solidFill>
              <a:latin typeface="+mj-lt"/>
            </a:endParaRPr>
          </a:p>
          <a:p>
            <a:pPr marL="285750" indent="-285750">
              <a:spcBef>
                <a:spcPts val="600"/>
              </a:spcBef>
              <a:buFont typeface="Wingdings" panose="05000000000000000000" pitchFamily="2" charset="2"/>
              <a:buChar char="§"/>
            </a:pPr>
            <a:r>
              <a:rPr lang="en-GB" sz="1600" dirty="0">
                <a:solidFill>
                  <a:schemeClr val="accent1"/>
                </a:solidFill>
                <a:latin typeface="+mj-lt"/>
              </a:rPr>
              <a:t>Write the SOP</a:t>
            </a:r>
            <a:r>
              <a:rPr lang="en-GB" sz="1600" b="0" dirty="0">
                <a:solidFill>
                  <a:schemeClr val="accent1"/>
                </a:solidFill>
                <a:latin typeface="+mj-lt"/>
              </a:rPr>
              <a:t> to include additional requirements that need to be explained to ensure a uniform output every time</a:t>
            </a:r>
            <a:r>
              <a:rPr lang="en-GB" sz="1600" b="0" dirty="0" smtClean="0">
                <a:solidFill>
                  <a:schemeClr val="accent1"/>
                </a:solidFill>
                <a:latin typeface="+mj-lt"/>
              </a:rPr>
              <a:t>. (e.g. Key points to be aware of)</a:t>
            </a:r>
            <a:endParaRPr lang="en-GB" sz="1600" b="0" dirty="0">
              <a:solidFill>
                <a:schemeClr val="accent1"/>
              </a:solidFill>
              <a:latin typeface="+mj-lt"/>
            </a:endParaRPr>
          </a:p>
          <a:p>
            <a:pPr marL="285750" indent="-285750">
              <a:spcBef>
                <a:spcPts val="600"/>
              </a:spcBef>
              <a:buFont typeface="Wingdings" panose="05000000000000000000" pitchFamily="2" charset="2"/>
              <a:buChar char="§"/>
            </a:pPr>
            <a:r>
              <a:rPr lang="en-GB" sz="1600" dirty="0">
                <a:solidFill>
                  <a:schemeClr val="accent1"/>
                </a:solidFill>
                <a:latin typeface="+mj-lt"/>
              </a:rPr>
              <a:t>Review the draft SOP</a:t>
            </a:r>
            <a:r>
              <a:rPr lang="en-GB" sz="1600" b="0" dirty="0">
                <a:solidFill>
                  <a:schemeClr val="accent1"/>
                </a:solidFill>
                <a:latin typeface="+mj-lt"/>
              </a:rPr>
              <a:t> with the team by repeated trialling of it. Confirm that the process output delivers consistent required </a:t>
            </a:r>
            <a:r>
              <a:rPr lang="en-GB" sz="1600" b="0" dirty="0" smtClean="0">
                <a:solidFill>
                  <a:schemeClr val="accent1"/>
                </a:solidFill>
                <a:latin typeface="+mj-lt"/>
              </a:rPr>
              <a:t>quality</a:t>
            </a:r>
            <a:endParaRPr lang="en-GB" sz="1600" b="0" dirty="0">
              <a:solidFill>
                <a:schemeClr val="accent1"/>
              </a:solidFill>
              <a:latin typeface="+mj-lt"/>
            </a:endParaRPr>
          </a:p>
          <a:p>
            <a:pPr marL="285750" indent="-285750">
              <a:spcBef>
                <a:spcPts val="600"/>
              </a:spcBef>
              <a:buFont typeface="Wingdings" panose="05000000000000000000" pitchFamily="2" charset="2"/>
              <a:buChar char="§"/>
            </a:pPr>
            <a:r>
              <a:rPr lang="en-GB" sz="1600" dirty="0">
                <a:solidFill>
                  <a:schemeClr val="accent1"/>
                </a:solidFill>
                <a:latin typeface="+mj-lt"/>
              </a:rPr>
              <a:t>Approve</a:t>
            </a:r>
            <a:r>
              <a:rPr lang="en-GB" sz="1600" b="0" dirty="0">
                <a:solidFill>
                  <a:schemeClr val="accent1"/>
                </a:solidFill>
                <a:latin typeface="+mj-lt"/>
              </a:rPr>
              <a:t> the SOP and </a:t>
            </a:r>
            <a:r>
              <a:rPr lang="en-GB" sz="1600" dirty="0">
                <a:solidFill>
                  <a:schemeClr val="accent1"/>
                </a:solidFill>
                <a:latin typeface="+mj-lt"/>
              </a:rPr>
              <a:t>train</a:t>
            </a:r>
            <a:r>
              <a:rPr lang="en-GB" sz="1600" b="0" dirty="0">
                <a:solidFill>
                  <a:schemeClr val="accent1"/>
                </a:solidFill>
                <a:latin typeface="+mj-lt"/>
              </a:rPr>
              <a:t> all </a:t>
            </a:r>
            <a:r>
              <a:rPr lang="en-GB" sz="1600" b="0" dirty="0" smtClean="0">
                <a:solidFill>
                  <a:schemeClr val="accent1"/>
                </a:solidFill>
                <a:latin typeface="+mj-lt"/>
              </a:rPr>
              <a:t>operators</a:t>
            </a:r>
          </a:p>
          <a:p>
            <a:pPr marL="285750" indent="-285750">
              <a:spcBef>
                <a:spcPts val="600"/>
              </a:spcBef>
              <a:buFont typeface="Wingdings" panose="05000000000000000000" pitchFamily="2" charset="2"/>
              <a:buChar char="§"/>
            </a:pPr>
            <a:r>
              <a:rPr lang="en-GB" sz="1600" dirty="0" smtClean="0">
                <a:solidFill>
                  <a:schemeClr val="accent1"/>
                </a:solidFill>
                <a:latin typeface="+mj-lt"/>
              </a:rPr>
              <a:t>Audit </a:t>
            </a:r>
            <a:r>
              <a:rPr lang="en-GB" sz="1600" b="0" dirty="0" smtClean="0">
                <a:solidFill>
                  <a:schemeClr val="accent1"/>
                </a:solidFill>
                <a:latin typeface="+mj-lt"/>
              </a:rPr>
              <a:t>the application of the SOP</a:t>
            </a:r>
            <a:endParaRPr lang="en-GB" sz="1600" b="0" dirty="0">
              <a:solidFill>
                <a:schemeClr val="accent1"/>
              </a:solidFill>
              <a:latin typeface="+mj-lt"/>
            </a:endParaRPr>
          </a:p>
        </p:txBody>
      </p:sp>
      <p:sp>
        <p:nvSpPr>
          <p:cNvPr id="10" name="Rectangle 4"/>
          <p:cNvSpPr>
            <a:spLocks noChangeArrowheads="1"/>
          </p:cNvSpPr>
          <p:nvPr/>
        </p:nvSpPr>
        <p:spPr bwMode="auto">
          <a:xfrm>
            <a:off x="361950" y="5634986"/>
            <a:ext cx="8455025" cy="669925"/>
          </a:xfrm>
          <a:prstGeom prst="rect">
            <a:avLst/>
          </a:prstGeom>
          <a:solidFill>
            <a:schemeClr val="accent3"/>
          </a:solidFill>
          <a:ln w="28575" algn="ctr">
            <a:noFill/>
            <a:miter lim="800000"/>
            <a:headEnd/>
            <a:tailEnd/>
          </a:ln>
        </p:spPr>
        <p:txBody>
          <a:bodyPr wrap="square" lIns="91429" tIns="45715" rIns="91429" bIns="45715">
            <a:spAutoFit/>
          </a:bodyPr>
          <a:lstStyle/>
          <a:p>
            <a:pPr algn="ctr" eaLnBrk="0" hangingPunct="0">
              <a:buClr>
                <a:srgbClr val="009900"/>
              </a:buClr>
              <a:buFont typeface="Monotype Sorts" pitchFamily="2" charset="2"/>
              <a:buNone/>
            </a:pPr>
            <a:r>
              <a:rPr lang="en-US" dirty="0">
                <a:solidFill>
                  <a:schemeClr val="bg1"/>
                </a:solidFill>
              </a:rPr>
              <a:t>All employees at all levels are actively encouraged and expected to regularly improve procedures</a:t>
            </a:r>
          </a:p>
        </p:txBody>
      </p:sp>
      <p:grpSp>
        <p:nvGrpSpPr>
          <p:cNvPr id="3" name="Group 2"/>
          <p:cNvGrpSpPr/>
          <p:nvPr/>
        </p:nvGrpSpPr>
        <p:grpSpPr>
          <a:xfrm>
            <a:off x="361951" y="1631659"/>
            <a:ext cx="8455024" cy="852233"/>
            <a:chOff x="361951" y="1631659"/>
            <a:chExt cx="8455024" cy="852233"/>
          </a:xfrm>
        </p:grpSpPr>
        <p:sp>
          <p:nvSpPr>
            <p:cNvPr id="17" name="Rectangle 4"/>
            <p:cNvSpPr>
              <a:spLocks noChangeArrowheads="1"/>
            </p:cNvSpPr>
            <p:nvPr/>
          </p:nvSpPr>
          <p:spPr bwMode="auto">
            <a:xfrm>
              <a:off x="361951" y="1645306"/>
              <a:ext cx="8455024" cy="838586"/>
            </a:xfrm>
            <a:prstGeom prst="roundRect">
              <a:avLst/>
            </a:prstGeom>
            <a:solidFill>
              <a:schemeClr val="accent1"/>
            </a:solidFill>
            <a:ln w="28575" algn="ctr">
              <a:noFill/>
              <a:miter lim="800000"/>
              <a:headEnd/>
              <a:tailEnd/>
            </a:ln>
          </p:spPr>
          <p:txBody>
            <a:bodyPr wrap="none" lIns="91429" tIns="45715" rIns="91429" bIns="45715">
              <a:noAutofit/>
            </a:bodyPr>
            <a:lstStyle/>
            <a:p>
              <a:pPr algn="ctr" eaLnBrk="0" hangingPunct="0">
                <a:buClr>
                  <a:srgbClr val="009900"/>
                </a:buClr>
                <a:buFont typeface="Monotype Sorts" pitchFamily="2" charset="2"/>
                <a:buNone/>
              </a:pPr>
              <a:endParaRPr lang="en-US" dirty="0">
                <a:solidFill>
                  <a:schemeClr val="bg1"/>
                </a:solidFill>
              </a:endParaRPr>
            </a:p>
          </p:txBody>
        </p:sp>
        <p:grpSp>
          <p:nvGrpSpPr>
            <p:cNvPr id="11" name="Group 16"/>
            <p:cNvGrpSpPr>
              <a:grpSpLocks/>
            </p:cNvGrpSpPr>
            <p:nvPr/>
          </p:nvGrpSpPr>
          <p:grpSpPr bwMode="auto">
            <a:xfrm>
              <a:off x="716573" y="1631659"/>
              <a:ext cx="7712319" cy="396000"/>
              <a:chOff x="247" y="728"/>
              <a:chExt cx="5263" cy="368"/>
            </a:xfrm>
            <a:solidFill>
              <a:schemeClr val="accent1"/>
            </a:solidFill>
          </p:grpSpPr>
          <p:sp>
            <p:nvSpPr>
              <p:cNvPr id="12" name="AutoShape 17"/>
              <p:cNvSpPr>
                <a:spLocks noChangeArrowheads="1"/>
              </p:cNvSpPr>
              <p:nvPr/>
            </p:nvSpPr>
            <p:spPr bwMode="gray">
              <a:xfrm>
                <a:off x="247" y="728"/>
                <a:ext cx="1144" cy="368"/>
              </a:xfrm>
              <a:prstGeom prst="chevron">
                <a:avLst>
                  <a:gd name="adj" fmla="val 32555"/>
                </a:avLst>
              </a:prstGeom>
              <a:grpFill/>
              <a:ln w="12700" cap="rnd" algn="ctr">
                <a:solidFill>
                  <a:schemeClr val="bg1"/>
                </a:solidFill>
                <a:miter lim="800000"/>
                <a:headEnd/>
                <a:tailEnd/>
              </a:ln>
            </p:spPr>
            <p:txBody>
              <a:bodyPr lIns="36000" tIns="36000" rIns="36000" bIns="36000" anchor="ctr"/>
              <a:lstStyle/>
              <a:p>
                <a:pPr algn="ctr">
                  <a:lnSpc>
                    <a:spcPct val="110000"/>
                  </a:lnSpc>
                  <a:defRPr/>
                </a:pPr>
                <a:r>
                  <a:rPr lang="en-US" sz="1400" b="1" dirty="0" smtClean="0">
                    <a:solidFill>
                      <a:schemeClr val="bg1"/>
                    </a:solidFill>
                  </a:rPr>
                  <a:t>Brainstorm</a:t>
                </a:r>
                <a:endParaRPr lang="en-US" sz="1400" b="1" dirty="0">
                  <a:solidFill>
                    <a:schemeClr val="bg1"/>
                  </a:solidFill>
                </a:endParaRPr>
              </a:p>
            </p:txBody>
          </p:sp>
          <p:sp>
            <p:nvSpPr>
              <p:cNvPr id="13" name="AutoShape 18"/>
              <p:cNvSpPr>
                <a:spLocks noChangeArrowheads="1"/>
              </p:cNvSpPr>
              <p:nvPr/>
            </p:nvSpPr>
            <p:spPr bwMode="gray">
              <a:xfrm>
                <a:off x="1284" y="728"/>
                <a:ext cx="1138" cy="368"/>
              </a:xfrm>
              <a:prstGeom prst="chevron">
                <a:avLst>
                  <a:gd name="adj" fmla="val 32384"/>
                </a:avLst>
              </a:prstGeom>
              <a:grpFill/>
              <a:ln w="12700" cap="rnd" algn="ctr">
                <a:solidFill>
                  <a:schemeClr val="bg1"/>
                </a:solidFill>
                <a:miter lim="800000"/>
                <a:headEnd/>
                <a:tailEnd/>
              </a:ln>
            </p:spPr>
            <p:txBody>
              <a:bodyPr lIns="36000" tIns="36000" rIns="36000" bIns="36000" anchor="ctr"/>
              <a:lstStyle/>
              <a:p>
                <a:pPr algn="ctr">
                  <a:lnSpc>
                    <a:spcPct val="110000"/>
                  </a:lnSpc>
                  <a:defRPr/>
                </a:pPr>
                <a:r>
                  <a:rPr lang="en-US" sz="1400" b="1" dirty="0" smtClean="0">
                    <a:solidFill>
                      <a:schemeClr val="bg1"/>
                    </a:solidFill>
                  </a:rPr>
                  <a:t>Organize</a:t>
                </a:r>
                <a:endParaRPr lang="en-US" sz="1400" b="1" dirty="0">
                  <a:solidFill>
                    <a:schemeClr val="bg1"/>
                  </a:solidFill>
                </a:endParaRPr>
              </a:p>
            </p:txBody>
          </p:sp>
          <p:sp>
            <p:nvSpPr>
              <p:cNvPr id="14" name="AutoShape 19"/>
              <p:cNvSpPr>
                <a:spLocks noChangeArrowheads="1"/>
              </p:cNvSpPr>
              <p:nvPr/>
            </p:nvSpPr>
            <p:spPr bwMode="gray">
              <a:xfrm>
                <a:off x="2314" y="728"/>
                <a:ext cx="1139" cy="368"/>
              </a:xfrm>
              <a:prstGeom prst="chevron">
                <a:avLst>
                  <a:gd name="adj" fmla="val 32413"/>
                </a:avLst>
              </a:prstGeom>
              <a:grpFill/>
              <a:ln w="12700" cap="rnd" algn="ctr">
                <a:solidFill>
                  <a:schemeClr val="bg1"/>
                </a:solidFill>
                <a:miter lim="800000"/>
                <a:headEnd/>
                <a:tailEnd/>
              </a:ln>
            </p:spPr>
            <p:txBody>
              <a:bodyPr lIns="36000" tIns="36000" rIns="36000" bIns="36000" anchor="ctr"/>
              <a:lstStyle/>
              <a:p>
                <a:pPr algn="ctr">
                  <a:lnSpc>
                    <a:spcPct val="110000"/>
                  </a:lnSpc>
                  <a:defRPr/>
                </a:pPr>
                <a:r>
                  <a:rPr lang="en-US" sz="1400" b="1" dirty="0" smtClean="0">
                    <a:solidFill>
                      <a:schemeClr val="bg1"/>
                    </a:solidFill>
                  </a:rPr>
                  <a:t>Write</a:t>
                </a:r>
                <a:endParaRPr lang="en-US" sz="1400" b="1" dirty="0">
                  <a:solidFill>
                    <a:schemeClr val="bg1"/>
                  </a:solidFill>
                </a:endParaRPr>
              </a:p>
            </p:txBody>
          </p:sp>
          <p:sp>
            <p:nvSpPr>
              <p:cNvPr id="15" name="AutoShape 20"/>
              <p:cNvSpPr>
                <a:spLocks noChangeArrowheads="1"/>
              </p:cNvSpPr>
              <p:nvPr/>
            </p:nvSpPr>
            <p:spPr bwMode="gray">
              <a:xfrm>
                <a:off x="3345" y="728"/>
                <a:ext cx="1138" cy="368"/>
              </a:xfrm>
              <a:prstGeom prst="chevron">
                <a:avLst>
                  <a:gd name="adj" fmla="val 32384"/>
                </a:avLst>
              </a:prstGeom>
              <a:grpFill/>
              <a:ln w="12700" cap="rnd" algn="ctr">
                <a:solidFill>
                  <a:schemeClr val="bg1"/>
                </a:solidFill>
                <a:miter lim="800000"/>
                <a:headEnd/>
                <a:tailEnd/>
              </a:ln>
            </p:spPr>
            <p:txBody>
              <a:bodyPr lIns="36000" tIns="36000" rIns="36000" bIns="36000" anchor="ctr"/>
              <a:lstStyle/>
              <a:p>
                <a:pPr algn="ctr">
                  <a:lnSpc>
                    <a:spcPct val="110000"/>
                  </a:lnSpc>
                  <a:defRPr/>
                </a:pPr>
                <a:r>
                  <a:rPr lang="en-US" sz="1400" b="1" dirty="0" smtClean="0">
                    <a:solidFill>
                      <a:schemeClr val="bg1"/>
                    </a:solidFill>
                  </a:rPr>
                  <a:t>Review</a:t>
                </a:r>
                <a:endParaRPr lang="en-US" sz="1400" b="1" dirty="0">
                  <a:solidFill>
                    <a:schemeClr val="bg1"/>
                  </a:solidFill>
                </a:endParaRPr>
              </a:p>
            </p:txBody>
          </p:sp>
          <p:sp>
            <p:nvSpPr>
              <p:cNvPr id="16" name="AutoShape 21"/>
              <p:cNvSpPr>
                <a:spLocks noChangeArrowheads="1"/>
              </p:cNvSpPr>
              <p:nvPr/>
            </p:nvSpPr>
            <p:spPr bwMode="gray">
              <a:xfrm>
                <a:off x="4375" y="728"/>
                <a:ext cx="1135" cy="368"/>
              </a:xfrm>
              <a:prstGeom prst="chevron">
                <a:avLst>
                  <a:gd name="adj" fmla="val 32299"/>
                </a:avLst>
              </a:prstGeom>
              <a:grpFill/>
              <a:ln w="12700" cap="rnd" algn="ctr">
                <a:solidFill>
                  <a:schemeClr val="bg1"/>
                </a:solidFill>
                <a:miter lim="800000"/>
                <a:headEnd/>
                <a:tailEnd/>
              </a:ln>
            </p:spPr>
            <p:txBody>
              <a:bodyPr lIns="36000" tIns="36000" rIns="36000" bIns="36000" anchor="ctr"/>
              <a:lstStyle/>
              <a:p>
                <a:pPr algn="ctr">
                  <a:lnSpc>
                    <a:spcPct val="110000"/>
                  </a:lnSpc>
                  <a:defRPr/>
                </a:pPr>
                <a:r>
                  <a:rPr lang="en-US" sz="1400" b="1" dirty="0" smtClean="0">
                    <a:solidFill>
                      <a:schemeClr val="bg1"/>
                    </a:solidFill>
                  </a:rPr>
                  <a:t>Approve</a:t>
                </a:r>
                <a:endParaRPr lang="en-US" sz="1400" b="1" dirty="0">
                  <a:solidFill>
                    <a:schemeClr val="bg1"/>
                  </a:solidFill>
                </a:endParaRPr>
              </a:p>
            </p:txBody>
          </p:sp>
        </p:grpSp>
        <p:sp>
          <p:nvSpPr>
            <p:cNvPr id="18" name="Rectangle 4"/>
            <p:cNvSpPr>
              <a:spLocks noChangeArrowheads="1"/>
            </p:cNvSpPr>
            <p:nvPr/>
          </p:nvSpPr>
          <p:spPr bwMode="auto">
            <a:xfrm>
              <a:off x="689277" y="2033516"/>
              <a:ext cx="7704000" cy="144000"/>
            </a:xfrm>
            <a:prstGeom prst="roundRect">
              <a:avLst/>
            </a:prstGeom>
            <a:solidFill>
              <a:schemeClr val="bg1"/>
            </a:solidFill>
            <a:ln w="28575" algn="ctr">
              <a:noFill/>
              <a:miter lim="800000"/>
              <a:headEnd/>
              <a:tailEnd/>
            </a:ln>
          </p:spPr>
          <p:txBody>
            <a:bodyPr wrap="none" lIns="91429" tIns="45715" rIns="91429" bIns="45715">
              <a:noAutofit/>
            </a:bodyPr>
            <a:lstStyle/>
            <a:p>
              <a:pPr algn="ctr" eaLnBrk="0" hangingPunct="0">
                <a:buClr>
                  <a:srgbClr val="009900"/>
                </a:buClr>
                <a:buFont typeface="Monotype Sorts" pitchFamily="2" charset="2"/>
                <a:buNone/>
              </a:pPr>
              <a:endParaRPr lang="en-US" dirty="0">
                <a:solidFill>
                  <a:schemeClr val="bg1"/>
                </a:solidFill>
              </a:endParaRPr>
            </a:p>
          </p:txBody>
        </p:sp>
        <p:sp>
          <p:nvSpPr>
            <p:cNvPr id="2" name="TextBox 1"/>
            <p:cNvSpPr txBox="1"/>
            <p:nvPr/>
          </p:nvSpPr>
          <p:spPr>
            <a:xfrm>
              <a:off x="4220516" y="2173755"/>
              <a:ext cx="641522" cy="307777"/>
            </a:xfrm>
            <a:prstGeom prst="rect">
              <a:avLst/>
            </a:prstGeom>
            <a:noFill/>
          </p:spPr>
          <p:txBody>
            <a:bodyPr wrap="none" rtlCol="0">
              <a:spAutoFit/>
            </a:bodyPr>
            <a:lstStyle/>
            <a:p>
              <a:r>
                <a:rPr lang="en-US" sz="1400" dirty="0" smtClean="0">
                  <a:solidFill>
                    <a:schemeClr val="bg1"/>
                  </a:solidFill>
                </a:rPr>
                <a:t>Audit</a:t>
              </a:r>
              <a:endParaRPr lang="en-US" sz="1400" dirty="0">
                <a:solidFill>
                  <a:schemeClr val="bg1"/>
                </a:solidFill>
              </a:endParaRPr>
            </a:p>
          </p:txBody>
        </p:sp>
      </p:grpSp>
    </p:spTree>
    <p:extLst>
      <p:ext uri="{BB962C8B-B14F-4D97-AF65-F5344CB8AC3E}">
        <p14:creationId xmlns:p14="http://schemas.microsoft.com/office/powerpoint/2010/main" val="2502583680"/>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2270124" y="4258101"/>
            <a:ext cx="6536401" cy="2347415"/>
          </a:xfrm>
          <a:prstGeom prst="roundRect">
            <a:avLst>
              <a:gd name="adj" fmla="val 6218"/>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endParaRPr lang="en-US" sz="1400" b="0">
              <a:latin typeface="Arial" charset="0"/>
            </a:endParaRPr>
          </a:p>
        </p:txBody>
      </p:sp>
      <p:sp>
        <p:nvSpPr>
          <p:cNvPr id="9" name="Slide Number Placeholder 4"/>
          <p:cNvSpPr>
            <a:spLocks noGrp="1"/>
          </p:cNvSpPr>
          <p:nvPr>
            <p:ph type="sldNum" sz="quarter" idx="10"/>
          </p:nvPr>
        </p:nvSpPr>
        <p:spPr>
          <a:prstGeom prst="rect">
            <a:avLst/>
          </a:prstGeom>
          <a:noFill/>
        </p:spPr>
        <p:txBody>
          <a:bodyPr/>
          <a:lstStyle/>
          <a:p>
            <a:fld id="{D7BA8602-1D36-42F3-9ADD-DC3FBBDDCECF}" type="slidenum">
              <a:rPr lang="en-GB" altLang="en-GB" sz="800"/>
              <a:pPr/>
              <a:t>58</a:t>
            </a:fld>
            <a:endParaRPr lang="en-GB" altLang="en-GB" sz="800"/>
          </a:p>
        </p:txBody>
      </p:sp>
      <p:sp>
        <p:nvSpPr>
          <p:cNvPr id="6" name="Rectangle 5"/>
          <p:cNvSpPr/>
          <p:nvPr/>
        </p:nvSpPr>
        <p:spPr>
          <a:xfrm>
            <a:off x="5149850" y="850900"/>
            <a:ext cx="407988" cy="1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pitchFamily="34" charset="0"/>
            </a:endParaRPr>
          </a:p>
        </p:txBody>
      </p:sp>
      <p:pic>
        <p:nvPicPr>
          <p:cNvPr id="10"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950" y="1232871"/>
            <a:ext cx="3816350" cy="2640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90176" y="1233237"/>
            <a:ext cx="3816350" cy="2638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Group 246"/>
          <p:cNvGraphicFramePr>
            <a:graphicFrameLocks noGrp="1"/>
          </p:cNvGraphicFramePr>
          <p:nvPr>
            <p:extLst>
              <p:ext uri="{D42A27DB-BD31-4B8C-83A1-F6EECF244321}">
                <p14:modId xmlns:p14="http://schemas.microsoft.com/office/powerpoint/2010/main" val="1486412345"/>
              </p:ext>
            </p:extLst>
          </p:nvPr>
        </p:nvGraphicFramePr>
        <p:xfrm>
          <a:off x="2433752" y="4553826"/>
          <a:ext cx="6232576" cy="1951740"/>
        </p:xfrm>
        <a:graphic>
          <a:graphicData uri="http://schemas.openxmlformats.org/drawingml/2006/table">
            <a:tbl>
              <a:tblPr/>
              <a:tblGrid>
                <a:gridCol w="494687"/>
                <a:gridCol w="658060"/>
                <a:gridCol w="5079829"/>
              </a:tblGrid>
              <a:tr h="243839">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GB" sz="1000" b="1" i="0" u="none" strike="noStrike" cap="none" normalizeH="0" baseline="0" dirty="0" smtClean="0">
                          <a:ln>
                            <a:noFill/>
                          </a:ln>
                          <a:solidFill>
                            <a:schemeClr val="bg2"/>
                          </a:solidFill>
                          <a:effectLst/>
                          <a:latin typeface="Arial" pitchFamily="34" charset="0"/>
                        </a:rPr>
                        <a:t>Symbol</a:t>
                      </a:r>
                    </a:p>
                  </a:txBody>
                  <a:tcPr marL="0" marR="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US" sz="1000" b="1" i="0" u="none" strike="noStrike" cap="none" normalizeH="0" baseline="0" dirty="0" smtClean="0">
                          <a:ln>
                            <a:noFill/>
                          </a:ln>
                          <a:solidFill>
                            <a:schemeClr val="bg2"/>
                          </a:solidFill>
                          <a:effectLst/>
                          <a:latin typeface="Arial" pitchFamily="34" charset="0"/>
                        </a:rPr>
                        <a:t>Legend</a:t>
                      </a:r>
                      <a:endParaRPr kumimoji="0" lang="en-GB" sz="1000" b="1" i="0" u="none" strike="noStrike" cap="none" normalizeH="0" baseline="0" dirty="0" smtClean="0">
                        <a:ln>
                          <a:noFill/>
                        </a:ln>
                        <a:solidFill>
                          <a:schemeClr val="bg2"/>
                        </a:solidFill>
                        <a:effectLst/>
                        <a:latin typeface="Arial" pitchFamily="34" charset="0"/>
                      </a:endParaRPr>
                    </a:p>
                  </a:txBody>
                  <a:tcPr marL="0" marR="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US" sz="1000" b="1" i="0" u="none" strike="noStrike" cap="none" normalizeH="0" baseline="0" dirty="0" smtClean="0">
                          <a:ln>
                            <a:noFill/>
                          </a:ln>
                          <a:solidFill>
                            <a:schemeClr val="bg2"/>
                          </a:solidFill>
                          <a:effectLst/>
                          <a:latin typeface="Arial" pitchFamily="34" charset="0"/>
                        </a:rPr>
                        <a:t>Description</a:t>
                      </a:r>
                      <a:endParaRPr kumimoji="0" lang="en-GB" sz="1000" b="1" i="0" u="none" strike="noStrike" cap="none" normalizeH="0" baseline="0" dirty="0" smtClean="0">
                        <a:ln>
                          <a:noFill/>
                        </a:ln>
                        <a:solidFill>
                          <a:schemeClr val="bg2"/>
                        </a:solidFill>
                        <a:effectLst/>
                        <a:latin typeface="Arial" pitchFamily="34" charset="0"/>
                      </a:endParaRPr>
                    </a:p>
                  </a:txBody>
                  <a:tcPr marL="0" marR="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accent3"/>
                    </a:solidFill>
                  </a:tcPr>
                </a:tc>
              </a:tr>
              <a:tr h="306959">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GB" sz="1400" b="1" i="0" u="none" strike="noStrike" cap="none" normalizeH="0" baseline="0" dirty="0" smtClean="0">
                          <a:ln>
                            <a:noFill/>
                          </a:ln>
                          <a:solidFill>
                            <a:srgbClr val="0000FF"/>
                          </a:solidFill>
                          <a:effectLst/>
                          <a:latin typeface="Arial" pitchFamily="34" charset="0"/>
                          <a:sym typeface="Wingdings 2" pitchFamily="18" charset="2"/>
                        </a:rPr>
                        <a:t></a:t>
                      </a:r>
                      <a:endParaRPr kumimoji="0" lang="en-GB" sz="1400" b="0" i="0" u="none" strike="noStrike" cap="none" normalizeH="0" baseline="0" dirty="0" smtClean="0">
                        <a:ln>
                          <a:noFill/>
                        </a:ln>
                        <a:solidFill>
                          <a:srgbClr val="000000"/>
                        </a:solidFill>
                        <a:effectLst/>
                        <a:latin typeface="Arial" pitchFamily="34" charset="0"/>
                      </a:endParaRPr>
                    </a:p>
                  </a:txBody>
                  <a:tcPr marL="125999" marR="89999"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GB" sz="1000" b="1" i="0" u="none" strike="noStrike" cap="none" normalizeH="0" baseline="0" dirty="0" smtClean="0">
                          <a:ln>
                            <a:noFill/>
                          </a:ln>
                          <a:solidFill>
                            <a:srgbClr val="000000"/>
                          </a:solidFill>
                          <a:effectLst/>
                          <a:latin typeface="Arial" pitchFamily="34" charset="0"/>
                        </a:rPr>
                        <a:t>Tip</a:t>
                      </a:r>
                    </a:p>
                  </a:txBody>
                  <a:tcPr marL="0" marR="0"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GB" sz="1050" b="0" i="0" u="none" strike="noStrike" cap="none" normalizeH="0" baseline="0" dirty="0" smtClean="0">
                          <a:ln>
                            <a:noFill/>
                          </a:ln>
                          <a:solidFill>
                            <a:srgbClr val="000000"/>
                          </a:solidFill>
                          <a:effectLst/>
                          <a:latin typeface="Arial" pitchFamily="34" charset="0"/>
                        </a:rPr>
                        <a:t>A tip is a note or a practical advice for the operator to be aware of.</a:t>
                      </a:r>
                    </a:p>
                  </a:txBody>
                  <a:tcPr marL="36000" marR="36000"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459359">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GB" sz="1400" b="1" i="0" u="none" strike="noStrike" cap="none" normalizeH="0" baseline="0" smtClean="0">
                          <a:ln>
                            <a:noFill/>
                          </a:ln>
                          <a:solidFill>
                            <a:srgbClr val="FF0000"/>
                          </a:solidFill>
                          <a:effectLst/>
                          <a:latin typeface="Arial" pitchFamily="34" charset="0"/>
                          <a:sym typeface="Wingdings 2" pitchFamily="18" charset="2"/>
                        </a:rPr>
                        <a:t></a:t>
                      </a:r>
                      <a:endParaRPr kumimoji="0" lang="en-GB" sz="1400" b="0" i="0" u="none" strike="noStrike" cap="none" normalizeH="0" baseline="0" smtClean="0">
                        <a:ln>
                          <a:noFill/>
                        </a:ln>
                        <a:solidFill>
                          <a:srgbClr val="000000"/>
                        </a:solidFill>
                        <a:effectLst/>
                        <a:latin typeface="Arial" pitchFamily="34" charset="0"/>
                      </a:endParaRPr>
                    </a:p>
                  </a:txBody>
                  <a:tcPr marL="125999" marR="89999"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GB" sz="1000" b="1" i="0" u="none" strike="noStrike" cap="none" normalizeH="0" baseline="0" dirty="0" smtClean="0">
                          <a:ln>
                            <a:noFill/>
                          </a:ln>
                          <a:solidFill>
                            <a:srgbClr val="000000"/>
                          </a:solidFill>
                          <a:effectLst/>
                          <a:latin typeface="Arial" pitchFamily="34" charset="0"/>
                        </a:rPr>
                        <a:t>Caution</a:t>
                      </a:r>
                    </a:p>
                  </a:txBody>
                  <a:tcPr marL="0" marR="0"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GB" sz="1050" b="0" i="0" u="none" strike="noStrike" cap="none" normalizeH="0" baseline="0" dirty="0" smtClean="0">
                          <a:ln>
                            <a:noFill/>
                          </a:ln>
                          <a:solidFill>
                            <a:srgbClr val="000000"/>
                          </a:solidFill>
                          <a:effectLst/>
                          <a:latin typeface="Arial" pitchFamily="34" charset="0"/>
                        </a:rPr>
                        <a:t>A very important message to focus the attention of the operator on:</a:t>
                      </a:r>
                    </a:p>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GB" sz="1050" b="0" i="0" u="none" strike="noStrike" cap="none" normalizeH="0" baseline="0" dirty="0" smtClean="0">
                          <a:ln>
                            <a:noFill/>
                          </a:ln>
                          <a:solidFill>
                            <a:srgbClr val="000000"/>
                          </a:solidFill>
                          <a:effectLst/>
                          <a:latin typeface="Arial" pitchFamily="34" charset="0"/>
                        </a:rPr>
                        <a:t>- Action(s) that have to be performed</a:t>
                      </a:r>
                    </a:p>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GB" sz="1050" b="0" i="0" u="none" strike="noStrike" cap="none" normalizeH="0" baseline="0" dirty="0" smtClean="0">
                          <a:ln>
                            <a:noFill/>
                          </a:ln>
                          <a:solidFill>
                            <a:srgbClr val="000000"/>
                          </a:solidFill>
                          <a:effectLst/>
                          <a:latin typeface="Arial" pitchFamily="34" charset="0"/>
                        </a:rPr>
                        <a:t>- Consequence(s) of not doing the action</a:t>
                      </a:r>
                    </a:p>
                  </a:txBody>
                  <a:tcPr marL="36000" marR="36000"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337439">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GB" sz="1400" b="1" i="0" u="none" strike="noStrike" cap="none" normalizeH="0" baseline="0" smtClean="0">
                          <a:ln>
                            <a:noFill/>
                          </a:ln>
                          <a:solidFill>
                            <a:srgbClr val="008000"/>
                          </a:solidFill>
                          <a:effectLst/>
                          <a:latin typeface="Arial" pitchFamily="34" charset="0"/>
                          <a:ea typeface="Times New Roman" pitchFamily="18" charset="0"/>
                          <a:cs typeface="Arial" pitchFamily="34" charset="0"/>
                          <a:sym typeface="Wingdings 2" pitchFamily="18" charset="2"/>
                        </a:rPr>
                        <a:t></a:t>
                      </a:r>
                      <a:endParaRPr kumimoji="0" lang="en-GB" sz="1400" b="0" i="0" u="none" strike="noStrike" cap="none" normalizeH="0" baseline="0" smtClean="0">
                        <a:ln>
                          <a:noFill/>
                        </a:ln>
                        <a:solidFill>
                          <a:srgbClr val="000000"/>
                        </a:solidFill>
                        <a:effectLst/>
                        <a:latin typeface="Arial" pitchFamily="34" charset="0"/>
                        <a:ea typeface="Times New Roman" pitchFamily="18" charset="0"/>
                        <a:cs typeface="Arial" pitchFamily="34" charset="0"/>
                      </a:endParaRPr>
                    </a:p>
                  </a:txBody>
                  <a:tcPr marL="125999" marR="89999"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GB" sz="1000" b="1" i="0" u="none" strike="noStrike" cap="none" normalizeH="0" baseline="0" dirty="0" smtClean="0">
                          <a:ln>
                            <a:noFill/>
                          </a:ln>
                          <a:solidFill>
                            <a:srgbClr val="000000"/>
                          </a:solidFill>
                          <a:effectLst/>
                          <a:latin typeface="Arial" pitchFamily="34" charset="0"/>
                        </a:rPr>
                        <a:t>Check</a:t>
                      </a:r>
                    </a:p>
                  </a:txBody>
                  <a:tcPr marL="0" marR="0"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GB" sz="1050" b="0" i="0" u="none" strike="noStrike" cap="none" normalizeH="0" baseline="0" dirty="0" smtClean="0">
                          <a:ln>
                            <a:noFill/>
                          </a:ln>
                          <a:solidFill>
                            <a:srgbClr val="000000"/>
                          </a:solidFill>
                          <a:effectLst/>
                          <a:latin typeface="Arial" pitchFamily="34" charset="0"/>
                        </a:rPr>
                        <a:t>A point in the process where the operator would need to examine the accuracy, quality, or condition of the task being performed</a:t>
                      </a:r>
                    </a:p>
                  </a:txBody>
                  <a:tcPr marL="36000" marR="36000"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337439">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GB" sz="1400" b="1" i="0" u="none" strike="noStrike" cap="none" normalizeH="0" baseline="0" smtClean="0">
                          <a:ln>
                            <a:noFill/>
                          </a:ln>
                          <a:solidFill>
                            <a:srgbClr val="FFCC00"/>
                          </a:solidFill>
                          <a:effectLst/>
                          <a:latin typeface="Arial" pitchFamily="34" charset="0"/>
                          <a:ea typeface="Times New Roman" pitchFamily="18" charset="0"/>
                          <a:cs typeface="Arial" pitchFamily="34" charset="0"/>
                          <a:sym typeface="Wingdings 2" pitchFamily="18" charset="2"/>
                        </a:rPr>
                        <a:t></a:t>
                      </a:r>
                      <a:endParaRPr kumimoji="0" lang="en-GB" sz="1400" b="0" i="0" u="none" strike="noStrike" cap="none" normalizeH="0" baseline="0" smtClean="0">
                        <a:ln>
                          <a:noFill/>
                        </a:ln>
                        <a:solidFill>
                          <a:srgbClr val="000000"/>
                        </a:solidFill>
                        <a:effectLst/>
                        <a:latin typeface="Arial" pitchFamily="34" charset="0"/>
                        <a:ea typeface="Times New Roman" pitchFamily="18" charset="0"/>
                        <a:cs typeface="Arial" pitchFamily="34" charset="0"/>
                      </a:endParaRPr>
                    </a:p>
                  </a:txBody>
                  <a:tcPr marL="125999" marR="89999"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1279525" rtl="0" eaLnBrk="1" fontAlgn="base" latinLnBrk="0" hangingPunct="1">
                        <a:lnSpc>
                          <a:spcPct val="100000"/>
                        </a:lnSpc>
                        <a:spcBef>
                          <a:spcPct val="0"/>
                        </a:spcBef>
                        <a:spcAft>
                          <a:spcPct val="50000"/>
                        </a:spcAft>
                        <a:buClrTx/>
                        <a:buSzPct val="130000"/>
                        <a:buFontTx/>
                        <a:buNone/>
                        <a:tabLst/>
                      </a:pPr>
                      <a:r>
                        <a:rPr kumimoji="0" lang="en-GB" sz="1000" b="1" i="0" u="none" strike="noStrike" cap="none" normalizeH="0" baseline="0" dirty="0" smtClean="0">
                          <a:ln>
                            <a:noFill/>
                          </a:ln>
                          <a:solidFill>
                            <a:srgbClr val="000000"/>
                          </a:solidFill>
                          <a:effectLst/>
                          <a:latin typeface="Arial" pitchFamily="34" charset="0"/>
                        </a:rPr>
                        <a:t>Specific</a:t>
                      </a:r>
                    </a:p>
                  </a:txBody>
                  <a:tcPr marL="0" marR="0"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79525" rtl="0" eaLnBrk="1" fontAlgn="base" latinLnBrk="0" hangingPunct="1">
                        <a:lnSpc>
                          <a:spcPct val="100000"/>
                        </a:lnSpc>
                        <a:spcBef>
                          <a:spcPct val="0"/>
                        </a:spcBef>
                        <a:spcAft>
                          <a:spcPct val="0"/>
                        </a:spcAft>
                        <a:buClrTx/>
                        <a:buSzPct val="130000"/>
                        <a:buFontTx/>
                        <a:buNone/>
                        <a:tabLst/>
                      </a:pPr>
                      <a:r>
                        <a:rPr kumimoji="0" lang="en-GB" sz="1050" b="0" i="0" u="none" strike="noStrike" cap="none" normalizeH="0" baseline="0" dirty="0" smtClean="0">
                          <a:ln>
                            <a:noFill/>
                          </a:ln>
                          <a:solidFill>
                            <a:srgbClr val="000000"/>
                          </a:solidFill>
                          <a:effectLst/>
                          <a:latin typeface="Arial" pitchFamily="34" charset="0"/>
                        </a:rPr>
                        <a:t>An action to be performed at this stage that refer to a very specific entry or form being processed.</a:t>
                      </a:r>
                    </a:p>
                  </a:txBody>
                  <a:tcPr marL="36000" marR="36000" marT="46800" marB="468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sp>
        <p:nvSpPr>
          <p:cNvPr id="3" name="Rounded Rectangular Callout 2"/>
          <p:cNvSpPr/>
          <p:nvPr/>
        </p:nvSpPr>
        <p:spPr bwMode="auto">
          <a:xfrm>
            <a:off x="368488" y="4258101"/>
            <a:ext cx="1705972" cy="545911"/>
          </a:xfrm>
          <a:prstGeom prst="wedgeRoundRectCallout">
            <a:avLst>
              <a:gd name="adj1" fmla="val -20116"/>
              <a:gd name="adj2" fmla="val -162500"/>
              <a:gd name="adj3" fmla="val 16667"/>
            </a:avLst>
          </a:prstGeom>
          <a:solidFill>
            <a:schemeClr val="bg1">
              <a:lumMod val="75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rPr>
              <a:t>Key </a:t>
            </a:r>
            <a:r>
              <a:rPr kumimoji="0" lang="en-US" sz="1400" i="0" u="none" strike="noStrike" cap="none" normalizeH="0" baseline="0" dirty="0" smtClean="0">
                <a:ln>
                  <a:noFill/>
                </a:ln>
                <a:solidFill>
                  <a:schemeClr val="tx1"/>
                </a:solidFill>
                <a:effectLst/>
                <a:latin typeface="Arial" charset="0"/>
              </a:rPr>
              <a:t>steps</a:t>
            </a:r>
            <a:r>
              <a:rPr kumimoji="0" lang="en-US" sz="1400" b="0" i="0" u="none" strike="noStrike" cap="none" normalizeH="0" baseline="0" dirty="0" smtClean="0">
                <a:ln>
                  <a:noFill/>
                </a:ln>
                <a:solidFill>
                  <a:schemeClr val="tx1"/>
                </a:solidFill>
                <a:effectLst/>
                <a:latin typeface="Arial" charset="0"/>
              </a:rPr>
              <a:t> to follow in sequence</a:t>
            </a:r>
          </a:p>
        </p:txBody>
      </p:sp>
      <p:sp>
        <p:nvSpPr>
          <p:cNvPr id="5" name="Isosceles Triangle 4"/>
          <p:cNvSpPr/>
          <p:nvPr/>
        </p:nvSpPr>
        <p:spPr bwMode="auto">
          <a:xfrm>
            <a:off x="2447549" y="3630304"/>
            <a:ext cx="432132" cy="805218"/>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endParaRPr lang="en-US" sz="1400" b="0">
              <a:latin typeface="Arial" charset="0"/>
            </a:endParaRPr>
          </a:p>
        </p:txBody>
      </p:sp>
      <p:sp>
        <p:nvSpPr>
          <p:cNvPr id="16" name="Isosceles Triangle 15"/>
          <p:cNvSpPr/>
          <p:nvPr/>
        </p:nvSpPr>
        <p:spPr bwMode="auto">
          <a:xfrm>
            <a:off x="6091501" y="2852382"/>
            <a:ext cx="336595" cy="1583140"/>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endParaRPr lang="en-US" sz="1400" b="0">
              <a:latin typeface="Arial" charset="0"/>
            </a:endParaRPr>
          </a:p>
        </p:txBody>
      </p:sp>
      <p:sp>
        <p:nvSpPr>
          <p:cNvPr id="17" name="Rectangle 16"/>
          <p:cNvSpPr/>
          <p:nvPr/>
        </p:nvSpPr>
        <p:spPr bwMode="auto">
          <a:xfrm>
            <a:off x="2297420" y="4258101"/>
            <a:ext cx="4130675" cy="272955"/>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rPr>
              <a:t>Key </a:t>
            </a:r>
            <a:r>
              <a:rPr kumimoji="0" lang="en-US" sz="1400" i="0" u="none" strike="noStrike" cap="none" normalizeH="0" baseline="0" dirty="0" smtClean="0">
                <a:ln>
                  <a:noFill/>
                </a:ln>
                <a:solidFill>
                  <a:schemeClr val="tx1"/>
                </a:solidFill>
                <a:effectLst/>
                <a:latin typeface="Arial" charset="0"/>
              </a:rPr>
              <a:t>important points </a:t>
            </a:r>
            <a:r>
              <a:rPr kumimoji="0" lang="en-US" sz="1400" b="0" i="0" u="none" strike="noStrike" cap="none" normalizeH="0" baseline="0" dirty="0" smtClean="0">
                <a:ln>
                  <a:noFill/>
                </a:ln>
                <a:solidFill>
                  <a:schemeClr val="tx1"/>
                </a:solidFill>
                <a:effectLst/>
                <a:latin typeface="Arial" charset="0"/>
              </a:rPr>
              <a:t>to be aware of:</a:t>
            </a:r>
          </a:p>
        </p:txBody>
      </p:sp>
      <p:sp>
        <p:nvSpPr>
          <p:cNvPr id="18" name="Rectangle 17"/>
          <p:cNvSpPr/>
          <p:nvPr/>
        </p:nvSpPr>
        <p:spPr bwMode="auto">
          <a:xfrm>
            <a:off x="361740" y="1000860"/>
            <a:ext cx="4130675" cy="272955"/>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chemeClr val="accent3"/>
                </a:solidFill>
                <a:effectLst/>
                <a:latin typeface="Arial" charset="0"/>
              </a:rPr>
              <a:t>Standard operating procedure</a:t>
            </a:r>
          </a:p>
        </p:txBody>
      </p:sp>
      <p:sp>
        <p:nvSpPr>
          <p:cNvPr id="19" name="Rectangle 18"/>
          <p:cNvSpPr/>
          <p:nvPr/>
        </p:nvSpPr>
        <p:spPr bwMode="auto">
          <a:xfrm>
            <a:off x="4990176" y="1000860"/>
            <a:ext cx="4130675" cy="272955"/>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chemeClr val="accent3"/>
                </a:solidFill>
                <a:effectLst/>
                <a:latin typeface="Arial" charset="0"/>
              </a:rPr>
              <a:t>Decision tree</a:t>
            </a:r>
          </a:p>
        </p:txBody>
      </p:sp>
      <p:sp>
        <p:nvSpPr>
          <p:cNvPr id="15" name="Rectangle 14"/>
          <p:cNvSpPr/>
          <p:nvPr/>
        </p:nvSpPr>
        <p:spPr>
          <a:xfrm>
            <a:off x="21772" y="36286"/>
            <a:ext cx="9072000" cy="67680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2"/>
          <p:cNvSpPr txBox="1">
            <a:spLocks noChangeArrowheads="1"/>
          </p:cNvSpPr>
          <p:nvPr/>
        </p:nvSpPr>
        <p:spPr bwMode="auto">
          <a:xfrm>
            <a:off x="358775" y="358775"/>
            <a:ext cx="8245475" cy="4984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ts val="2400"/>
              </a:lnSpc>
              <a:spcBef>
                <a:spcPct val="0"/>
              </a:spcBef>
              <a:spcAft>
                <a:spcPct val="0"/>
              </a:spcAft>
              <a:defRPr sz="2200">
                <a:solidFill>
                  <a:srgbClr val="000066"/>
                </a:solidFill>
                <a:latin typeface="+mj-lt"/>
                <a:ea typeface="+mj-ea"/>
                <a:cs typeface="+mj-cs"/>
              </a:defRPr>
            </a:lvl1pPr>
            <a:lvl2pPr algn="l" rtl="0" eaLnBrk="0" fontAlgn="base" hangingPunct="0">
              <a:lnSpc>
                <a:spcPts val="2400"/>
              </a:lnSpc>
              <a:spcBef>
                <a:spcPct val="0"/>
              </a:spcBef>
              <a:spcAft>
                <a:spcPct val="0"/>
              </a:spcAft>
              <a:defRPr sz="2200">
                <a:solidFill>
                  <a:srgbClr val="000066"/>
                </a:solidFill>
                <a:latin typeface="Arial" charset="0"/>
              </a:defRPr>
            </a:lvl2pPr>
            <a:lvl3pPr algn="l" rtl="0" eaLnBrk="0" fontAlgn="base" hangingPunct="0">
              <a:lnSpc>
                <a:spcPts val="2400"/>
              </a:lnSpc>
              <a:spcBef>
                <a:spcPct val="0"/>
              </a:spcBef>
              <a:spcAft>
                <a:spcPct val="0"/>
              </a:spcAft>
              <a:defRPr sz="2200">
                <a:solidFill>
                  <a:srgbClr val="000066"/>
                </a:solidFill>
                <a:latin typeface="Arial" charset="0"/>
              </a:defRPr>
            </a:lvl3pPr>
            <a:lvl4pPr algn="l" rtl="0" eaLnBrk="0" fontAlgn="base" hangingPunct="0">
              <a:lnSpc>
                <a:spcPts val="2400"/>
              </a:lnSpc>
              <a:spcBef>
                <a:spcPct val="0"/>
              </a:spcBef>
              <a:spcAft>
                <a:spcPct val="0"/>
              </a:spcAft>
              <a:defRPr sz="2200">
                <a:solidFill>
                  <a:srgbClr val="000066"/>
                </a:solidFill>
                <a:latin typeface="Arial" charset="0"/>
              </a:defRPr>
            </a:lvl4pPr>
            <a:lvl5pPr algn="l" rtl="0" eaLnBrk="0" fontAlgn="base" hangingPunct="0">
              <a:lnSpc>
                <a:spcPts val="2400"/>
              </a:lnSpc>
              <a:spcBef>
                <a:spcPct val="0"/>
              </a:spcBef>
              <a:spcAft>
                <a:spcPct val="0"/>
              </a:spcAft>
              <a:defRPr sz="2200">
                <a:solidFill>
                  <a:srgbClr val="000066"/>
                </a:solidFill>
                <a:latin typeface="Arial" charset="0"/>
              </a:defRPr>
            </a:lvl5pPr>
            <a:lvl6pPr marL="457200" algn="l" rtl="0" fontAlgn="base">
              <a:lnSpc>
                <a:spcPts val="2400"/>
              </a:lnSpc>
              <a:spcBef>
                <a:spcPct val="0"/>
              </a:spcBef>
              <a:spcAft>
                <a:spcPct val="0"/>
              </a:spcAft>
              <a:defRPr sz="2200">
                <a:solidFill>
                  <a:srgbClr val="000066"/>
                </a:solidFill>
                <a:latin typeface="Arial" charset="0"/>
              </a:defRPr>
            </a:lvl6pPr>
            <a:lvl7pPr marL="914400" algn="l" rtl="0" fontAlgn="base">
              <a:lnSpc>
                <a:spcPts val="2400"/>
              </a:lnSpc>
              <a:spcBef>
                <a:spcPct val="0"/>
              </a:spcBef>
              <a:spcAft>
                <a:spcPct val="0"/>
              </a:spcAft>
              <a:defRPr sz="2200">
                <a:solidFill>
                  <a:srgbClr val="000066"/>
                </a:solidFill>
                <a:latin typeface="Arial" charset="0"/>
              </a:defRPr>
            </a:lvl7pPr>
            <a:lvl8pPr marL="1371600" algn="l" rtl="0" fontAlgn="base">
              <a:lnSpc>
                <a:spcPts val="2400"/>
              </a:lnSpc>
              <a:spcBef>
                <a:spcPct val="0"/>
              </a:spcBef>
              <a:spcAft>
                <a:spcPct val="0"/>
              </a:spcAft>
              <a:defRPr sz="2200">
                <a:solidFill>
                  <a:srgbClr val="000066"/>
                </a:solidFill>
                <a:latin typeface="Arial" charset="0"/>
              </a:defRPr>
            </a:lvl8pPr>
            <a:lvl9pPr marL="1828800" algn="l" rtl="0" fontAlgn="base">
              <a:lnSpc>
                <a:spcPts val="2400"/>
              </a:lnSpc>
              <a:spcBef>
                <a:spcPct val="0"/>
              </a:spcBef>
              <a:spcAft>
                <a:spcPct val="0"/>
              </a:spcAft>
              <a:defRPr sz="2200">
                <a:solidFill>
                  <a:srgbClr val="000066"/>
                </a:solidFill>
                <a:latin typeface="Arial" charset="0"/>
              </a:defRPr>
            </a:lvl9pPr>
          </a:lstStyle>
          <a:p>
            <a:r>
              <a:rPr lang="en-US" sz="2400" b="0" kern="0" dirty="0" smtClean="0"/>
              <a:t>Example</a:t>
            </a:r>
            <a:br>
              <a:rPr lang="en-US" sz="2400" b="0" kern="0" dirty="0" smtClean="0"/>
            </a:br>
            <a:r>
              <a:rPr lang="en-GB" sz="1800" b="1" kern="0" dirty="0" smtClean="0">
                <a:solidFill>
                  <a:srgbClr val="99CC33"/>
                </a:solidFill>
                <a:cs typeface="Arial" pitchFamily="34" charset="0"/>
              </a:rPr>
              <a:t>Standard Work in Lean service environment</a:t>
            </a:r>
          </a:p>
        </p:txBody>
      </p:sp>
    </p:spTree>
    <p:extLst>
      <p:ext uri="{BB962C8B-B14F-4D97-AF65-F5344CB8AC3E}">
        <p14:creationId xmlns:p14="http://schemas.microsoft.com/office/powerpoint/2010/main" val="1518682276"/>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a:defRPr/>
            </a:pPr>
            <a:fld id="{407A2718-9190-496F-923A-39C6AE739A5E}" type="slidenum">
              <a:rPr lang="en-GB" smtClean="0"/>
              <a:pPr>
                <a:defRPr/>
              </a:pPr>
              <a:t>59</a:t>
            </a:fld>
            <a:endParaRPr lang="en-GB"/>
          </a:p>
        </p:txBody>
      </p:sp>
      <p:pic>
        <p:nvPicPr>
          <p:cNvPr id="6" name="Picture 17"/>
          <p:cNvPicPr>
            <a:picLocks noChangeAspect="1" noChangeArrowheads="1"/>
          </p:cNvPicPr>
          <p:nvPr/>
        </p:nvPicPr>
        <p:blipFill>
          <a:blip r:embed="rId2">
            <a:extLst>
              <a:ext uri="{28A0092B-C50C-407E-A947-70E740481C1C}">
                <a14:useLocalDpi xmlns:a14="http://schemas.microsoft.com/office/drawing/2010/main" val="0"/>
              </a:ext>
            </a:extLst>
          </a:blip>
          <a:srcRect t="642" r="1009" b="6714"/>
          <a:stretch>
            <a:fillRect/>
          </a:stretch>
        </p:blipFill>
        <p:spPr bwMode="auto">
          <a:xfrm>
            <a:off x="629913" y="4063052"/>
            <a:ext cx="3573463" cy="2495550"/>
          </a:xfrm>
          <a:prstGeom prst="rect">
            <a:avLst/>
          </a:prstGeom>
          <a:noFill/>
          <a:ln w="3175"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18"/>
          <p:cNvPicPr>
            <a:picLocks noChangeAspect="1" noChangeArrowheads="1"/>
          </p:cNvPicPr>
          <p:nvPr/>
        </p:nvPicPr>
        <p:blipFill>
          <a:blip r:embed="rId3">
            <a:extLst>
              <a:ext uri="{28A0092B-C50C-407E-A947-70E740481C1C}">
                <a14:useLocalDpi xmlns:a14="http://schemas.microsoft.com/office/drawing/2010/main" val="0"/>
              </a:ext>
            </a:extLst>
          </a:blip>
          <a:srcRect l="838" t="1511" r="719" b="1064"/>
          <a:stretch>
            <a:fillRect/>
          </a:stretch>
        </p:blipFill>
        <p:spPr bwMode="auto">
          <a:xfrm>
            <a:off x="5117859" y="1129352"/>
            <a:ext cx="3568700" cy="2555875"/>
          </a:xfrm>
          <a:prstGeom prst="rect">
            <a:avLst/>
          </a:prstGeom>
          <a:noFill/>
          <a:ln w="3175"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19"/>
          <p:cNvPicPr>
            <a:picLocks noChangeAspect="1" noChangeArrowheads="1"/>
          </p:cNvPicPr>
          <p:nvPr/>
        </p:nvPicPr>
        <p:blipFill>
          <a:blip r:embed="rId4">
            <a:extLst>
              <a:ext uri="{28A0092B-C50C-407E-A947-70E740481C1C}">
                <a14:useLocalDpi xmlns:a14="http://schemas.microsoft.com/office/drawing/2010/main" val="0"/>
              </a:ext>
            </a:extLst>
          </a:blip>
          <a:srcRect l="343" t="566" r="1015" b="246"/>
          <a:stretch>
            <a:fillRect/>
          </a:stretch>
        </p:blipFill>
        <p:spPr bwMode="auto">
          <a:xfrm>
            <a:off x="5117859" y="4058290"/>
            <a:ext cx="3579813" cy="2473325"/>
          </a:xfrm>
          <a:prstGeom prst="rect">
            <a:avLst/>
          </a:prstGeom>
          <a:noFill/>
          <a:ln w="3175"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Oval 278"/>
          <p:cNvSpPr>
            <a:spLocks noChangeArrowheads="1"/>
          </p:cNvSpPr>
          <p:nvPr/>
        </p:nvSpPr>
        <p:spPr bwMode="gray">
          <a:xfrm>
            <a:off x="5054359" y="1557977"/>
            <a:ext cx="260350" cy="269875"/>
          </a:xfrm>
          <a:prstGeom prst="ellipse">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grpSp>
        <p:nvGrpSpPr>
          <p:cNvPr id="11" name="Group 95"/>
          <p:cNvGrpSpPr>
            <a:grpSpLocks/>
          </p:cNvGrpSpPr>
          <p:nvPr/>
        </p:nvGrpSpPr>
        <p:grpSpPr bwMode="auto">
          <a:xfrm>
            <a:off x="2270636" y="1105540"/>
            <a:ext cx="2182813" cy="2595562"/>
            <a:chOff x="2643173" y="1119861"/>
            <a:chExt cx="2182277" cy="2594891"/>
          </a:xfrm>
        </p:grpSpPr>
        <p:sp>
          <p:nvSpPr>
            <p:cNvPr id="12" name="Line 100"/>
            <p:cNvSpPr>
              <a:spLocks noChangeShapeType="1"/>
            </p:cNvSpPr>
            <p:nvPr/>
          </p:nvSpPr>
          <p:spPr bwMode="auto">
            <a:xfrm>
              <a:off x="2792909" y="3441722"/>
              <a:ext cx="2032541" cy="1031"/>
            </a:xfrm>
            <a:prstGeom prst="line">
              <a:avLst/>
            </a:prstGeom>
            <a:noFill/>
            <a:ln w="254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fr-FR"/>
            </a:p>
          </p:txBody>
        </p:sp>
        <p:sp>
          <p:nvSpPr>
            <p:cNvPr id="13" name="Rectangle 152"/>
            <p:cNvSpPr>
              <a:spLocks noChangeArrowheads="1"/>
            </p:cNvSpPr>
            <p:nvPr/>
          </p:nvSpPr>
          <p:spPr bwMode="auto">
            <a:xfrm>
              <a:off x="3373158" y="3103652"/>
              <a:ext cx="250460" cy="332917"/>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14" name="Rectangle 153"/>
            <p:cNvSpPr>
              <a:spLocks noChangeArrowheads="1"/>
            </p:cNvSpPr>
            <p:nvPr/>
          </p:nvSpPr>
          <p:spPr bwMode="auto">
            <a:xfrm>
              <a:off x="3373158" y="2564596"/>
              <a:ext cx="250460" cy="539057"/>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15" name="Rectangle 154"/>
            <p:cNvSpPr>
              <a:spLocks noChangeArrowheads="1"/>
            </p:cNvSpPr>
            <p:nvPr/>
          </p:nvSpPr>
          <p:spPr bwMode="auto">
            <a:xfrm>
              <a:off x="3373158" y="1774048"/>
              <a:ext cx="250460" cy="273136"/>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16" name="Rectangle 155"/>
            <p:cNvSpPr>
              <a:spLocks noChangeArrowheads="1"/>
            </p:cNvSpPr>
            <p:nvPr/>
          </p:nvSpPr>
          <p:spPr bwMode="auto">
            <a:xfrm>
              <a:off x="3373158" y="2292491"/>
              <a:ext cx="250460" cy="277258"/>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17" name="Rectangle 156"/>
            <p:cNvSpPr>
              <a:spLocks noChangeArrowheads="1"/>
            </p:cNvSpPr>
            <p:nvPr/>
          </p:nvSpPr>
          <p:spPr bwMode="auto">
            <a:xfrm>
              <a:off x="3373158" y="2047184"/>
              <a:ext cx="250460" cy="245306"/>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18" name="Rectangle 157"/>
            <p:cNvSpPr>
              <a:spLocks noChangeArrowheads="1"/>
            </p:cNvSpPr>
            <p:nvPr/>
          </p:nvSpPr>
          <p:spPr bwMode="auto">
            <a:xfrm>
              <a:off x="2792909" y="1185519"/>
              <a:ext cx="702938" cy="228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19" name="Rectangle 158"/>
            <p:cNvSpPr>
              <a:spLocks noChangeArrowheads="1"/>
            </p:cNvSpPr>
            <p:nvPr/>
          </p:nvSpPr>
          <p:spPr bwMode="auto">
            <a:xfrm>
              <a:off x="4056234" y="1119861"/>
              <a:ext cx="66345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1200" b="1">
                  <a:solidFill>
                    <a:srgbClr val="3C8A2E"/>
                  </a:solidFill>
                </a:rPr>
                <a:t>Takt time</a:t>
              </a:r>
            </a:p>
          </p:txBody>
        </p:sp>
        <p:sp>
          <p:nvSpPr>
            <p:cNvPr id="20" name="Rectangle 159"/>
            <p:cNvSpPr>
              <a:spLocks noChangeArrowheads="1"/>
            </p:cNvSpPr>
            <p:nvPr/>
          </p:nvSpPr>
          <p:spPr bwMode="auto">
            <a:xfrm>
              <a:off x="3373158" y="1447317"/>
              <a:ext cx="250460" cy="326731"/>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21" name="Rectangle 160"/>
            <p:cNvSpPr>
              <a:spLocks noChangeArrowheads="1"/>
            </p:cNvSpPr>
            <p:nvPr/>
          </p:nvSpPr>
          <p:spPr bwMode="auto">
            <a:xfrm>
              <a:off x="2973281" y="3103652"/>
              <a:ext cx="245306" cy="332917"/>
            </a:xfrm>
            <a:prstGeom prst="rect">
              <a:avLst/>
            </a:prstGeom>
            <a:solidFill>
              <a:srgbClr val="0066FF"/>
            </a:solidFill>
            <a:ln w="17526" cap="rnd">
              <a:solidFill>
                <a:srgbClr val="000000"/>
              </a:solidFill>
              <a:miter lim="800000"/>
              <a:headEnd/>
              <a:tailEnd/>
            </a:ln>
          </p:spPr>
          <p:txBody>
            <a:bodyPr anchor="ct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algn="ctr" eaLnBrk="1" hangingPunct="1"/>
              <a:r>
                <a:rPr lang="en-GB" altLang="fr-FR" sz="1000"/>
                <a:t>5</a:t>
              </a:r>
            </a:p>
          </p:txBody>
        </p:sp>
        <p:sp>
          <p:nvSpPr>
            <p:cNvPr id="22" name="Rectangle 161"/>
            <p:cNvSpPr>
              <a:spLocks noChangeArrowheads="1"/>
            </p:cNvSpPr>
            <p:nvPr/>
          </p:nvSpPr>
          <p:spPr bwMode="auto">
            <a:xfrm>
              <a:off x="2973281" y="2292491"/>
              <a:ext cx="245306" cy="539057"/>
            </a:xfrm>
            <a:prstGeom prst="rect">
              <a:avLst/>
            </a:prstGeom>
            <a:solidFill>
              <a:srgbClr val="9999FF"/>
            </a:solidFill>
            <a:ln w="17526" cap="rnd">
              <a:solidFill>
                <a:srgbClr val="000000"/>
              </a:solidFill>
              <a:miter lim="800000"/>
              <a:headEnd/>
              <a:tailEnd/>
            </a:ln>
          </p:spPr>
          <p:txBody>
            <a:bodyPr anchor="ct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algn="ctr" eaLnBrk="1" hangingPunct="1"/>
              <a:r>
                <a:rPr lang="en-GB" altLang="fr-FR" sz="1000"/>
                <a:t>3</a:t>
              </a:r>
            </a:p>
          </p:txBody>
        </p:sp>
        <p:sp>
          <p:nvSpPr>
            <p:cNvPr id="23" name="Rectangle 162"/>
            <p:cNvSpPr>
              <a:spLocks noChangeArrowheads="1"/>
            </p:cNvSpPr>
            <p:nvPr/>
          </p:nvSpPr>
          <p:spPr bwMode="auto">
            <a:xfrm>
              <a:off x="2973281" y="1562751"/>
              <a:ext cx="245306" cy="484433"/>
            </a:xfrm>
            <a:prstGeom prst="rect">
              <a:avLst/>
            </a:prstGeom>
            <a:solidFill>
              <a:srgbClr val="99CCFF"/>
            </a:solidFill>
            <a:ln w="17526" cap="rnd">
              <a:solidFill>
                <a:srgbClr val="000000"/>
              </a:solidFill>
              <a:miter lim="800000"/>
              <a:headEnd/>
              <a:tailEnd/>
            </a:ln>
          </p:spPr>
          <p:txBody>
            <a:bodyPr anchor="ct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algn="ctr" eaLnBrk="1" hangingPunct="1"/>
              <a:r>
                <a:rPr lang="en-GB" altLang="fr-FR" sz="1000"/>
                <a:t>1</a:t>
              </a:r>
            </a:p>
          </p:txBody>
        </p:sp>
        <p:sp>
          <p:nvSpPr>
            <p:cNvPr id="24" name="Rectangle 163"/>
            <p:cNvSpPr>
              <a:spLocks noChangeArrowheads="1"/>
            </p:cNvSpPr>
            <p:nvPr/>
          </p:nvSpPr>
          <p:spPr bwMode="auto">
            <a:xfrm>
              <a:off x="2973281" y="2831547"/>
              <a:ext cx="245306" cy="272105"/>
            </a:xfrm>
            <a:prstGeom prst="rect">
              <a:avLst/>
            </a:prstGeom>
            <a:solidFill>
              <a:srgbClr val="6666FF"/>
            </a:solidFill>
            <a:ln w="17526" cap="rnd">
              <a:solidFill>
                <a:srgbClr val="000000"/>
              </a:solidFill>
              <a:miter lim="800000"/>
              <a:headEnd/>
              <a:tailEnd/>
            </a:ln>
          </p:spPr>
          <p:txBody>
            <a:bodyPr anchor="ct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algn="ctr" eaLnBrk="1" hangingPunct="1"/>
              <a:r>
                <a:rPr lang="en-GB" altLang="fr-FR" sz="1000"/>
                <a:t>4</a:t>
              </a:r>
            </a:p>
          </p:txBody>
        </p:sp>
        <p:sp>
          <p:nvSpPr>
            <p:cNvPr id="25" name="Rectangle 164"/>
            <p:cNvSpPr>
              <a:spLocks noChangeArrowheads="1"/>
            </p:cNvSpPr>
            <p:nvPr/>
          </p:nvSpPr>
          <p:spPr bwMode="auto">
            <a:xfrm>
              <a:off x="2973281" y="2047184"/>
              <a:ext cx="245306" cy="245306"/>
            </a:xfrm>
            <a:prstGeom prst="rect">
              <a:avLst/>
            </a:prstGeom>
            <a:solidFill>
              <a:srgbClr val="6699FF"/>
            </a:solidFill>
            <a:ln w="17526" cap="rnd">
              <a:solidFill>
                <a:srgbClr val="000000"/>
              </a:solidFill>
              <a:miter lim="800000"/>
              <a:headEnd/>
              <a:tailEnd/>
            </a:ln>
          </p:spPr>
          <p:txBody>
            <a:bodyPr anchor="ct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algn="ctr" eaLnBrk="1" hangingPunct="1"/>
              <a:r>
                <a:rPr lang="en-GB" altLang="fr-FR" sz="1000"/>
                <a:t>2</a:t>
              </a:r>
            </a:p>
          </p:txBody>
        </p:sp>
        <p:sp>
          <p:nvSpPr>
            <p:cNvPr id="26" name="Rectangle 165"/>
            <p:cNvSpPr>
              <a:spLocks noChangeArrowheads="1"/>
            </p:cNvSpPr>
            <p:nvPr/>
          </p:nvSpPr>
          <p:spPr bwMode="auto">
            <a:xfrm>
              <a:off x="3803991" y="2869684"/>
              <a:ext cx="245306" cy="566885"/>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27" name="Rectangle 166"/>
            <p:cNvSpPr>
              <a:spLocks noChangeArrowheads="1"/>
            </p:cNvSpPr>
            <p:nvPr/>
          </p:nvSpPr>
          <p:spPr bwMode="auto">
            <a:xfrm>
              <a:off x="3803991" y="2330626"/>
              <a:ext cx="245306" cy="539057"/>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28" name="Rectangle 167"/>
            <p:cNvSpPr>
              <a:spLocks noChangeArrowheads="1"/>
            </p:cNvSpPr>
            <p:nvPr/>
          </p:nvSpPr>
          <p:spPr bwMode="auto">
            <a:xfrm>
              <a:off x="3803991" y="2068829"/>
              <a:ext cx="245306" cy="266952"/>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29" name="Rectangle 168"/>
            <p:cNvSpPr>
              <a:spLocks noChangeArrowheads="1"/>
            </p:cNvSpPr>
            <p:nvPr/>
          </p:nvSpPr>
          <p:spPr bwMode="auto">
            <a:xfrm>
              <a:off x="3803991" y="1516370"/>
              <a:ext cx="245306" cy="552460"/>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30" name="Rectangle 169"/>
            <p:cNvSpPr>
              <a:spLocks noChangeArrowheads="1"/>
            </p:cNvSpPr>
            <p:nvPr/>
          </p:nvSpPr>
          <p:spPr bwMode="auto">
            <a:xfrm>
              <a:off x="4211090" y="2897513"/>
              <a:ext cx="245306" cy="539057"/>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31" name="Rectangle 170"/>
            <p:cNvSpPr>
              <a:spLocks noChangeArrowheads="1"/>
            </p:cNvSpPr>
            <p:nvPr/>
          </p:nvSpPr>
          <p:spPr bwMode="auto">
            <a:xfrm>
              <a:off x="4211090" y="1970913"/>
              <a:ext cx="245306" cy="539057"/>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32" name="Rectangle 171"/>
            <p:cNvSpPr>
              <a:spLocks noChangeArrowheads="1"/>
            </p:cNvSpPr>
            <p:nvPr/>
          </p:nvSpPr>
          <p:spPr bwMode="auto">
            <a:xfrm>
              <a:off x="4211090" y="2629530"/>
              <a:ext cx="245306" cy="266952"/>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33" name="Rectangle 172"/>
            <p:cNvSpPr>
              <a:spLocks noChangeArrowheads="1"/>
            </p:cNvSpPr>
            <p:nvPr/>
          </p:nvSpPr>
          <p:spPr bwMode="auto">
            <a:xfrm>
              <a:off x="4211090" y="1703961"/>
              <a:ext cx="245306" cy="266952"/>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34" name="Rectangle 173"/>
            <p:cNvSpPr>
              <a:spLocks noChangeArrowheads="1"/>
            </p:cNvSpPr>
            <p:nvPr/>
          </p:nvSpPr>
          <p:spPr bwMode="auto">
            <a:xfrm>
              <a:off x="4211090" y="2438850"/>
              <a:ext cx="245306" cy="237065"/>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35" name="Rectangle 174"/>
            <p:cNvSpPr>
              <a:spLocks noChangeArrowheads="1"/>
            </p:cNvSpPr>
            <p:nvPr/>
          </p:nvSpPr>
          <p:spPr bwMode="auto">
            <a:xfrm>
              <a:off x="4211090" y="1430825"/>
              <a:ext cx="245306" cy="273135"/>
            </a:xfrm>
            <a:prstGeom prst="rect">
              <a:avLst/>
            </a:prstGeom>
            <a:solidFill>
              <a:srgbClr val="0066FF"/>
            </a:solidFill>
            <a:ln w="17526" cap="rnd">
              <a:solidFill>
                <a:srgbClr val="000000"/>
              </a:solidFill>
              <a:miter lim="800000"/>
              <a:headEnd/>
              <a:tailEnd/>
            </a:ln>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36" name="Rectangle 176"/>
            <p:cNvSpPr>
              <a:spLocks noChangeArrowheads="1"/>
            </p:cNvSpPr>
            <p:nvPr/>
          </p:nvSpPr>
          <p:spPr bwMode="auto">
            <a:xfrm rot="-5400000">
              <a:off x="2600502" y="1490820"/>
              <a:ext cx="185256" cy="9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1000">
                  <a:solidFill>
                    <a:srgbClr val="000000"/>
                  </a:solidFill>
                </a:rPr>
                <a:t>Time</a:t>
              </a:r>
              <a:endParaRPr lang="en-GB" altLang="fr-FR" sz="1000"/>
            </a:p>
          </p:txBody>
        </p:sp>
        <p:sp>
          <p:nvSpPr>
            <p:cNvPr id="37" name="Rectangle 177"/>
            <p:cNvSpPr>
              <a:spLocks noChangeArrowheads="1"/>
            </p:cNvSpPr>
            <p:nvPr/>
          </p:nvSpPr>
          <p:spPr bwMode="auto">
            <a:xfrm>
              <a:off x="3000080" y="3431415"/>
              <a:ext cx="180373" cy="20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38" name="Rectangle 179"/>
            <p:cNvSpPr>
              <a:spLocks noChangeArrowheads="1"/>
            </p:cNvSpPr>
            <p:nvPr/>
          </p:nvSpPr>
          <p:spPr bwMode="auto">
            <a:xfrm>
              <a:off x="3400987" y="3431415"/>
              <a:ext cx="174189" cy="20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39" name="Rectangle 181"/>
            <p:cNvSpPr>
              <a:spLocks noChangeArrowheads="1"/>
            </p:cNvSpPr>
            <p:nvPr/>
          </p:nvSpPr>
          <p:spPr bwMode="auto">
            <a:xfrm>
              <a:off x="3858617" y="3431415"/>
              <a:ext cx="174189" cy="20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40" name="Rectangle 183"/>
            <p:cNvSpPr>
              <a:spLocks noChangeArrowheads="1"/>
            </p:cNvSpPr>
            <p:nvPr/>
          </p:nvSpPr>
          <p:spPr bwMode="auto">
            <a:xfrm>
              <a:off x="4265717" y="3431415"/>
              <a:ext cx="179342" cy="20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41" name="Rectangle 184"/>
            <p:cNvSpPr>
              <a:spLocks noChangeArrowheads="1"/>
            </p:cNvSpPr>
            <p:nvPr/>
          </p:nvSpPr>
          <p:spPr bwMode="auto">
            <a:xfrm>
              <a:off x="4300795" y="3469551"/>
              <a:ext cx="54120" cy="89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900">
                  <a:solidFill>
                    <a:srgbClr val="000000"/>
                  </a:solidFill>
                </a:rPr>
                <a:t>D</a:t>
              </a:r>
              <a:endParaRPr lang="en-GB" altLang="fr-FR" sz="900"/>
            </a:p>
          </p:txBody>
        </p:sp>
        <p:sp>
          <p:nvSpPr>
            <p:cNvPr id="42" name="Line 185"/>
            <p:cNvSpPr>
              <a:spLocks noChangeShapeType="1"/>
            </p:cNvSpPr>
            <p:nvPr/>
          </p:nvSpPr>
          <p:spPr bwMode="auto">
            <a:xfrm>
              <a:off x="2816576" y="1199887"/>
              <a:ext cx="0" cy="2236682"/>
            </a:xfrm>
            <a:prstGeom prst="line">
              <a:avLst/>
            </a:prstGeom>
            <a:noFill/>
            <a:ln w="25400">
              <a:solidFill>
                <a:srgbClr val="000000"/>
              </a:solidFill>
              <a:miter lim="800000"/>
              <a:headEnd type="triangle" w="lg" len="lg"/>
              <a:tailEnd/>
            </a:ln>
            <a:extLst>
              <a:ext uri="{909E8E84-426E-40DD-AFC4-6F175D3DCCD1}">
                <a14:hiddenFill xmlns:a14="http://schemas.microsoft.com/office/drawing/2010/main">
                  <a:noFill/>
                </a14:hiddenFill>
              </a:ext>
            </a:extLst>
          </p:spPr>
          <p:txBody>
            <a:bodyPr/>
            <a:lstStyle/>
            <a:p>
              <a:endParaRPr lang="fr-FR"/>
            </a:p>
          </p:txBody>
        </p:sp>
        <p:sp>
          <p:nvSpPr>
            <p:cNvPr id="43" name="Line 186"/>
            <p:cNvSpPr>
              <a:spLocks noChangeShapeType="1"/>
            </p:cNvSpPr>
            <p:nvPr/>
          </p:nvSpPr>
          <p:spPr bwMode="auto">
            <a:xfrm>
              <a:off x="2792909" y="3441722"/>
              <a:ext cx="2032541" cy="1031"/>
            </a:xfrm>
            <a:prstGeom prst="line">
              <a:avLst/>
            </a:prstGeom>
            <a:noFill/>
            <a:ln w="25400">
              <a:solidFill>
                <a:srgbClr val="000000"/>
              </a:solidFill>
              <a:miter lim="800000"/>
              <a:headEnd/>
              <a:tailEnd type="triangle" w="lg" len="lg"/>
            </a:ln>
            <a:extLst>
              <a:ext uri="{909E8E84-426E-40DD-AFC4-6F175D3DCCD1}">
                <a14:hiddenFill xmlns:a14="http://schemas.microsoft.com/office/drawing/2010/main">
                  <a:noFill/>
                </a14:hiddenFill>
              </a:ext>
            </a:extLst>
          </p:spPr>
          <p:txBody>
            <a:bodyPr/>
            <a:lstStyle/>
            <a:p>
              <a:endParaRPr lang="fr-FR"/>
            </a:p>
          </p:txBody>
        </p:sp>
        <p:sp>
          <p:nvSpPr>
            <p:cNvPr id="44" name="Rectangle 264"/>
            <p:cNvSpPr>
              <a:spLocks noChangeArrowheads="1"/>
            </p:cNvSpPr>
            <p:nvPr/>
          </p:nvSpPr>
          <p:spPr bwMode="auto">
            <a:xfrm>
              <a:off x="3000080" y="3431415"/>
              <a:ext cx="180373" cy="20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45" name="Rectangle 265"/>
            <p:cNvSpPr>
              <a:spLocks noChangeArrowheads="1"/>
            </p:cNvSpPr>
            <p:nvPr/>
          </p:nvSpPr>
          <p:spPr bwMode="auto">
            <a:xfrm>
              <a:off x="3083566" y="3469551"/>
              <a:ext cx="49957" cy="89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900">
                  <a:solidFill>
                    <a:srgbClr val="000000"/>
                  </a:solidFill>
                </a:rPr>
                <a:t>A</a:t>
              </a:r>
              <a:endParaRPr lang="en-GB" altLang="fr-FR" sz="900"/>
            </a:p>
          </p:txBody>
        </p:sp>
        <p:sp>
          <p:nvSpPr>
            <p:cNvPr id="46" name="Rectangle 266"/>
            <p:cNvSpPr>
              <a:spLocks noChangeArrowheads="1"/>
            </p:cNvSpPr>
            <p:nvPr/>
          </p:nvSpPr>
          <p:spPr bwMode="auto">
            <a:xfrm>
              <a:off x="3400987" y="3431415"/>
              <a:ext cx="174189" cy="20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47" name="Rectangle 267"/>
            <p:cNvSpPr>
              <a:spLocks noChangeArrowheads="1"/>
            </p:cNvSpPr>
            <p:nvPr/>
          </p:nvSpPr>
          <p:spPr bwMode="auto">
            <a:xfrm>
              <a:off x="3478290" y="3469551"/>
              <a:ext cx="49957" cy="89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900">
                  <a:solidFill>
                    <a:srgbClr val="000000"/>
                  </a:solidFill>
                </a:rPr>
                <a:t>B</a:t>
              </a:r>
              <a:endParaRPr lang="en-GB" altLang="fr-FR" sz="900"/>
            </a:p>
          </p:txBody>
        </p:sp>
        <p:sp>
          <p:nvSpPr>
            <p:cNvPr id="48" name="Rectangle 268"/>
            <p:cNvSpPr>
              <a:spLocks noChangeArrowheads="1"/>
            </p:cNvSpPr>
            <p:nvPr/>
          </p:nvSpPr>
          <p:spPr bwMode="auto">
            <a:xfrm>
              <a:off x="3858617" y="3431415"/>
              <a:ext cx="174189" cy="20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49" name="Rectangle 269"/>
            <p:cNvSpPr>
              <a:spLocks noChangeArrowheads="1"/>
            </p:cNvSpPr>
            <p:nvPr/>
          </p:nvSpPr>
          <p:spPr bwMode="auto">
            <a:xfrm>
              <a:off x="3892632" y="3469551"/>
              <a:ext cx="54120" cy="89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900">
                  <a:solidFill>
                    <a:srgbClr val="000000"/>
                  </a:solidFill>
                </a:rPr>
                <a:t>C</a:t>
              </a:r>
              <a:endParaRPr lang="en-GB" altLang="fr-FR" sz="900"/>
            </a:p>
          </p:txBody>
        </p:sp>
        <p:sp>
          <p:nvSpPr>
            <p:cNvPr id="50" name="Rectangle 270"/>
            <p:cNvSpPr>
              <a:spLocks noChangeArrowheads="1"/>
            </p:cNvSpPr>
            <p:nvPr/>
          </p:nvSpPr>
          <p:spPr bwMode="auto">
            <a:xfrm>
              <a:off x="4265717" y="3431415"/>
              <a:ext cx="179342" cy="20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51" name="Line 273"/>
            <p:cNvSpPr>
              <a:spLocks noChangeShapeType="1"/>
            </p:cNvSpPr>
            <p:nvPr/>
          </p:nvSpPr>
          <p:spPr bwMode="gray">
            <a:xfrm flipV="1">
              <a:off x="2773325" y="1357298"/>
              <a:ext cx="1869869" cy="0"/>
            </a:xfrm>
            <a:prstGeom prst="line">
              <a:avLst/>
            </a:prstGeom>
            <a:noFill/>
            <a:ln w="25400">
              <a:solidFill>
                <a:srgbClr val="3C8A2E"/>
              </a:solidFill>
              <a:prstDash val="dash"/>
              <a:round/>
              <a:headEnd/>
              <a:tailEnd/>
            </a:ln>
            <a:extLst>
              <a:ext uri="{909E8E84-426E-40DD-AFC4-6F175D3DCCD1}">
                <a14:hiddenFill xmlns:a14="http://schemas.microsoft.com/office/drawing/2010/main">
                  <a:noFill/>
                </a14:hiddenFill>
              </a:ext>
            </a:extLst>
          </p:spPr>
          <p:txBody>
            <a:bodyPr lIns="0" tIns="0" rIns="0" bIns="0" anchor="ctr"/>
            <a:lstStyle/>
            <a:p>
              <a:endParaRPr lang="fr-FR"/>
            </a:p>
          </p:txBody>
        </p:sp>
        <p:sp>
          <p:nvSpPr>
            <p:cNvPr id="52" name="Rectangle 276"/>
            <p:cNvSpPr>
              <a:spLocks noChangeArrowheads="1"/>
            </p:cNvSpPr>
            <p:nvPr/>
          </p:nvSpPr>
          <p:spPr bwMode="auto">
            <a:xfrm>
              <a:off x="3465318" y="3614839"/>
              <a:ext cx="516219" cy="9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19075" indent="-219075" defTabSz="844550" eaLnBrk="0" hangingPunct="0">
                <a:defRPr sz="800">
                  <a:solidFill>
                    <a:schemeClr val="tx1"/>
                  </a:solidFill>
                  <a:latin typeface="Arial" pitchFamily="34" charset="0"/>
                </a:defRPr>
              </a:lvl1pPr>
              <a:lvl2pPr marL="742950" indent="-285750" defTabSz="844550" eaLnBrk="0" hangingPunct="0">
                <a:defRPr sz="800">
                  <a:solidFill>
                    <a:schemeClr val="tx1"/>
                  </a:solidFill>
                  <a:latin typeface="Arial" pitchFamily="34" charset="0"/>
                </a:defRPr>
              </a:lvl2pPr>
              <a:lvl3pPr marL="1143000" indent="-228600" defTabSz="844550" eaLnBrk="0" hangingPunct="0">
                <a:defRPr sz="800">
                  <a:solidFill>
                    <a:schemeClr val="tx1"/>
                  </a:solidFill>
                  <a:latin typeface="Arial" pitchFamily="34" charset="0"/>
                </a:defRPr>
              </a:lvl3pPr>
              <a:lvl4pPr marL="1600200" indent="-228600" defTabSz="844550" eaLnBrk="0" hangingPunct="0">
                <a:defRPr sz="800">
                  <a:solidFill>
                    <a:schemeClr val="tx1"/>
                  </a:solidFill>
                  <a:latin typeface="Arial" pitchFamily="34" charset="0"/>
                </a:defRPr>
              </a:lvl4pPr>
              <a:lvl5pPr marL="2057400" indent="-228600" defTabSz="844550" eaLnBrk="0" hangingPunct="0">
                <a:defRPr sz="800">
                  <a:solidFill>
                    <a:schemeClr val="tx1"/>
                  </a:solidFill>
                  <a:latin typeface="Arial" pitchFamily="34" charset="0"/>
                </a:defRPr>
              </a:lvl5pPr>
              <a:lvl6pPr marL="2514600" indent="-228600" defTabSz="844550" eaLnBrk="0" fontAlgn="base" hangingPunct="0">
                <a:spcBef>
                  <a:spcPct val="0"/>
                </a:spcBef>
                <a:spcAft>
                  <a:spcPct val="0"/>
                </a:spcAft>
                <a:defRPr sz="800">
                  <a:solidFill>
                    <a:schemeClr val="tx1"/>
                  </a:solidFill>
                  <a:latin typeface="Arial" pitchFamily="34" charset="0"/>
                </a:defRPr>
              </a:lvl6pPr>
              <a:lvl7pPr marL="2971800" indent="-228600" defTabSz="844550" eaLnBrk="0" fontAlgn="base" hangingPunct="0">
                <a:spcBef>
                  <a:spcPct val="0"/>
                </a:spcBef>
                <a:spcAft>
                  <a:spcPct val="0"/>
                </a:spcAft>
                <a:defRPr sz="800">
                  <a:solidFill>
                    <a:schemeClr val="tx1"/>
                  </a:solidFill>
                  <a:latin typeface="Arial" pitchFamily="34" charset="0"/>
                </a:defRPr>
              </a:lvl7pPr>
              <a:lvl8pPr marL="3429000" indent="-228600" defTabSz="844550" eaLnBrk="0" fontAlgn="base" hangingPunct="0">
                <a:spcBef>
                  <a:spcPct val="0"/>
                </a:spcBef>
                <a:spcAft>
                  <a:spcPct val="0"/>
                </a:spcAft>
                <a:defRPr sz="800">
                  <a:solidFill>
                    <a:schemeClr val="tx1"/>
                  </a:solidFill>
                  <a:latin typeface="Arial" pitchFamily="34" charset="0"/>
                </a:defRPr>
              </a:lvl8pPr>
              <a:lvl9pPr marL="3886200" indent="-228600" defTabSz="84455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1000">
                  <a:solidFill>
                    <a:srgbClr val="000000"/>
                  </a:solidFill>
                </a:rPr>
                <a:t>Work Stations</a:t>
              </a:r>
              <a:endParaRPr lang="en-GB" altLang="fr-FR" sz="1000"/>
            </a:p>
          </p:txBody>
        </p:sp>
        <p:sp>
          <p:nvSpPr>
            <p:cNvPr id="53" name="Oval 277"/>
            <p:cNvSpPr>
              <a:spLocks noChangeArrowheads="1"/>
            </p:cNvSpPr>
            <p:nvPr/>
          </p:nvSpPr>
          <p:spPr bwMode="gray">
            <a:xfrm>
              <a:off x="3012448" y="1712205"/>
              <a:ext cx="169035" cy="175219"/>
            </a:xfrm>
            <a:prstGeom prst="ellipse">
              <a:avLst/>
            </a:prstGeom>
            <a:noFill/>
            <a:ln w="1905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54" name="Rectangle 73"/>
            <p:cNvSpPr>
              <a:spLocks noChangeArrowheads="1"/>
            </p:cNvSpPr>
            <p:nvPr/>
          </p:nvSpPr>
          <p:spPr bwMode="auto">
            <a:xfrm>
              <a:off x="2958353" y="1546412"/>
              <a:ext cx="282388" cy="1882588"/>
            </a:xfrm>
            <a:prstGeom prst="rect">
              <a:avLst/>
            </a:prstGeom>
            <a:noFill/>
            <a:ln w="28575"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none"/>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grpSp>
      <p:cxnSp>
        <p:nvCxnSpPr>
          <p:cNvPr id="55" name="Straight Arrow Connector 75"/>
          <p:cNvCxnSpPr>
            <a:cxnSpLocks noChangeShapeType="1"/>
            <a:stCxn id="53" idx="6"/>
            <a:endCxn id="10" idx="2"/>
          </p:cNvCxnSpPr>
          <p:nvPr/>
        </p:nvCxnSpPr>
        <p:spPr bwMode="auto">
          <a:xfrm flipV="1">
            <a:off x="2809079" y="1692915"/>
            <a:ext cx="2245280" cy="92754"/>
          </a:xfrm>
          <a:prstGeom prst="straightConnector1">
            <a:avLst/>
          </a:prstGeom>
          <a:noFill/>
          <a:ln w="19050" algn="ctr">
            <a:solidFill>
              <a:srgbClr val="FF0000"/>
            </a:solidFill>
            <a:prstDash val="dash"/>
            <a:round/>
            <a:headEnd/>
            <a:tailEnd type="triangle" w="med" len="med"/>
          </a:ln>
          <a:extLst>
            <a:ext uri="{909E8E84-426E-40DD-AFC4-6F175D3DCCD1}">
              <a14:hiddenFill xmlns:a14="http://schemas.microsoft.com/office/drawing/2010/main">
                <a:noFill/>
              </a14:hiddenFill>
            </a:ext>
          </a:extLst>
        </p:spPr>
      </p:cxnSp>
      <p:sp>
        <p:nvSpPr>
          <p:cNvPr id="56" name="TextBox 79"/>
          <p:cNvSpPr txBox="1">
            <a:spLocks noChangeArrowheads="1"/>
          </p:cNvSpPr>
          <p:nvPr/>
        </p:nvSpPr>
        <p:spPr bwMode="auto">
          <a:xfrm>
            <a:off x="5125797" y="845190"/>
            <a:ext cx="2425700"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1200" b="1" u="sng">
                <a:solidFill>
                  <a:srgbClr val="000000"/>
                </a:solidFill>
              </a:rPr>
              <a:t>Standardised Operating Procedure</a:t>
            </a:r>
          </a:p>
        </p:txBody>
      </p:sp>
      <p:sp>
        <p:nvSpPr>
          <p:cNvPr id="59" name="TextBox 89"/>
          <p:cNvSpPr txBox="1">
            <a:spLocks noChangeArrowheads="1"/>
          </p:cNvSpPr>
          <p:nvPr/>
        </p:nvSpPr>
        <p:spPr bwMode="auto">
          <a:xfrm>
            <a:off x="5125797" y="3772540"/>
            <a:ext cx="30051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1200" b="1" u="sng">
                <a:solidFill>
                  <a:srgbClr val="000000"/>
                </a:solidFill>
              </a:rPr>
              <a:t>Standardised Work Combination Table</a:t>
            </a:r>
          </a:p>
        </p:txBody>
      </p:sp>
      <p:sp>
        <p:nvSpPr>
          <p:cNvPr id="60" name="TextBox 90"/>
          <p:cNvSpPr txBox="1">
            <a:spLocks noChangeArrowheads="1"/>
          </p:cNvSpPr>
          <p:nvPr/>
        </p:nvSpPr>
        <p:spPr bwMode="auto">
          <a:xfrm>
            <a:off x="629913" y="3772540"/>
            <a:ext cx="20288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1200" b="1" u="sng" dirty="0">
                <a:solidFill>
                  <a:srgbClr val="000000"/>
                </a:solidFill>
              </a:rPr>
              <a:t>Standardised Work Chart</a:t>
            </a:r>
          </a:p>
        </p:txBody>
      </p:sp>
      <p:sp>
        <p:nvSpPr>
          <p:cNvPr id="61" name="TextBox 93"/>
          <p:cNvSpPr txBox="1">
            <a:spLocks noChangeArrowheads="1"/>
          </p:cNvSpPr>
          <p:nvPr/>
        </p:nvSpPr>
        <p:spPr bwMode="auto">
          <a:xfrm>
            <a:off x="2137354" y="913430"/>
            <a:ext cx="2425700"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1200" b="1" u="sng" dirty="0">
                <a:solidFill>
                  <a:srgbClr val="000000"/>
                </a:solidFill>
              </a:rPr>
              <a:t>Cycle Time Diagram</a:t>
            </a:r>
          </a:p>
        </p:txBody>
      </p:sp>
      <p:sp>
        <p:nvSpPr>
          <p:cNvPr id="62" name="AutoShape 98"/>
          <p:cNvSpPr>
            <a:spLocks noChangeArrowheads="1"/>
          </p:cNvSpPr>
          <p:nvPr/>
        </p:nvSpPr>
        <p:spPr bwMode="auto">
          <a:xfrm>
            <a:off x="6197359" y="5987102"/>
            <a:ext cx="1571625" cy="428625"/>
          </a:xfrm>
          <a:prstGeom prst="wedgeRoundRectCallout">
            <a:avLst>
              <a:gd name="adj1" fmla="val 79565"/>
              <a:gd name="adj2" fmla="val -72398"/>
              <a:gd name="adj3" fmla="val 16667"/>
            </a:avLst>
          </a:prstGeom>
          <a:solidFill>
            <a:schemeClr val="bg1"/>
          </a:solidFill>
          <a:ln w="9525" algn="ctr">
            <a:solidFill>
              <a:srgbClr val="3C8A2E"/>
            </a:solidFill>
            <a:miter lim="800000"/>
            <a:headEnd/>
            <a:tailEnd/>
          </a:ln>
        </p:spPr>
        <p:txBody>
          <a:bodyPr lIns="54000" rIns="0" bIns="36000"/>
          <a:lstStyle>
            <a:lvl1pPr defTabSz="1279525" eaLnBrk="0" hangingPunct="0">
              <a:defRPr sz="800">
                <a:solidFill>
                  <a:schemeClr val="tx1"/>
                </a:solidFill>
                <a:latin typeface="Arial" pitchFamily="34" charset="0"/>
              </a:defRPr>
            </a:lvl1pPr>
            <a:lvl2pPr marL="742950" indent="-285750" defTabSz="1279525" eaLnBrk="0" hangingPunct="0">
              <a:defRPr sz="800">
                <a:solidFill>
                  <a:schemeClr val="tx1"/>
                </a:solidFill>
                <a:latin typeface="Arial" pitchFamily="34" charset="0"/>
              </a:defRPr>
            </a:lvl2pPr>
            <a:lvl3pPr marL="1143000" indent="-228600" defTabSz="1279525" eaLnBrk="0" hangingPunct="0">
              <a:defRPr sz="800">
                <a:solidFill>
                  <a:schemeClr val="tx1"/>
                </a:solidFill>
                <a:latin typeface="Arial" pitchFamily="34" charset="0"/>
              </a:defRPr>
            </a:lvl3pPr>
            <a:lvl4pPr marL="1600200" indent="-228600" defTabSz="1279525" eaLnBrk="0" hangingPunct="0">
              <a:defRPr sz="800">
                <a:solidFill>
                  <a:schemeClr val="tx1"/>
                </a:solidFill>
                <a:latin typeface="Arial" pitchFamily="34" charset="0"/>
              </a:defRPr>
            </a:lvl4pPr>
            <a:lvl5pPr marL="2057400" indent="-228600" defTabSz="1279525" eaLnBrk="0" hangingPunct="0">
              <a:defRPr sz="800">
                <a:solidFill>
                  <a:schemeClr val="tx1"/>
                </a:solidFill>
                <a:latin typeface="Arial" pitchFamily="34" charset="0"/>
              </a:defRPr>
            </a:lvl5pPr>
            <a:lvl6pPr marL="2514600" indent="-228600" defTabSz="1279525" eaLnBrk="0" fontAlgn="base" hangingPunct="0">
              <a:spcBef>
                <a:spcPct val="0"/>
              </a:spcBef>
              <a:spcAft>
                <a:spcPct val="0"/>
              </a:spcAft>
              <a:defRPr sz="800">
                <a:solidFill>
                  <a:schemeClr val="tx1"/>
                </a:solidFill>
                <a:latin typeface="Arial" pitchFamily="34" charset="0"/>
              </a:defRPr>
            </a:lvl6pPr>
            <a:lvl7pPr marL="2971800" indent="-228600" defTabSz="1279525" eaLnBrk="0" fontAlgn="base" hangingPunct="0">
              <a:spcBef>
                <a:spcPct val="0"/>
              </a:spcBef>
              <a:spcAft>
                <a:spcPct val="0"/>
              </a:spcAft>
              <a:defRPr sz="800">
                <a:solidFill>
                  <a:schemeClr val="tx1"/>
                </a:solidFill>
                <a:latin typeface="Arial" pitchFamily="34" charset="0"/>
              </a:defRPr>
            </a:lvl7pPr>
            <a:lvl8pPr marL="3429000" indent="-228600" defTabSz="1279525" eaLnBrk="0" fontAlgn="base" hangingPunct="0">
              <a:spcBef>
                <a:spcPct val="0"/>
              </a:spcBef>
              <a:spcAft>
                <a:spcPct val="0"/>
              </a:spcAft>
              <a:defRPr sz="800">
                <a:solidFill>
                  <a:schemeClr val="tx1"/>
                </a:solidFill>
                <a:latin typeface="Arial" pitchFamily="34" charset="0"/>
              </a:defRPr>
            </a:lvl8pPr>
            <a:lvl9pPr marL="3886200" indent="-228600" defTabSz="1279525"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1000"/>
              <a:t>Sum of the Work Content is within the Takt Time</a:t>
            </a:r>
          </a:p>
        </p:txBody>
      </p:sp>
      <p:sp>
        <p:nvSpPr>
          <p:cNvPr id="63" name="AutoShape 98"/>
          <p:cNvSpPr>
            <a:spLocks noChangeArrowheads="1"/>
          </p:cNvSpPr>
          <p:nvPr/>
        </p:nvSpPr>
        <p:spPr bwMode="auto">
          <a:xfrm>
            <a:off x="1768234" y="6058540"/>
            <a:ext cx="1643063" cy="428625"/>
          </a:xfrm>
          <a:prstGeom prst="wedgeRoundRectCallout">
            <a:avLst>
              <a:gd name="adj1" fmla="val 28870"/>
              <a:gd name="adj2" fmla="val -87458"/>
              <a:gd name="adj3" fmla="val 16667"/>
            </a:avLst>
          </a:prstGeom>
          <a:solidFill>
            <a:schemeClr val="bg1"/>
          </a:solidFill>
          <a:ln w="9525" algn="ctr">
            <a:solidFill>
              <a:srgbClr val="3C8A2E"/>
            </a:solidFill>
            <a:miter lim="800000"/>
            <a:headEnd/>
            <a:tailEnd/>
          </a:ln>
        </p:spPr>
        <p:txBody>
          <a:bodyPr lIns="54000" rIns="0" bIns="36000"/>
          <a:lstStyle>
            <a:lvl1pPr defTabSz="1279525" eaLnBrk="0" hangingPunct="0">
              <a:defRPr sz="800">
                <a:solidFill>
                  <a:schemeClr val="tx1"/>
                </a:solidFill>
                <a:latin typeface="Arial" pitchFamily="34" charset="0"/>
              </a:defRPr>
            </a:lvl1pPr>
            <a:lvl2pPr marL="742950" indent="-285750" defTabSz="1279525" eaLnBrk="0" hangingPunct="0">
              <a:defRPr sz="800">
                <a:solidFill>
                  <a:schemeClr val="tx1"/>
                </a:solidFill>
                <a:latin typeface="Arial" pitchFamily="34" charset="0"/>
              </a:defRPr>
            </a:lvl2pPr>
            <a:lvl3pPr marL="1143000" indent="-228600" defTabSz="1279525" eaLnBrk="0" hangingPunct="0">
              <a:defRPr sz="800">
                <a:solidFill>
                  <a:schemeClr val="tx1"/>
                </a:solidFill>
                <a:latin typeface="Arial" pitchFamily="34" charset="0"/>
              </a:defRPr>
            </a:lvl3pPr>
            <a:lvl4pPr marL="1600200" indent="-228600" defTabSz="1279525" eaLnBrk="0" hangingPunct="0">
              <a:defRPr sz="800">
                <a:solidFill>
                  <a:schemeClr val="tx1"/>
                </a:solidFill>
                <a:latin typeface="Arial" pitchFamily="34" charset="0"/>
              </a:defRPr>
            </a:lvl4pPr>
            <a:lvl5pPr marL="2057400" indent="-228600" defTabSz="1279525" eaLnBrk="0" hangingPunct="0">
              <a:defRPr sz="800">
                <a:solidFill>
                  <a:schemeClr val="tx1"/>
                </a:solidFill>
                <a:latin typeface="Arial" pitchFamily="34" charset="0"/>
              </a:defRPr>
            </a:lvl5pPr>
            <a:lvl6pPr marL="2514600" indent="-228600" defTabSz="1279525" eaLnBrk="0" fontAlgn="base" hangingPunct="0">
              <a:spcBef>
                <a:spcPct val="0"/>
              </a:spcBef>
              <a:spcAft>
                <a:spcPct val="0"/>
              </a:spcAft>
              <a:defRPr sz="800">
                <a:solidFill>
                  <a:schemeClr val="tx1"/>
                </a:solidFill>
                <a:latin typeface="Arial" pitchFamily="34" charset="0"/>
              </a:defRPr>
            </a:lvl6pPr>
            <a:lvl7pPr marL="2971800" indent="-228600" defTabSz="1279525" eaLnBrk="0" fontAlgn="base" hangingPunct="0">
              <a:spcBef>
                <a:spcPct val="0"/>
              </a:spcBef>
              <a:spcAft>
                <a:spcPct val="0"/>
              </a:spcAft>
              <a:defRPr sz="800">
                <a:solidFill>
                  <a:schemeClr val="tx1"/>
                </a:solidFill>
                <a:latin typeface="Arial" pitchFamily="34" charset="0"/>
              </a:defRPr>
            </a:lvl7pPr>
            <a:lvl8pPr marL="3429000" indent="-228600" defTabSz="1279525" eaLnBrk="0" fontAlgn="base" hangingPunct="0">
              <a:spcBef>
                <a:spcPct val="0"/>
              </a:spcBef>
              <a:spcAft>
                <a:spcPct val="0"/>
              </a:spcAft>
              <a:defRPr sz="800">
                <a:solidFill>
                  <a:schemeClr val="tx1"/>
                </a:solidFill>
                <a:latin typeface="Arial" pitchFamily="34" charset="0"/>
              </a:defRPr>
            </a:lvl8pPr>
            <a:lvl9pPr marL="3886200" indent="-228600" defTabSz="1279525" eaLnBrk="0" fontAlgn="base" hangingPunct="0">
              <a:spcBef>
                <a:spcPct val="0"/>
              </a:spcBef>
              <a:spcAft>
                <a:spcPct val="0"/>
              </a:spcAft>
              <a:defRPr sz="800">
                <a:solidFill>
                  <a:schemeClr val="tx1"/>
                </a:solidFill>
                <a:latin typeface="Arial" pitchFamily="34" charset="0"/>
              </a:defRPr>
            </a:lvl9pPr>
          </a:lstStyle>
          <a:p>
            <a:pPr eaLnBrk="1" hangingPunct="1"/>
            <a:r>
              <a:rPr lang="en-GB" altLang="fr-FR" sz="1000"/>
              <a:t>All process steps are repre-sented in line with the SOP</a:t>
            </a:r>
          </a:p>
        </p:txBody>
      </p:sp>
      <p:sp>
        <p:nvSpPr>
          <p:cNvPr id="64" name="AutoShape 98"/>
          <p:cNvSpPr>
            <a:spLocks noChangeArrowheads="1"/>
          </p:cNvSpPr>
          <p:nvPr/>
        </p:nvSpPr>
        <p:spPr bwMode="auto">
          <a:xfrm>
            <a:off x="355407" y="1290254"/>
            <a:ext cx="1739809" cy="2210556"/>
          </a:xfrm>
          <a:prstGeom prst="wedgeRoundRectCallout">
            <a:avLst>
              <a:gd name="adj1" fmla="val 64215"/>
              <a:gd name="adj2" fmla="val -22469"/>
              <a:gd name="adj3" fmla="val 16667"/>
            </a:avLst>
          </a:prstGeom>
          <a:solidFill>
            <a:schemeClr val="bg1"/>
          </a:solidFill>
          <a:ln w="9525" algn="ctr">
            <a:solidFill>
              <a:srgbClr val="3C8A2E"/>
            </a:solidFill>
            <a:miter lim="800000"/>
            <a:headEnd/>
            <a:tailEnd/>
          </a:ln>
        </p:spPr>
        <p:txBody>
          <a:bodyPr lIns="36000" rIns="0" bIns="36000"/>
          <a:lstStyle/>
          <a:p>
            <a:pPr defTabSz="1279525">
              <a:defRPr/>
            </a:pPr>
            <a:r>
              <a:rPr lang="en-GB" sz="1000" dirty="0"/>
              <a:t>Standardised </a:t>
            </a:r>
            <a:r>
              <a:rPr lang="en-GB" sz="1000" dirty="0" smtClean="0"/>
              <a:t>Work in manufacturing </a:t>
            </a:r>
            <a:r>
              <a:rPr lang="en-GB" sz="1000" dirty="0"/>
              <a:t>is documented with:</a:t>
            </a:r>
          </a:p>
          <a:p>
            <a:pPr marL="174625" indent="-174625" defTabSz="1279525">
              <a:spcBef>
                <a:spcPts val="600"/>
              </a:spcBef>
              <a:defRPr/>
            </a:pPr>
            <a:r>
              <a:rPr lang="en-GB" sz="1000" dirty="0"/>
              <a:t>1) 	Standard Operation Procedure</a:t>
            </a:r>
          </a:p>
          <a:p>
            <a:pPr marL="174625" indent="-174625" defTabSz="1279525">
              <a:spcBef>
                <a:spcPts val="600"/>
              </a:spcBef>
              <a:defRPr/>
            </a:pPr>
            <a:r>
              <a:rPr lang="en-GB" sz="1000" dirty="0"/>
              <a:t>2) 	Standardized Work Chart</a:t>
            </a:r>
          </a:p>
          <a:p>
            <a:pPr marL="174625" indent="-174625" defTabSz="1279525">
              <a:spcBef>
                <a:spcPts val="600"/>
              </a:spcBef>
              <a:defRPr/>
            </a:pPr>
            <a:r>
              <a:rPr lang="en-GB" sz="1000" dirty="0"/>
              <a:t>3) 	Work Combination Table</a:t>
            </a:r>
          </a:p>
          <a:p>
            <a:pPr defTabSz="1279525">
              <a:spcBef>
                <a:spcPts val="600"/>
              </a:spcBef>
              <a:defRPr/>
            </a:pPr>
            <a:r>
              <a:rPr lang="en-GB" sz="1000" dirty="0"/>
              <a:t>and is </a:t>
            </a:r>
            <a:r>
              <a:rPr lang="en-GB" sz="1000" b="1" dirty="0"/>
              <a:t>audited</a:t>
            </a:r>
            <a:r>
              <a:rPr lang="en-GB" sz="1000" dirty="0"/>
              <a:t> regularly to ensure compliance</a:t>
            </a:r>
          </a:p>
        </p:txBody>
      </p:sp>
      <p:sp>
        <p:nvSpPr>
          <p:cNvPr id="66" name="Rectangle 65"/>
          <p:cNvSpPr/>
          <p:nvPr/>
        </p:nvSpPr>
        <p:spPr>
          <a:xfrm>
            <a:off x="21772" y="36286"/>
            <a:ext cx="9072000" cy="6768000"/>
          </a:xfrm>
          <a:prstGeom prst="rect">
            <a:avLst/>
          </a:prstGeom>
          <a:noFill/>
          <a:ln w="107950">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Rectangle 2"/>
          <p:cNvSpPr>
            <a:spLocks noGrp="1" noChangeArrowheads="1"/>
          </p:cNvSpPr>
          <p:nvPr>
            <p:ph type="title"/>
          </p:nvPr>
        </p:nvSpPr>
        <p:spPr>
          <a:xfrm>
            <a:off x="358775" y="358775"/>
            <a:ext cx="8245475" cy="498475"/>
          </a:xfrm>
        </p:spPr>
        <p:txBody>
          <a:bodyPr/>
          <a:lstStyle/>
          <a:p>
            <a:r>
              <a:rPr lang="en-US" sz="2400" dirty="0" smtClean="0"/>
              <a:t>Example</a:t>
            </a:r>
            <a:br>
              <a:rPr lang="en-US" sz="2400" dirty="0" smtClean="0"/>
            </a:br>
            <a:r>
              <a:rPr lang="en-GB" sz="1800" b="1" dirty="0" smtClean="0">
                <a:solidFill>
                  <a:srgbClr val="99CC33"/>
                </a:solidFill>
                <a:cs typeface="Arial" pitchFamily="34" charset="0"/>
              </a:rPr>
              <a:t>Standard Work in Lean manufacturing</a:t>
            </a:r>
          </a:p>
        </p:txBody>
      </p:sp>
      <p:sp>
        <p:nvSpPr>
          <p:cNvPr id="70" name="Oval 278"/>
          <p:cNvSpPr>
            <a:spLocks noChangeArrowheads="1"/>
          </p:cNvSpPr>
          <p:nvPr/>
        </p:nvSpPr>
        <p:spPr bwMode="gray">
          <a:xfrm>
            <a:off x="5034289" y="4669237"/>
            <a:ext cx="260350" cy="269875"/>
          </a:xfrm>
          <a:prstGeom prst="ellipse">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sp>
        <p:nvSpPr>
          <p:cNvPr id="71" name="Oval 278"/>
          <p:cNvSpPr>
            <a:spLocks noChangeArrowheads="1"/>
          </p:cNvSpPr>
          <p:nvPr/>
        </p:nvSpPr>
        <p:spPr bwMode="gray">
          <a:xfrm>
            <a:off x="3465203" y="5333051"/>
            <a:ext cx="260350" cy="269875"/>
          </a:xfrm>
          <a:prstGeom prst="ellipse">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eaLnBrk="0" hangingPunct="0">
              <a:defRPr sz="800">
                <a:solidFill>
                  <a:schemeClr val="tx1"/>
                </a:solidFill>
                <a:latin typeface="Arial" pitchFamily="34" charset="0"/>
              </a:defRPr>
            </a:lvl1pPr>
            <a:lvl2pPr marL="742950" indent="-285750" eaLnBrk="0" hangingPunct="0">
              <a:defRPr sz="800">
                <a:solidFill>
                  <a:schemeClr val="tx1"/>
                </a:solidFill>
                <a:latin typeface="Arial" pitchFamily="34" charset="0"/>
              </a:defRPr>
            </a:lvl2pPr>
            <a:lvl3pPr marL="1143000" indent="-228600" eaLnBrk="0" hangingPunct="0">
              <a:defRPr sz="800">
                <a:solidFill>
                  <a:schemeClr val="tx1"/>
                </a:solidFill>
                <a:latin typeface="Arial" pitchFamily="34" charset="0"/>
              </a:defRPr>
            </a:lvl3pPr>
            <a:lvl4pPr marL="1600200" indent="-228600" eaLnBrk="0" hangingPunct="0">
              <a:defRPr sz="800">
                <a:solidFill>
                  <a:schemeClr val="tx1"/>
                </a:solidFill>
                <a:latin typeface="Arial" pitchFamily="34" charset="0"/>
              </a:defRPr>
            </a:lvl4pPr>
            <a:lvl5pPr marL="2057400" indent="-228600" eaLnBrk="0" hangingPunct="0">
              <a:defRPr sz="800">
                <a:solidFill>
                  <a:schemeClr val="tx1"/>
                </a:solidFill>
                <a:latin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defRPr>
            </a:lvl9pPr>
          </a:lstStyle>
          <a:p>
            <a:pPr eaLnBrk="1" hangingPunct="1"/>
            <a:endParaRPr lang="en-US" altLang="fr-FR"/>
          </a:p>
        </p:txBody>
      </p:sp>
      <p:cxnSp>
        <p:nvCxnSpPr>
          <p:cNvPr id="72" name="Straight Arrow Connector 75"/>
          <p:cNvCxnSpPr>
            <a:cxnSpLocks noChangeShapeType="1"/>
            <a:stCxn id="53" idx="5"/>
            <a:endCxn id="70" idx="1"/>
          </p:cNvCxnSpPr>
          <p:nvPr/>
        </p:nvCxnSpPr>
        <p:spPr bwMode="auto">
          <a:xfrm>
            <a:off x="2784318" y="1847634"/>
            <a:ext cx="2288098" cy="2861125"/>
          </a:xfrm>
          <a:prstGeom prst="straightConnector1">
            <a:avLst/>
          </a:prstGeom>
          <a:noFill/>
          <a:ln w="19050" algn="ctr">
            <a:solidFill>
              <a:srgbClr val="FF0000"/>
            </a:solidFill>
            <a:prstDash val="dash"/>
            <a:round/>
            <a:headEnd/>
            <a:tailEnd type="triangle" w="med" len="med"/>
          </a:ln>
          <a:extLst>
            <a:ext uri="{909E8E84-426E-40DD-AFC4-6F175D3DCCD1}">
              <a14:hiddenFill xmlns:a14="http://schemas.microsoft.com/office/drawing/2010/main">
                <a:noFill/>
              </a14:hiddenFill>
            </a:ext>
          </a:extLst>
        </p:spPr>
      </p:cxnSp>
      <p:cxnSp>
        <p:nvCxnSpPr>
          <p:cNvPr id="75" name="Straight Arrow Connector 75"/>
          <p:cNvCxnSpPr>
            <a:cxnSpLocks noChangeShapeType="1"/>
            <a:stCxn id="53" idx="4"/>
          </p:cNvCxnSpPr>
          <p:nvPr/>
        </p:nvCxnSpPr>
        <p:spPr bwMode="auto">
          <a:xfrm>
            <a:off x="2724541" y="1873301"/>
            <a:ext cx="822927" cy="3437526"/>
          </a:xfrm>
          <a:prstGeom prst="straightConnector1">
            <a:avLst/>
          </a:prstGeom>
          <a:noFill/>
          <a:ln w="19050" algn="ctr">
            <a:solidFill>
              <a:srgbClr val="FF0000"/>
            </a:solidFill>
            <a:prstDash val="dash"/>
            <a:round/>
            <a:headEnd/>
            <a:tailEnd type="triangle"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95874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3746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6434" name="Title 1"/>
          <p:cNvSpPr>
            <a:spLocks noGrp="1"/>
          </p:cNvSpPr>
          <p:nvPr>
            <p:ph type="title"/>
          </p:nvPr>
        </p:nvSpPr>
        <p:spPr/>
        <p:txBody>
          <a:bodyPr/>
          <a:lstStyle/>
          <a:p>
            <a:pPr eaLnBrk="1" hangingPunct="1"/>
            <a:r>
              <a:rPr lang="en-GB" sz="2400" dirty="0" smtClean="0"/>
              <a:t>Agenda</a:t>
            </a:r>
            <a:r>
              <a:rPr lang="en-GB" dirty="0" smtClean="0"/>
              <a:t/>
            </a:r>
            <a:br>
              <a:rPr lang="en-GB" dirty="0" smtClean="0"/>
            </a:br>
            <a:r>
              <a:rPr lang="en-GB" sz="1800" b="1" dirty="0" smtClean="0">
                <a:solidFill>
                  <a:schemeClr val="bg1"/>
                </a:solidFill>
                <a:cs typeface="Arial" pitchFamily="34" charset="0"/>
              </a:rPr>
              <a:t>Day 4 – Future State 2 &amp; Work Pilot</a:t>
            </a:r>
            <a:endParaRPr lang="en-GB" sz="1800" dirty="0" smtClean="0">
              <a:solidFill>
                <a:schemeClr val="bg1"/>
              </a:solidFill>
            </a:endParaRPr>
          </a:p>
        </p:txBody>
      </p:sp>
      <p:sp>
        <p:nvSpPr>
          <p:cNvPr id="146435" name="Slide Number Placeholder 4"/>
          <p:cNvSpPr>
            <a:spLocks noGrp="1"/>
          </p:cNvSpPr>
          <p:nvPr>
            <p:ph type="sldNum" sz="quarter" idx="11"/>
          </p:nvPr>
        </p:nvSpPr>
        <p:spPr>
          <a:noFill/>
        </p:spPr>
        <p:txBody>
          <a:bodyPr/>
          <a:lstStyle/>
          <a:p>
            <a:fld id="{82D34DDB-D9C1-4DB6-926B-ECFA1F44E4A6}" type="slidenum">
              <a:rPr lang="en-GB" altLang="en-GB"/>
              <a:pPr/>
              <a:t>6</a:t>
            </a:fld>
            <a:endParaRPr lang="en-GB" altLang="en-GB"/>
          </a:p>
        </p:txBody>
      </p:sp>
      <p:graphicFrame>
        <p:nvGraphicFramePr>
          <p:cNvPr id="8" name="Group 33"/>
          <p:cNvGraphicFramePr>
            <a:graphicFrameLocks noGrp="1"/>
          </p:cNvGraphicFramePr>
          <p:nvPr>
            <p:extLst>
              <p:ext uri="{D42A27DB-BD31-4B8C-83A1-F6EECF244321}">
                <p14:modId xmlns:p14="http://schemas.microsoft.com/office/powerpoint/2010/main" val="3066523044"/>
              </p:ext>
            </p:extLst>
          </p:nvPr>
        </p:nvGraphicFramePr>
        <p:xfrm>
          <a:off x="466725" y="1268413"/>
          <a:ext cx="8353425" cy="5123038"/>
        </p:xfrm>
        <a:graphic>
          <a:graphicData uri="http://schemas.openxmlformats.org/drawingml/2006/table">
            <a:tbl>
              <a:tblPr/>
              <a:tblGrid>
                <a:gridCol w="1296987"/>
                <a:gridCol w="7056438"/>
              </a:tblGrid>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6"/>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dirty="0" smtClean="0">
                          <a:solidFill>
                            <a:srgbClr val="000066"/>
                          </a:solidFill>
                          <a:cs typeface="Arial" pitchFamily="34" charset="0"/>
                        </a:rPr>
                        <a:t>Teach</a:t>
                      </a:r>
                      <a:r>
                        <a:rPr lang="en-GB" sz="1400" baseline="0" dirty="0" smtClean="0">
                          <a:solidFill>
                            <a:srgbClr val="000066"/>
                          </a:solidFill>
                          <a:cs typeface="Arial" pitchFamily="34" charset="0"/>
                        </a:rPr>
                        <a:t> Back – Days 1, 2, and 3</a:t>
                      </a:r>
                      <a:endParaRPr kumimoji="0" lang="en-GB" sz="1400" b="0" i="0" u="none" strike="noStrike" cap="none" normalizeH="0" baseline="0" dirty="0" smtClean="0">
                        <a:ln>
                          <a:noFill/>
                        </a:ln>
                        <a:solidFill>
                          <a:srgbClr val="000066"/>
                        </a:solidFill>
                        <a:effectLst/>
                        <a:latin typeface="Arial" pitchFamily="34" charset="0"/>
                      </a:endParaRP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 to Future State 2</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tx1"/>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600" b="1" dirty="0" smtClean="0">
                          <a:solidFill>
                            <a:schemeClr val="tx1"/>
                          </a:solidFill>
                          <a:cs typeface="Arial" pitchFamily="34" charset="0"/>
                        </a:rPr>
                        <a:t>Action</a:t>
                      </a:r>
                      <a:r>
                        <a:rPr lang="en-GB" sz="1600" b="1" baseline="0" dirty="0" smtClean="0">
                          <a:solidFill>
                            <a:schemeClr val="tx1"/>
                          </a:solidFill>
                          <a:cs typeface="Arial" pitchFamily="34" charset="0"/>
                        </a:rPr>
                        <a:t> Brainstorm</a:t>
                      </a:r>
                    </a:p>
                    <a:p>
                      <a:pPr marL="228600" indent="-228600" fontAlgn="base">
                        <a:spcBef>
                          <a:spcPct val="0"/>
                        </a:spcBef>
                        <a:buSzPct val="120000"/>
                        <a:buFont typeface="Wingdings" pitchFamily="2" charset="2"/>
                        <a:buChar char="§"/>
                        <a:tabLst>
                          <a:tab pos="5715000" algn="l"/>
                        </a:tabLst>
                      </a:pPr>
                      <a:r>
                        <a:rPr lang="en-GB" sz="1600" b="1" baseline="0" dirty="0" smtClean="0">
                          <a:solidFill>
                            <a:schemeClr val="tx1"/>
                          </a:solidFill>
                          <a:cs typeface="Arial" pitchFamily="34" charset="0"/>
                        </a:rPr>
                        <a:t>Work Breakdown Structure</a:t>
                      </a:r>
                    </a:p>
                    <a:p>
                      <a:pPr marL="228600" indent="-228600" fontAlgn="base">
                        <a:spcBef>
                          <a:spcPct val="0"/>
                        </a:spcBef>
                        <a:buSzPct val="120000"/>
                        <a:buFont typeface="Wingdings" pitchFamily="2" charset="2"/>
                        <a:buChar char="§"/>
                        <a:tabLst>
                          <a:tab pos="5715000" algn="l"/>
                        </a:tabLst>
                      </a:pPr>
                      <a:r>
                        <a:rPr lang="en-GB" sz="1600" b="1" baseline="0" dirty="0" smtClean="0">
                          <a:solidFill>
                            <a:schemeClr val="tx1"/>
                          </a:solidFill>
                          <a:cs typeface="Arial" pitchFamily="34" charset="0"/>
                        </a:rPr>
                        <a:t>Work Packages</a:t>
                      </a:r>
                    </a:p>
                    <a:p>
                      <a:pPr marL="228600" indent="-228600" fontAlgn="base">
                        <a:spcBef>
                          <a:spcPct val="0"/>
                        </a:spcBef>
                        <a:buSzPct val="120000"/>
                        <a:buFont typeface="Wingdings" pitchFamily="2" charset="2"/>
                        <a:buChar char="§"/>
                        <a:tabLst>
                          <a:tab pos="5715000" algn="l"/>
                        </a:tabLst>
                      </a:pPr>
                      <a:r>
                        <a:rPr lang="en-GB" sz="1600" b="1" baseline="0" dirty="0" smtClean="0">
                          <a:solidFill>
                            <a:schemeClr val="tx1"/>
                          </a:solidFill>
                          <a:cs typeface="Arial" pitchFamily="34" charset="0"/>
                        </a:rPr>
                        <a:t>Exercise - Implementing the Future State Design</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Introduction</a:t>
                      </a:r>
                      <a:r>
                        <a:rPr lang="en-GB" sz="1400" baseline="0" dirty="0" smtClean="0">
                          <a:solidFill>
                            <a:srgbClr val="000066"/>
                          </a:solidFill>
                          <a:cs typeface="Arial" pitchFamily="34" charset="0"/>
                        </a:rPr>
                        <a:t> to </a:t>
                      </a:r>
                      <a:r>
                        <a:rPr lang="en-GB" sz="1400" dirty="0" smtClean="0">
                          <a:solidFill>
                            <a:srgbClr val="000066"/>
                          </a:solidFill>
                          <a:cs typeface="Arial" pitchFamily="34" charset="0"/>
                        </a:rPr>
                        <a:t>Work Pilot</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Set Up</a:t>
                      </a:r>
                      <a:r>
                        <a:rPr lang="en-GB" sz="1400" baseline="0" dirty="0" smtClean="0">
                          <a:solidFill>
                            <a:srgbClr val="000066"/>
                          </a:solidFill>
                          <a:cs typeface="Arial" pitchFamily="34" charset="0"/>
                        </a:rPr>
                        <a:t> &amp; Run a Work Pilo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un Final Simulation</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ecord and review simulation performance</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Lean</a:t>
                      </a:r>
                      <a:r>
                        <a:rPr lang="en-GB" sz="1400" kern="1200" baseline="0" dirty="0" smtClean="0">
                          <a:solidFill>
                            <a:srgbClr val="000066"/>
                          </a:solidFill>
                          <a:latin typeface="+mn-lt"/>
                          <a:ea typeface="+mn-ea"/>
                          <a:cs typeface="Arial" pitchFamily="34" charset="0"/>
                        </a:rPr>
                        <a:t> management</a:t>
                      </a:r>
                      <a:r>
                        <a:rPr lang="en-GB" sz="1400" kern="1200" dirty="0" smtClean="0">
                          <a:solidFill>
                            <a:srgbClr val="000066"/>
                          </a:solidFill>
                          <a:latin typeface="+mn-lt"/>
                          <a:ea typeface="+mn-ea"/>
                          <a:cs typeface="Arial" pitchFamily="34" charset="0"/>
                        </a:rPr>
                        <a:t> tools and techniqu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dirty="0" smtClean="0">
                          <a:solidFill>
                            <a:srgbClr val="000066"/>
                          </a:solidFill>
                          <a:cs typeface="Arial" pitchFamily="34" charset="0"/>
                        </a:rPr>
                        <a:t>Planning the</a:t>
                      </a:r>
                      <a:r>
                        <a:rPr lang="en-GB" sz="1400" baseline="0" dirty="0" smtClean="0">
                          <a:solidFill>
                            <a:srgbClr val="000066"/>
                          </a:solidFill>
                          <a:cs typeface="Arial" pitchFamily="34" charset="0"/>
                        </a:rPr>
                        <a:t> Transfer to BAU</a:t>
                      </a:r>
                      <a:endParaRPr lang="en-GB" sz="1400" kern="1200" dirty="0" smtClean="0">
                        <a:solidFill>
                          <a:srgbClr val="000066"/>
                        </a:solidFill>
                        <a:latin typeface="+mn-lt"/>
                        <a:ea typeface="+mn-ea"/>
                        <a:cs typeface="Arial" pitchFamily="34" charset="0"/>
                      </a:endParaRP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6</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Course Review &amp; Wrap up</a:t>
                      </a:r>
                    </a:p>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Overall WWW and WBBI</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68875053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p:cNvSpPr>
            <a:spLocks noGrp="1" noChangeArrowheads="1"/>
          </p:cNvSpPr>
          <p:nvPr>
            <p:ph type="title"/>
          </p:nvPr>
        </p:nvSpPr>
        <p:spPr>
          <a:xfrm>
            <a:off x="358775" y="358775"/>
            <a:ext cx="8245475" cy="498475"/>
          </a:xfrm>
        </p:spPr>
        <p:txBody>
          <a:bodyPr/>
          <a:lstStyle/>
          <a:p>
            <a:r>
              <a:rPr lang="en-US" sz="2400" dirty="0"/>
              <a:t>Lean management tools &amp; techniques</a:t>
            </a:r>
            <a:r>
              <a:rPr lang="en-US" sz="2400" dirty="0" smtClean="0"/>
              <a:t/>
            </a:r>
            <a:br>
              <a:rPr lang="en-US" sz="2400" dirty="0" smtClean="0"/>
            </a:br>
            <a:r>
              <a:rPr lang="en-GB" sz="1800" b="1" dirty="0" smtClean="0">
                <a:solidFill>
                  <a:srgbClr val="99CC33"/>
                </a:solidFill>
                <a:cs typeface="Arial" pitchFamily="34" charset="0"/>
              </a:rPr>
              <a:t>Standard Work key points</a:t>
            </a:r>
            <a:endParaRPr lang="en-GB" sz="1800" dirty="0" smtClean="0"/>
          </a:p>
        </p:txBody>
      </p:sp>
      <p:sp>
        <p:nvSpPr>
          <p:cNvPr id="10" name="Rectangle 3"/>
          <p:cNvSpPr>
            <a:spLocks noGrp="1" noChangeArrowheads="1"/>
          </p:cNvSpPr>
          <p:nvPr>
            <p:ph type="body" sz="half" idx="1"/>
          </p:nvPr>
        </p:nvSpPr>
        <p:spPr>
          <a:xfrm>
            <a:off x="1671519" y="1992696"/>
            <a:ext cx="6902687" cy="4325554"/>
          </a:xfrm>
        </p:spPr>
        <p:txBody>
          <a:bodyPr wrap="square"/>
          <a:lstStyle/>
          <a:p>
            <a:pPr marL="363538" lvl="1" indent="-363538">
              <a:lnSpc>
                <a:spcPct val="100000"/>
              </a:lnSpc>
              <a:spcAft>
                <a:spcPts val="0"/>
              </a:spcAft>
              <a:buFont typeface="Wingdings" panose="05000000000000000000" pitchFamily="2" charset="2"/>
              <a:buChar char="§"/>
            </a:pPr>
            <a:r>
              <a:rPr lang="en-US" dirty="0" smtClean="0"/>
              <a:t>SOP = clear set of Instructions to enable Standard Work.</a:t>
            </a:r>
            <a:r>
              <a:rPr lang="en-GB" dirty="0" smtClean="0"/>
              <a:t> </a:t>
            </a:r>
          </a:p>
          <a:p>
            <a:pPr marL="900113" lvl="2" indent="-285750">
              <a:lnSpc>
                <a:spcPct val="100000"/>
              </a:lnSpc>
              <a:spcAft>
                <a:spcPts val="600"/>
              </a:spcAft>
              <a:buFont typeface="Courier New" panose="02070309020205020404" pitchFamily="49" charset="0"/>
              <a:buChar char="-"/>
            </a:pPr>
            <a:r>
              <a:rPr lang="en-US" dirty="0"/>
              <a:t>Increased efficiency for repeating the process.</a:t>
            </a:r>
          </a:p>
          <a:p>
            <a:pPr marL="363538" lvl="1" indent="-363538">
              <a:lnSpc>
                <a:spcPct val="100000"/>
              </a:lnSpc>
              <a:spcAft>
                <a:spcPts val="600"/>
              </a:spcAft>
              <a:buFont typeface="Wingdings" panose="05000000000000000000" pitchFamily="2" charset="2"/>
              <a:buChar char="§"/>
            </a:pPr>
            <a:r>
              <a:rPr lang="en-US" dirty="0" smtClean="0"/>
              <a:t>SOP = visual picture of the workflow </a:t>
            </a:r>
          </a:p>
          <a:p>
            <a:pPr marL="363538" lvl="1" indent="-363538">
              <a:lnSpc>
                <a:spcPct val="100000"/>
              </a:lnSpc>
              <a:spcAft>
                <a:spcPts val="600"/>
              </a:spcAft>
              <a:buFont typeface="Wingdings" panose="05000000000000000000" pitchFamily="2" charset="2"/>
              <a:buChar char="§"/>
            </a:pPr>
            <a:r>
              <a:rPr lang="en-GB" dirty="0" smtClean="0"/>
              <a:t>Developing an SOP</a:t>
            </a:r>
            <a:r>
              <a:rPr lang="en-US" dirty="0" smtClean="0"/>
              <a:t> is not trivial (allocate resources)</a:t>
            </a:r>
          </a:p>
          <a:p>
            <a:pPr marL="363538" lvl="1" indent="-363538">
              <a:lnSpc>
                <a:spcPct val="100000"/>
              </a:lnSpc>
              <a:spcAft>
                <a:spcPts val="600"/>
              </a:spcAft>
              <a:buFont typeface="Wingdings" panose="05000000000000000000" pitchFamily="2" charset="2"/>
              <a:buChar char="§"/>
            </a:pPr>
            <a:r>
              <a:rPr lang="en-US" dirty="0" smtClean="0"/>
              <a:t>Make sure the right people are involved in developing the SOP (ownership).</a:t>
            </a:r>
          </a:p>
          <a:p>
            <a:pPr marL="363538" lvl="1" indent="-363538">
              <a:lnSpc>
                <a:spcPct val="100000"/>
              </a:lnSpc>
              <a:spcAft>
                <a:spcPts val="0"/>
              </a:spcAft>
              <a:buFont typeface="Wingdings" panose="05000000000000000000" pitchFamily="2" charset="2"/>
              <a:buChar char="§"/>
            </a:pPr>
            <a:r>
              <a:rPr lang="en-US" dirty="0" smtClean="0"/>
              <a:t>It takes many iterations to get it right</a:t>
            </a:r>
          </a:p>
          <a:p>
            <a:pPr marL="900113" lvl="2" indent="-285750">
              <a:lnSpc>
                <a:spcPct val="100000"/>
              </a:lnSpc>
              <a:spcAft>
                <a:spcPts val="600"/>
              </a:spcAft>
            </a:pPr>
            <a:r>
              <a:rPr lang="en-US" dirty="0" smtClean="0"/>
              <a:t>It’s a ’living document’ </a:t>
            </a:r>
          </a:p>
          <a:p>
            <a:pPr marL="900113" lvl="2" indent="-285750">
              <a:lnSpc>
                <a:spcPct val="100000"/>
              </a:lnSpc>
              <a:spcAft>
                <a:spcPts val="600"/>
              </a:spcAft>
            </a:pPr>
            <a:r>
              <a:rPr lang="en-US" dirty="0" smtClean="0"/>
              <a:t>If performance is below customer expectation you need to re-visit the SOP </a:t>
            </a:r>
          </a:p>
          <a:p>
            <a:pPr marL="900113" lvl="2" indent="-285750">
              <a:lnSpc>
                <a:spcPct val="100000"/>
              </a:lnSpc>
              <a:spcAft>
                <a:spcPts val="600"/>
              </a:spcAft>
            </a:pPr>
            <a:r>
              <a:rPr lang="en-US" dirty="0" smtClean="0"/>
              <a:t>Change it when efficiency can be improved. </a:t>
            </a:r>
          </a:p>
          <a:p>
            <a:pPr marL="900113" lvl="2" indent="-285750">
              <a:lnSpc>
                <a:spcPct val="100000"/>
              </a:lnSpc>
              <a:spcAft>
                <a:spcPts val="600"/>
              </a:spcAft>
            </a:pPr>
            <a:r>
              <a:rPr lang="en-US" dirty="0" smtClean="0"/>
              <a:t>Document actions if something goes wrong (outside the standard). </a:t>
            </a:r>
          </a:p>
          <a:p>
            <a:pPr marL="363538" lvl="1" indent="-363538">
              <a:lnSpc>
                <a:spcPct val="100000"/>
              </a:lnSpc>
              <a:spcAft>
                <a:spcPts val="600"/>
              </a:spcAft>
              <a:buFont typeface="Wingdings" panose="05000000000000000000" pitchFamily="2" charset="2"/>
              <a:buChar char="§"/>
            </a:pPr>
            <a:r>
              <a:rPr lang="en-GB" dirty="0" smtClean="0"/>
              <a:t>Changing the big WHAT’s requires Technical Authorisation, however changing the small how’s is within the authority of the team.</a:t>
            </a:r>
          </a:p>
          <a:p>
            <a:pPr marL="363538" lvl="1" indent="-363538">
              <a:lnSpc>
                <a:spcPct val="100000"/>
              </a:lnSpc>
              <a:spcAft>
                <a:spcPts val="600"/>
              </a:spcAft>
              <a:buFont typeface="Wingdings" panose="05000000000000000000" pitchFamily="2" charset="2"/>
              <a:buChar char="§"/>
            </a:pPr>
            <a:r>
              <a:rPr lang="en-GB" dirty="0" smtClean="0"/>
              <a:t>On boarding of new staff (“big crew change”)</a:t>
            </a:r>
          </a:p>
          <a:p>
            <a:pPr marL="363538" lvl="1" indent="-363538">
              <a:lnSpc>
                <a:spcPct val="100000"/>
              </a:lnSpc>
              <a:spcAft>
                <a:spcPts val="600"/>
              </a:spcAft>
              <a:buFont typeface="Wingdings" panose="05000000000000000000" pitchFamily="2" charset="2"/>
              <a:buChar char="§"/>
            </a:pPr>
            <a:r>
              <a:rPr lang="en-GB" dirty="0" smtClean="0"/>
              <a:t>Capture corporate knowledge</a:t>
            </a:r>
            <a:endParaRPr lang="en-US" dirty="0" smtClean="0"/>
          </a:p>
        </p:txBody>
      </p:sp>
      <p:sp>
        <p:nvSpPr>
          <p:cNvPr id="9" name="Slide Number Placeholder 4"/>
          <p:cNvSpPr>
            <a:spLocks noGrp="1"/>
          </p:cNvSpPr>
          <p:nvPr>
            <p:ph type="sldNum" sz="quarter" idx="10"/>
          </p:nvPr>
        </p:nvSpPr>
        <p:spPr>
          <a:prstGeom prst="rect">
            <a:avLst/>
          </a:prstGeom>
          <a:noFill/>
        </p:spPr>
        <p:txBody>
          <a:bodyPr/>
          <a:lstStyle/>
          <a:p>
            <a:fld id="{D7BA8602-1D36-42F3-9ADD-DC3FBBDDCECF}" type="slidenum">
              <a:rPr lang="en-GB" altLang="en-GB" sz="800"/>
              <a:pPr/>
              <a:t>60</a:t>
            </a:fld>
            <a:endParaRPr lang="en-GB" altLang="en-GB" sz="800"/>
          </a:p>
        </p:txBody>
      </p:sp>
      <p:pic>
        <p:nvPicPr>
          <p:cNvPr id="7" name="Picture 20" descr="MPj0430474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782" y="1234699"/>
            <a:ext cx="1081088" cy="1081088"/>
          </a:xfrm>
          <a:prstGeom prst="rect">
            <a:avLst/>
          </a:prstGeom>
          <a:noFill/>
          <a:ln w="9525">
            <a:noFill/>
            <a:miter lim="800000"/>
            <a:headEnd/>
            <a:tailEnd/>
          </a:ln>
        </p:spPr>
      </p:pic>
      <p:sp>
        <p:nvSpPr>
          <p:cNvPr id="8" name="Rectangle 7"/>
          <p:cNvSpPr>
            <a:spLocks noChangeArrowheads="1"/>
          </p:cNvSpPr>
          <p:nvPr/>
        </p:nvSpPr>
        <p:spPr bwMode="auto">
          <a:xfrm>
            <a:off x="344708" y="1287463"/>
            <a:ext cx="8451630" cy="5201861"/>
          </a:xfrm>
          <a:prstGeom prst="rect">
            <a:avLst/>
          </a:prstGeom>
          <a:noFill/>
          <a:ln w="3175">
            <a:solidFill>
              <a:schemeClr val="accent3"/>
            </a:solidFill>
            <a:miter lim="800000"/>
            <a:headEnd/>
            <a:tailEnd/>
          </a:ln>
        </p:spPr>
        <p:txBody>
          <a:bodyPr lIns="180000" tIns="0" rIns="108000" bIns="0" anchor="ctr"/>
          <a:lstStyle/>
          <a:p>
            <a:pPr marL="185738" indent="-185738">
              <a:lnSpc>
                <a:spcPct val="102000"/>
              </a:lnSpc>
              <a:spcAft>
                <a:spcPts val="1800"/>
              </a:spcAft>
              <a:buFont typeface="Arial" charset="0"/>
              <a:buChar char="•"/>
            </a:pPr>
            <a:endParaRPr lang="en-GB" sz="1600" dirty="0">
              <a:solidFill>
                <a:srgbClr val="000066"/>
              </a:solidFill>
              <a:ea typeface="ヒラギノ角ゴ Pro W3" pitchFamily="1" charset="-128"/>
            </a:endParaRPr>
          </a:p>
        </p:txBody>
      </p:sp>
      <p:sp>
        <p:nvSpPr>
          <p:cNvPr id="11" name="Text Box 21"/>
          <p:cNvSpPr txBox="1">
            <a:spLocks noChangeArrowheads="1"/>
          </p:cNvSpPr>
          <p:nvPr/>
        </p:nvSpPr>
        <p:spPr bwMode="auto">
          <a:xfrm>
            <a:off x="1358361" y="1458538"/>
            <a:ext cx="6966773" cy="316706"/>
          </a:xfrm>
          <a:prstGeom prst="rect">
            <a:avLst/>
          </a:prstGeom>
          <a:noFill/>
          <a:ln w="9525">
            <a:noFill/>
            <a:miter lim="800000"/>
            <a:headEnd/>
            <a:tailEnd/>
          </a:ln>
        </p:spPr>
        <p:txBody>
          <a:bodyPr wrap="square" rIns="36000">
            <a:noAutofit/>
          </a:bodyPr>
          <a:lstStyle/>
          <a:p>
            <a:pPr>
              <a:spcBef>
                <a:spcPct val="50000"/>
              </a:spcBef>
            </a:pPr>
            <a:r>
              <a:rPr lang="en-US" b="1" i="1" dirty="0">
                <a:solidFill>
                  <a:srgbClr val="000066"/>
                </a:solidFill>
              </a:rPr>
              <a:t>Hot </a:t>
            </a:r>
            <a:r>
              <a:rPr lang="en-US" b="1" i="1" dirty="0" smtClean="0">
                <a:solidFill>
                  <a:srgbClr val="000066"/>
                </a:solidFill>
              </a:rPr>
              <a:t>Tips</a:t>
            </a:r>
          </a:p>
        </p:txBody>
      </p:sp>
    </p:spTree>
    <p:extLst>
      <p:ext uri="{BB962C8B-B14F-4D97-AF65-F5344CB8AC3E}">
        <p14:creationId xmlns:p14="http://schemas.microsoft.com/office/powerpoint/2010/main" val="3624240931"/>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
          <p:cNvSpPr>
            <a:spLocks noGrp="1" noChangeArrowheads="1"/>
          </p:cNvSpPr>
          <p:nvPr>
            <p:ph type="title"/>
          </p:nvPr>
        </p:nvSpPr>
        <p:spPr>
          <a:xfrm>
            <a:off x="358775" y="358775"/>
            <a:ext cx="8245475" cy="498475"/>
          </a:xfrm>
        </p:spPr>
        <p:txBody>
          <a:bodyPr/>
          <a:lstStyle/>
          <a:p>
            <a:r>
              <a:rPr lang="en-GB" sz="2400" dirty="0" smtClean="0"/>
              <a:t>Transferring activities to BAU</a:t>
            </a:r>
            <a:r>
              <a:rPr lang="en-US" sz="2400" dirty="0" smtClean="0"/>
              <a:t/>
            </a:r>
            <a:br>
              <a:rPr lang="en-US" sz="2400" dirty="0" smtClean="0"/>
            </a:br>
            <a:r>
              <a:rPr lang="en-GB" sz="1800" b="1" dirty="0">
                <a:solidFill>
                  <a:srgbClr val="99CC33"/>
                </a:solidFill>
                <a:cs typeface="Arial" pitchFamily="34" charset="0"/>
              </a:rPr>
              <a:t>Without this there is risk the changes and benefits may not be realised</a:t>
            </a:r>
          </a:p>
        </p:txBody>
      </p:sp>
      <p:sp>
        <p:nvSpPr>
          <p:cNvPr id="169986" name="Slide Number Placeholder 4"/>
          <p:cNvSpPr>
            <a:spLocks noGrp="1"/>
          </p:cNvSpPr>
          <p:nvPr>
            <p:ph type="sldNum" sz="quarter" idx="11"/>
          </p:nvPr>
        </p:nvSpPr>
        <p:spPr>
          <a:noFill/>
        </p:spPr>
        <p:txBody>
          <a:bodyPr/>
          <a:lstStyle/>
          <a:p>
            <a:fld id="{070EC345-D2A2-4FBE-9EF3-1184A91AFAA5}" type="slidenum">
              <a:rPr lang="en-GB" altLang="en-GB"/>
              <a:pPr/>
              <a:t>61</a:t>
            </a:fld>
            <a:endParaRPr lang="en-GB" altLang="en-GB"/>
          </a:p>
        </p:txBody>
      </p:sp>
      <p:pic>
        <p:nvPicPr>
          <p:cNvPr id="169988" name="Picture 2" descr="Stuff on camera 16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35375" y="2898113"/>
            <a:ext cx="1873250" cy="1587500"/>
          </a:xfrm>
          <a:prstGeom prst="rect">
            <a:avLst/>
          </a:prstGeom>
          <a:noFill/>
          <a:ln w="9525">
            <a:noFill/>
            <a:miter lim="800000"/>
            <a:headEnd/>
            <a:tailEnd/>
          </a:ln>
        </p:spPr>
      </p:pic>
      <p:grpSp>
        <p:nvGrpSpPr>
          <p:cNvPr id="2" name="Group 28"/>
          <p:cNvGrpSpPr>
            <a:grpSpLocks/>
          </p:cNvGrpSpPr>
          <p:nvPr/>
        </p:nvGrpSpPr>
        <p:grpSpPr bwMode="auto">
          <a:xfrm>
            <a:off x="3562350" y="1278863"/>
            <a:ext cx="2305050" cy="1512888"/>
            <a:chOff x="3562350" y="1052513"/>
            <a:chExt cx="2305051" cy="1512887"/>
          </a:xfrm>
        </p:grpSpPr>
        <p:sp>
          <p:nvSpPr>
            <p:cNvPr id="170006" name="AutoShape 4"/>
            <p:cNvSpPr>
              <a:spLocks noChangeArrowheads="1"/>
            </p:cNvSpPr>
            <p:nvPr/>
          </p:nvSpPr>
          <p:spPr bwMode="auto">
            <a:xfrm>
              <a:off x="3562350" y="1052513"/>
              <a:ext cx="2232025" cy="1512887"/>
            </a:xfrm>
            <a:prstGeom prst="wedgeRoundRectCallout">
              <a:avLst>
                <a:gd name="adj1" fmla="val 21125"/>
                <a:gd name="adj2" fmla="val 109708"/>
                <a:gd name="adj3" fmla="val 16667"/>
              </a:avLst>
            </a:prstGeom>
            <a:solidFill>
              <a:schemeClr val="bg1"/>
            </a:solidFill>
            <a:ln w="25400" algn="ctr">
              <a:solidFill>
                <a:srgbClr val="6666FF"/>
              </a:solidFill>
              <a:miter lim="800000"/>
              <a:headEnd/>
              <a:tailEnd/>
            </a:ln>
          </p:spPr>
          <p:txBody>
            <a:bodyPr wrap="none" anchor="ctr"/>
            <a:lstStyle/>
            <a:p>
              <a:pPr algn="ctr"/>
              <a:endParaRPr lang="en-US" b="0">
                <a:solidFill>
                  <a:srgbClr val="6666FF"/>
                </a:solidFill>
              </a:endParaRPr>
            </a:p>
          </p:txBody>
        </p:sp>
        <p:sp>
          <p:nvSpPr>
            <p:cNvPr id="170007" name="Text Box 5"/>
            <p:cNvSpPr txBox="1">
              <a:spLocks noChangeArrowheads="1"/>
            </p:cNvSpPr>
            <p:nvPr/>
          </p:nvSpPr>
          <p:spPr bwMode="auto">
            <a:xfrm>
              <a:off x="3706813" y="1125538"/>
              <a:ext cx="2159000" cy="304800"/>
            </a:xfrm>
            <a:prstGeom prst="rect">
              <a:avLst/>
            </a:prstGeom>
            <a:noFill/>
            <a:ln w="9525">
              <a:noFill/>
              <a:miter lim="800000"/>
              <a:headEnd/>
              <a:tailEnd/>
            </a:ln>
          </p:spPr>
          <p:txBody>
            <a:bodyPr>
              <a:spAutoFit/>
            </a:bodyPr>
            <a:lstStyle/>
            <a:p>
              <a:pPr>
                <a:spcBef>
                  <a:spcPct val="50000"/>
                </a:spcBef>
              </a:pPr>
              <a:r>
                <a:rPr lang="en-GB" sz="1400">
                  <a:solidFill>
                    <a:srgbClr val="000066"/>
                  </a:solidFill>
                </a:rPr>
                <a:t>Sustainability</a:t>
              </a:r>
            </a:p>
          </p:txBody>
        </p:sp>
        <p:sp>
          <p:nvSpPr>
            <p:cNvPr id="170008" name="Text Box 6"/>
            <p:cNvSpPr txBox="1">
              <a:spLocks noChangeArrowheads="1"/>
            </p:cNvSpPr>
            <p:nvPr/>
          </p:nvSpPr>
          <p:spPr bwMode="auto">
            <a:xfrm>
              <a:off x="3706813" y="1412875"/>
              <a:ext cx="2160588" cy="1006475"/>
            </a:xfrm>
            <a:prstGeom prst="rect">
              <a:avLst/>
            </a:prstGeom>
            <a:noFill/>
            <a:ln w="9525">
              <a:noFill/>
              <a:miter lim="800000"/>
              <a:headEnd/>
              <a:tailEnd/>
            </a:ln>
          </p:spPr>
          <p:txBody>
            <a:bodyPr>
              <a:spAutoFit/>
            </a:bodyPr>
            <a:lstStyle/>
            <a:p>
              <a:pPr marL="95250" indent="-95250">
                <a:spcBef>
                  <a:spcPct val="50000"/>
                </a:spcBef>
                <a:buFontTx/>
                <a:buChar char="•"/>
              </a:pPr>
              <a:r>
                <a:rPr lang="en-GB" sz="1200" b="0" dirty="0">
                  <a:solidFill>
                    <a:srgbClr val="000066"/>
                  </a:solidFill>
                </a:rPr>
                <a:t>Capture issues &amp; improvement actions</a:t>
              </a:r>
            </a:p>
            <a:p>
              <a:pPr marL="95250" indent="-95250">
                <a:spcBef>
                  <a:spcPct val="50000"/>
                </a:spcBef>
                <a:buFontTx/>
                <a:buChar char="•"/>
              </a:pPr>
              <a:r>
                <a:rPr lang="en-GB" sz="1200" b="0" dirty="0">
                  <a:solidFill>
                    <a:srgbClr val="000066"/>
                  </a:solidFill>
                </a:rPr>
                <a:t>Root cause analysis board</a:t>
              </a:r>
            </a:p>
            <a:p>
              <a:pPr marL="95250" indent="-95250">
                <a:spcBef>
                  <a:spcPct val="50000"/>
                </a:spcBef>
                <a:buFontTx/>
                <a:buChar char="•"/>
              </a:pPr>
              <a:r>
                <a:rPr lang="en-GB" sz="1200" b="0" dirty="0">
                  <a:solidFill>
                    <a:srgbClr val="000066"/>
                  </a:solidFill>
                </a:rPr>
                <a:t>Management reviews</a:t>
              </a:r>
            </a:p>
          </p:txBody>
        </p:sp>
      </p:grpSp>
      <p:grpSp>
        <p:nvGrpSpPr>
          <p:cNvPr id="3" name="Group 29"/>
          <p:cNvGrpSpPr>
            <a:grpSpLocks/>
          </p:cNvGrpSpPr>
          <p:nvPr/>
        </p:nvGrpSpPr>
        <p:grpSpPr bwMode="auto">
          <a:xfrm>
            <a:off x="362326" y="1278863"/>
            <a:ext cx="2663825" cy="1800225"/>
            <a:chOff x="539750" y="1052513"/>
            <a:chExt cx="2663825" cy="1800225"/>
          </a:xfrm>
        </p:grpSpPr>
        <p:sp>
          <p:nvSpPr>
            <p:cNvPr id="170003" name="AutoShape 8"/>
            <p:cNvSpPr>
              <a:spLocks noChangeArrowheads="1"/>
            </p:cNvSpPr>
            <p:nvPr/>
          </p:nvSpPr>
          <p:spPr bwMode="auto">
            <a:xfrm>
              <a:off x="539750" y="1052513"/>
              <a:ext cx="2663825" cy="1800225"/>
            </a:xfrm>
            <a:prstGeom prst="wedgeRoundRectCallout">
              <a:avLst>
                <a:gd name="adj1" fmla="val 78667"/>
                <a:gd name="adj2" fmla="val 100264"/>
                <a:gd name="adj3" fmla="val 16667"/>
              </a:avLst>
            </a:prstGeom>
            <a:solidFill>
              <a:schemeClr val="bg1"/>
            </a:solidFill>
            <a:ln w="25400" algn="ctr">
              <a:solidFill>
                <a:srgbClr val="6666FF"/>
              </a:solidFill>
              <a:miter lim="800000"/>
              <a:headEnd/>
              <a:tailEnd/>
            </a:ln>
          </p:spPr>
          <p:txBody>
            <a:bodyPr wrap="none" anchor="ctr"/>
            <a:lstStyle/>
            <a:p>
              <a:pPr algn="ctr"/>
              <a:endParaRPr lang="en-US" b="0">
                <a:solidFill>
                  <a:srgbClr val="6666FF"/>
                </a:solidFill>
              </a:endParaRPr>
            </a:p>
          </p:txBody>
        </p:sp>
        <p:sp>
          <p:nvSpPr>
            <p:cNvPr id="170004" name="Text Box 9"/>
            <p:cNvSpPr txBox="1">
              <a:spLocks noChangeArrowheads="1"/>
            </p:cNvSpPr>
            <p:nvPr/>
          </p:nvSpPr>
          <p:spPr bwMode="auto">
            <a:xfrm>
              <a:off x="611188" y="1125538"/>
              <a:ext cx="2159000" cy="304800"/>
            </a:xfrm>
            <a:prstGeom prst="rect">
              <a:avLst/>
            </a:prstGeom>
            <a:noFill/>
            <a:ln w="9525">
              <a:noFill/>
              <a:miter lim="800000"/>
              <a:headEnd/>
              <a:tailEnd/>
            </a:ln>
          </p:spPr>
          <p:txBody>
            <a:bodyPr>
              <a:spAutoFit/>
            </a:bodyPr>
            <a:lstStyle/>
            <a:p>
              <a:pPr>
                <a:spcBef>
                  <a:spcPct val="50000"/>
                </a:spcBef>
              </a:pPr>
              <a:r>
                <a:rPr lang="en-GB" sz="1400">
                  <a:solidFill>
                    <a:srgbClr val="000066"/>
                  </a:solidFill>
                </a:rPr>
                <a:t>People development</a:t>
              </a:r>
            </a:p>
          </p:txBody>
        </p:sp>
        <p:sp>
          <p:nvSpPr>
            <p:cNvPr id="170005" name="Text Box 10"/>
            <p:cNvSpPr txBox="1">
              <a:spLocks noChangeArrowheads="1"/>
            </p:cNvSpPr>
            <p:nvPr/>
          </p:nvSpPr>
          <p:spPr bwMode="auto">
            <a:xfrm>
              <a:off x="611188" y="1412876"/>
              <a:ext cx="2305050" cy="1373188"/>
            </a:xfrm>
            <a:prstGeom prst="rect">
              <a:avLst/>
            </a:prstGeom>
            <a:noFill/>
            <a:ln w="9525">
              <a:noFill/>
              <a:miter lim="800000"/>
              <a:headEnd/>
              <a:tailEnd/>
            </a:ln>
          </p:spPr>
          <p:txBody>
            <a:bodyPr>
              <a:spAutoFit/>
            </a:bodyPr>
            <a:lstStyle/>
            <a:p>
              <a:pPr marL="95250" indent="-95250">
                <a:spcBef>
                  <a:spcPct val="50000"/>
                </a:spcBef>
                <a:buFontTx/>
                <a:buChar char="•"/>
              </a:pPr>
              <a:r>
                <a:rPr lang="en-GB" sz="1200" b="0" dirty="0">
                  <a:solidFill>
                    <a:srgbClr val="000066"/>
                  </a:solidFill>
                </a:rPr>
                <a:t>Select the right people</a:t>
              </a:r>
            </a:p>
            <a:p>
              <a:pPr marL="95250" indent="-95250">
                <a:spcBef>
                  <a:spcPct val="50000"/>
                </a:spcBef>
                <a:buFontTx/>
                <a:buChar char="•"/>
              </a:pPr>
              <a:r>
                <a:rPr lang="en-GB" sz="1200" b="0" dirty="0">
                  <a:solidFill>
                    <a:srgbClr val="000066"/>
                  </a:solidFill>
                </a:rPr>
                <a:t>Define roles &amp; responsibilities</a:t>
              </a:r>
            </a:p>
            <a:p>
              <a:pPr marL="95250" indent="-95250">
                <a:spcBef>
                  <a:spcPct val="50000"/>
                </a:spcBef>
                <a:buFontTx/>
                <a:buChar char="•"/>
              </a:pPr>
              <a:r>
                <a:rPr lang="en-GB" sz="1200" b="0" dirty="0">
                  <a:solidFill>
                    <a:srgbClr val="000066"/>
                  </a:solidFill>
                </a:rPr>
                <a:t>Training on new process</a:t>
              </a:r>
            </a:p>
            <a:p>
              <a:pPr marL="95250" indent="-95250">
                <a:spcBef>
                  <a:spcPct val="50000"/>
                </a:spcBef>
                <a:buFontTx/>
                <a:buChar char="•"/>
              </a:pPr>
              <a:r>
                <a:rPr lang="en-GB" sz="1200" b="0" dirty="0">
                  <a:solidFill>
                    <a:srgbClr val="000066"/>
                  </a:solidFill>
                </a:rPr>
                <a:t>Daily team reviews</a:t>
              </a:r>
            </a:p>
            <a:p>
              <a:pPr marL="95250" indent="-95250">
                <a:spcBef>
                  <a:spcPct val="50000"/>
                </a:spcBef>
                <a:buFontTx/>
                <a:buChar char="•"/>
              </a:pPr>
              <a:r>
                <a:rPr lang="en-GB" sz="1200" b="0" dirty="0">
                  <a:solidFill>
                    <a:srgbClr val="000066"/>
                  </a:solidFill>
                </a:rPr>
                <a:t>Weekly reporting</a:t>
              </a:r>
            </a:p>
          </p:txBody>
        </p:sp>
      </p:grpSp>
      <p:grpSp>
        <p:nvGrpSpPr>
          <p:cNvPr id="4" name="Group 30"/>
          <p:cNvGrpSpPr>
            <a:grpSpLocks/>
          </p:cNvGrpSpPr>
          <p:nvPr/>
        </p:nvGrpSpPr>
        <p:grpSpPr bwMode="auto">
          <a:xfrm>
            <a:off x="362326" y="3763301"/>
            <a:ext cx="2663825" cy="2592387"/>
            <a:chOff x="539750" y="3573463"/>
            <a:chExt cx="2663825" cy="2592387"/>
          </a:xfrm>
        </p:grpSpPr>
        <p:sp>
          <p:nvSpPr>
            <p:cNvPr id="170000" name="AutoShape 12"/>
            <p:cNvSpPr>
              <a:spLocks noChangeArrowheads="1"/>
            </p:cNvSpPr>
            <p:nvPr/>
          </p:nvSpPr>
          <p:spPr bwMode="auto">
            <a:xfrm>
              <a:off x="539750" y="3573463"/>
              <a:ext cx="2663825" cy="2592387"/>
            </a:xfrm>
            <a:prstGeom prst="wedgeRoundRectCallout">
              <a:avLst>
                <a:gd name="adj1" fmla="val 67639"/>
                <a:gd name="adj2" fmla="val -31630"/>
                <a:gd name="adj3" fmla="val 16667"/>
              </a:avLst>
            </a:prstGeom>
            <a:solidFill>
              <a:schemeClr val="bg1"/>
            </a:solidFill>
            <a:ln w="25400" algn="ctr">
              <a:solidFill>
                <a:srgbClr val="6666FF"/>
              </a:solidFill>
              <a:miter lim="800000"/>
              <a:headEnd/>
              <a:tailEnd/>
            </a:ln>
          </p:spPr>
          <p:txBody>
            <a:bodyPr wrap="none" anchor="ctr"/>
            <a:lstStyle/>
            <a:p>
              <a:pPr algn="ctr"/>
              <a:endParaRPr lang="en-US" b="0">
                <a:solidFill>
                  <a:srgbClr val="6666FF"/>
                </a:solidFill>
              </a:endParaRPr>
            </a:p>
          </p:txBody>
        </p:sp>
        <p:sp>
          <p:nvSpPr>
            <p:cNvPr id="170001" name="Text Box 13"/>
            <p:cNvSpPr txBox="1">
              <a:spLocks noChangeArrowheads="1"/>
            </p:cNvSpPr>
            <p:nvPr/>
          </p:nvSpPr>
          <p:spPr bwMode="auto">
            <a:xfrm>
              <a:off x="684213" y="3644900"/>
              <a:ext cx="2303463" cy="304800"/>
            </a:xfrm>
            <a:prstGeom prst="rect">
              <a:avLst/>
            </a:prstGeom>
            <a:noFill/>
            <a:ln w="9525">
              <a:noFill/>
              <a:miter lim="800000"/>
              <a:headEnd/>
              <a:tailEnd/>
            </a:ln>
          </p:spPr>
          <p:txBody>
            <a:bodyPr>
              <a:spAutoFit/>
            </a:bodyPr>
            <a:lstStyle/>
            <a:p>
              <a:pPr>
                <a:spcBef>
                  <a:spcPct val="50000"/>
                </a:spcBef>
              </a:pPr>
              <a:r>
                <a:rPr lang="en-GB" sz="1400">
                  <a:solidFill>
                    <a:srgbClr val="000066"/>
                  </a:solidFill>
                </a:rPr>
                <a:t>Documentation</a:t>
              </a:r>
            </a:p>
          </p:txBody>
        </p:sp>
        <p:sp>
          <p:nvSpPr>
            <p:cNvPr id="170002" name="Text Box 14"/>
            <p:cNvSpPr txBox="1">
              <a:spLocks noChangeArrowheads="1"/>
            </p:cNvSpPr>
            <p:nvPr/>
          </p:nvSpPr>
          <p:spPr bwMode="auto">
            <a:xfrm>
              <a:off x="611188" y="3948113"/>
              <a:ext cx="2305050" cy="2012950"/>
            </a:xfrm>
            <a:prstGeom prst="rect">
              <a:avLst/>
            </a:prstGeom>
            <a:noFill/>
            <a:ln w="9525">
              <a:noFill/>
              <a:miter lim="800000"/>
              <a:headEnd/>
              <a:tailEnd/>
            </a:ln>
          </p:spPr>
          <p:txBody>
            <a:bodyPr>
              <a:spAutoFit/>
            </a:bodyPr>
            <a:lstStyle/>
            <a:p>
              <a:pPr marL="95250" indent="-95250">
                <a:spcBef>
                  <a:spcPct val="50000"/>
                </a:spcBef>
                <a:buFontTx/>
                <a:buChar char="•"/>
              </a:pPr>
              <a:r>
                <a:rPr lang="en-US" sz="1200" b="0" dirty="0">
                  <a:solidFill>
                    <a:srgbClr val="000066"/>
                  </a:solidFill>
                </a:rPr>
                <a:t>Process map</a:t>
              </a:r>
            </a:p>
            <a:p>
              <a:pPr marL="95250" indent="-95250">
                <a:spcBef>
                  <a:spcPct val="50000"/>
                </a:spcBef>
                <a:buFontTx/>
                <a:buChar char="•"/>
              </a:pPr>
              <a:r>
                <a:rPr lang="en-US" sz="1200" b="0" dirty="0">
                  <a:solidFill>
                    <a:srgbClr val="000066"/>
                  </a:solidFill>
                </a:rPr>
                <a:t>Critical contact blue print</a:t>
              </a:r>
              <a:endParaRPr lang="en-GB" sz="1200" b="0" dirty="0">
                <a:solidFill>
                  <a:srgbClr val="000066"/>
                </a:solidFill>
              </a:endParaRPr>
            </a:p>
            <a:p>
              <a:pPr marL="95250" indent="-95250">
                <a:spcBef>
                  <a:spcPct val="50000"/>
                </a:spcBef>
                <a:buFontTx/>
                <a:buChar char="•"/>
              </a:pPr>
              <a:r>
                <a:rPr lang="en-GB" sz="1200" b="0" dirty="0">
                  <a:solidFill>
                    <a:srgbClr val="000066"/>
                  </a:solidFill>
                </a:rPr>
                <a:t>Standardised Operating Procedures</a:t>
              </a:r>
            </a:p>
            <a:p>
              <a:pPr marL="95250" indent="-95250">
                <a:spcBef>
                  <a:spcPct val="50000"/>
                </a:spcBef>
                <a:buFontTx/>
                <a:buChar char="•"/>
              </a:pPr>
              <a:r>
                <a:rPr lang="en-US" sz="1200" b="0" dirty="0">
                  <a:solidFill>
                    <a:srgbClr val="000066"/>
                  </a:solidFill>
                </a:rPr>
                <a:t>Decision trees</a:t>
              </a:r>
            </a:p>
            <a:p>
              <a:pPr marL="95250" indent="-95250">
                <a:spcBef>
                  <a:spcPct val="50000"/>
                </a:spcBef>
                <a:buFontTx/>
                <a:buChar char="•"/>
              </a:pPr>
              <a:r>
                <a:rPr lang="en-US" sz="1200" b="0" dirty="0">
                  <a:solidFill>
                    <a:srgbClr val="000066"/>
                  </a:solidFill>
                </a:rPr>
                <a:t>Daily &amp; Weekly tasks</a:t>
              </a:r>
            </a:p>
            <a:p>
              <a:pPr marL="95250" indent="-95250">
                <a:spcBef>
                  <a:spcPct val="50000"/>
                </a:spcBef>
                <a:buFontTx/>
                <a:buChar char="•"/>
              </a:pPr>
              <a:r>
                <a:rPr lang="en-US" sz="1200" b="0" dirty="0">
                  <a:solidFill>
                    <a:srgbClr val="000066"/>
                  </a:solidFill>
                </a:rPr>
                <a:t>KPI definition &amp; reporting mechanism</a:t>
              </a:r>
              <a:endParaRPr lang="en-GB" sz="1200" b="0" dirty="0">
                <a:solidFill>
                  <a:srgbClr val="000066"/>
                </a:solidFill>
              </a:endParaRPr>
            </a:p>
          </p:txBody>
        </p:sp>
      </p:grpSp>
      <p:sp>
        <p:nvSpPr>
          <p:cNvPr id="169992" name="AutoShape 15"/>
          <p:cNvSpPr>
            <a:spLocks noChangeArrowheads="1"/>
          </p:cNvSpPr>
          <p:nvPr/>
        </p:nvSpPr>
        <p:spPr bwMode="auto">
          <a:xfrm rot="10800000">
            <a:off x="3563938" y="4555463"/>
            <a:ext cx="2016125" cy="142875"/>
          </a:xfrm>
          <a:prstGeom prst="triangle">
            <a:avLst>
              <a:gd name="adj" fmla="val 50000"/>
            </a:avLst>
          </a:prstGeom>
          <a:solidFill>
            <a:srgbClr val="6666FF"/>
          </a:solidFill>
          <a:ln w="9525">
            <a:solidFill>
              <a:schemeClr val="bg1"/>
            </a:solidFill>
            <a:miter lim="800000"/>
            <a:headEnd/>
            <a:tailEnd/>
          </a:ln>
        </p:spPr>
        <p:txBody>
          <a:bodyPr wrap="none" anchor="ctr"/>
          <a:lstStyle/>
          <a:p>
            <a:endParaRPr lang="en-US">
              <a:solidFill>
                <a:srgbClr val="000066"/>
              </a:solidFill>
            </a:endParaRPr>
          </a:p>
        </p:txBody>
      </p:sp>
      <p:sp>
        <p:nvSpPr>
          <p:cNvPr id="169993" name="Text Box 16"/>
          <p:cNvSpPr txBox="1">
            <a:spLocks noChangeArrowheads="1"/>
          </p:cNvSpPr>
          <p:nvPr/>
        </p:nvSpPr>
        <p:spPr bwMode="auto">
          <a:xfrm>
            <a:off x="3492500" y="4771363"/>
            <a:ext cx="5324475" cy="1794337"/>
          </a:xfrm>
          <a:prstGeom prst="rect">
            <a:avLst/>
          </a:prstGeom>
          <a:noFill/>
          <a:ln w="9525">
            <a:noFill/>
            <a:miter lim="800000"/>
            <a:headEnd/>
            <a:tailEnd/>
          </a:ln>
        </p:spPr>
        <p:txBody>
          <a:bodyPr wrap="square">
            <a:spAutoFit/>
          </a:bodyPr>
          <a:lstStyle/>
          <a:p>
            <a:pPr marL="177800" indent="-177800">
              <a:spcBef>
                <a:spcPct val="30000"/>
              </a:spcBef>
              <a:buFont typeface="Wingdings" pitchFamily="2" charset="2"/>
              <a:buChar char="§"/>
            </a:pPr>
            <a:r>
              <a:rPr lang="en-GB" sz="1400" dirty="0">
                <a:solidFill>
                  <a:srgbClr val="000066"/>
                </a:solidFill>
              </a:rPr>
              <a:t>All best practices harvested during the Work Pilot need to be captured onto the </a:t>
            </a:r>
            <a:r>
              <a:rPr lang="en-US" sz="1400" dirty="0">
                <a:solidFill>
                  <a:srgbClr val="000066"/>
                </a:solidFill>
              </a:rPr>
              <a:t>operations knowledge base</a:t>
            </a:r>
            <a:endParaRPr lang="en-GB" sz="1400" dirty="0">
              <a:solidFill>
                <a:srgbClr val="000066"/>
              </a:solidFill>
            </a:endParaRPr>
          </a:p>
          <a:p>
            <a:pPr marL="177800" indent="-177800">
              <a:spcBef>
                <a:spcPct val="30000"/>
              </a:spcBef>
              <a:buFont typeface="Wingdings" pitchFamily="2" charset="2"/>
              <a:buChar char="§"/>
            </a:pPr>
            <a:r>
              <a:rPr lang="en-US" sz="1400" dirty="0">
                <a:solidFill>
                  <a:srgbClr val="000066"/>
                </a:solidFill>
              </a:rPr>
              <a:t>Plan the transfer of the new process to BAU</a:t>
            </a:r>
          </a:p>
          <a:p>
            <a:pPr marL="177800" indent="-177800">
              <a:spcBef>
                <a:spcPct val="30000"/>
              </a:spcBef>
              <a:buFont typeface="Wingdings" pitchFamily="2" charset="2"/>
              <a:buChar char="§"/>
            </a:pPr>
            <a:r>
              <a:rPr lang="en-GB" sz="1400" dirty="0">
                <a:solidFill>
                  <a:srgbClr val="000066"/>
                </a:solidFill>
              </a:rPr>
              <a:t>Solution implementation plan established, including schedule/work breakdown structure, resources, risk management plan, cost/budget, and control plan</a:t>
            </a:r>
          </a:p>
          <a:p>
            <a:pPr marL="177800" indent="-177800">
              <a:spcBef>
                <a:spcPct val="30000"/>
              </a:spcBef>
              <a:buFont typeface="Wingdings" pitchFamily="2" charset="2"/>
              <a:buChar char="§"/>
            </a:pPr>
            <a:r>
              <a:rPr lang="en-GB" sz="1400" dirty="0">
                <a:solidFill>
                  <a:srgbClr val="000066"/>
                </a:solidFill>
              </a:rPr>
              <a:t>Contingency plan established</a:t>
            </a:r>
            <a:endParaRPr lang="en-US" sz="1400" dirty="0">
              <a:solidFill>
                <a:srgbClr val="000066"/>
              </a:solidFill>
            </a:endParaRPr>
          </a:p>
        </p:txBody>
      </p:sp>
      <p:grpSp>
        <p:nvGrpSpPr>
          <p:cNvPr id="5" name="Group 31"/>
          <p:cNvGrpSpPr>
            <a:grpSpLocks/>
          </p:cNvGrpSpPr>
          <p:nvPr/>
        </p:nvGrpSpPr>
        <p:grpSpPr bwMode="auto">
          <a:xfrm>
            <a:off x="6156325" y="1278863"/>
            <a:ext cx="2592388" cy="3455988"/>
            <a:chOff x="6156325" y="1052513"/>
            <a:chExt cx="2592388" cy="3455987"/>
          </a:xfrm>
        </p:grpSpPr>
        <p:sp>
          <p:nvSpPr>
            <p:cNvPr id="169996" name="AutoShape 18"/>
            <p:cNvSpPr>
              <a:spLocks noChangeArrowheads="1"/>
            </p:cNvSpPr>
            <p:nvPr/>
          </p:nvSpPr>
          <p:spPr bwMode="auto">
            <a:xfrm>
              <a:off x="6156325" y="1052513"/>
              <a:ext cx="2592388" cy="3455987"/>
            </a:xfrm>
            <a:prstGeom prst="wedgeRoundRectCallout">
              <a:avLst>
                <a:gd name="adj1" fmla="val -76588"/>
                <a:gd name="adj2" fmla="val 21519"/>
                <a:gd name="adj3" fmla="val 16667"/>
              </a:avLst>
            </a:prstGeom>
            <a:solidFill>
              <a:schemeClr val="bg1"/>
            </a:solidFill>
            <a:ln w="25400" algn="ctr">
              <a:solidFill>
                <a:srgbClr val="6666FF"/>
              </a:solidFill>
              <a:miter lim="800000"/>
              <a:headEnd/>
              <a:tailEnd/>
            </a:ln>
          </p:spPr>
          <p:txBody>
            <a:bodyPr wrap="none" anchor="ctr"/>
            <a:lstStyle/>
            <a:p>
              <a:pPr algn="ctr"/>
              <a:endParaRPr lang="en-US" b="0">
                <a:solidFill>
                  <a:srgbClr val="6666FF"/>
                </a:solidFill>
              </a:endParaRPr>
            </a:p>
          </p:txBody>
        </p:sp>
        <p:pic>
          <p:nvPicPr>
            <p:cNvPr id="169997" name="Picture 19" descr="Test Cell_ 00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55380" y="1412875"/>
              <a:ext cx="2159000" cy="1368425"/>
            </a:xfrm>
            <a:prstGeom prst="rect">
              <a:avLst/>
            </a:prstGeom>
            <a:noFill/>
            <a:ln w="9525">
              <a:noFill/>
              <a:miter lim="800000"/>
              <a:headEnd/>
              <a:tailEnd/>
            </a:ln>
          </p:spPr>
        </p:pic>
        <p:sp>
          <p:nvSpPr>
            <p:cNvPr id="169998" name="Text Box 20"/>
            <p:cNvSpPr txBox="1">
              <a:spLocks noChangeArrowheads="1"/>
            </p:cNvSpPr>
            <p:nvPr/>
          </p:nvSpPr>
          <p:spPr bwMode="auto">
            <a:xfrm>
              <a:off x="6300788" y="1125538"/>
              <a:ext cx="2159000" cy="304800"/>
            </a:xfrm>
            <a:prstGeom prst="rect">
              <a:avLst/>
            </a:prstGeom>
            <a:noFill/>
            <a:ln w="9525">
              <a:noFill/>
              <a:miter lim="800000"/>
              <a:headEnd/>
              <a:tailEnd/>
            </a:ln>
          </p:spPr>
          <p:txBody>
            <a:bodyPr>
              <a:spAutoFit/>
            </a:bodyPr>
            <a:lstStyle/>
            <a:p>
              <a:pPr>
                <a:spcBef>
                  <a:spcPct val="50000"/>
                </a:spcBef>
              </a:pPr>
              <a:r>
                <a:rPr lang="en-GB" sz="1400">
                  <a:solidFill>
                    <a:srgbClr val="000066"/>
                  </a:solidFill>
                </a:rPr>
                <a:t>Visual Management</a:t>
              </a:r>
            </a:p>
          </p:txBody>
        </p:sp>
        <p:sp>
          <p:nvSpPr>
            <p:cNvPr id="169999" name="Text Box 21"/>
            <p:cNvSpPr txBox="1">
              <a:spLocks noChangeArrowheads="1"/>
            </p:cNvSpPr>
            <p:nvPr/>
          </p:nvSpPr>
          <p:spPr bwMode="auto">
            <a:xfrm>
              <a:off x="6300788" y="2781300"/>
              <a:ext cx="2232025" cy="1647825"/>
            </a:xfrm>
            <a:prstGeom prst="rect">
              <a:avLst/>
            </a:prstGeom>
            <a:noFill/>
            <a:ln w="9525">
              <a:noFill/>
              <a:miter lim="800000"/>
              <a:headEnd/>
              <a:tailEnd/>
            </a:ln>
          </p:spPr>
          <p:txBody>
            <a:bodyPr>
              <a:spAutoFit/>
            </a:bodyPr>
            <a:lstStyle/>
            <a:p>
              <a:pPr marL="95250" indent="-95250">
                <a:spcBef>
                  <a:spcPct val="50000"/>
                </a:spcBef>
                <a:buFontTx/>
                <a:buChar char="•"/>
              </a:pPr>
              <a:r>
                <a:rPr lang="en-GB" sz="1200" b="0">
                  <a:solidFill>
                    <a:srgbClr val="000066"/>
                  </a:solidFill>
                </a:rPr>
                <a:t>Test cell mission</a:t>
              </a:r>
            </a:p>
            <a:p>
              <a:pPr marL="95250" indent="-95250">
                <a:spcBef>
                  <a:spcPct val="50000"/>
                </a:spcBef>
                <a:buFontTx/>
                <a:buChar char="•"/>
              </a:pPr>
              <a:r>
                <a:rPr lang="en-GB" sz="1200" b="0">
                  <a:solidFill>
                    <a:srgbClr val="000066"/>
                  </a:solidFill>
                </a:rPr>
                <a:t>Ways of working</a:t>
              </a:r>
            </a:p>
            <a:p>
              <a:pPr marL="95250" indent="-95250">
                <a:spcBef>
                  <a:spcPct val="50000"/>
                </a:spcBef>
                <a:buFontTx/>
                <a:buChar char="•"/>
              </a:pPr>
              <a:r>
                <a:rPr lang="en-GB" sz="1200" b="0">
                  <a:solidFill>
                    <a:srgbClr val="000066"/>
                  </a:solidFill>
                </a:rPr>
                <a:t>Team members</a:t>
              </a:r>
            </a:p>
            <a:p>
              <a:pPr marL="95250" indent="-95250">
                <a:spcBef>
                  <a:spcPct val="50000"/>
                </a:spcBef>
                <a:buFontTx/>
                <a:buChar char="•"/>
              </a:pPr>
              <a:r>
                <a:rPr lang="en-GB" sz="1200" b="0">
                  <a:solidFill>
                    <a:srgbClr val="000066"/>
                  </a:solidFill>
                </a:rPr>
                <a:t>Live skill matrix</a:t>
              </a:r>
            </a:p>
            <a:p>
              <a:pPr marL="95250" indent="-95250">
                <a:spcBef>
                  <a:spcPct val="50000"/>
                </a:spcBef>
                <a:buFontTx/>
                <a:buChar char="•"/>
              </a:pPr>
              <a:r>
                <a:rPr lang="en-GB" sz="1200" b="0">
                  <a:solidFill>
                    <a:srgbClr val="000066"/>
                  </a:solidFill>
                </a:rPr>
                <a:t>Live performance measures</a:t>
              </a:r>
            </a:p>
            <a:p>
              <a:pPr marL="95250" indent="-95250">
                <a:spcBef>
                  <a:spcPct val="50000"/>
                </a:spcBef>
                <a:buFontTx/>
                <a:buChar char="•"/>
              </a:pPr>
              <a:r>
                <a:rPr lang="en-GB" sz="1200" b="0">
                  <a:solidFill>
                    <a:srgbClr val="000066"/>
                  </a:solidFill>
                </a:rPr>
                <a:t>Tips &amp; learning points</a:t>
              </a:r>
            </a:p>
          </p:txBody>
        </p:sp>
      </p:grpSp>
    </p:spTree>
    <p:extLst>
      <p:ext uri="{BB962C8B-B14F-4D97-AF65-F5344CB8AC3E}">
        <p14:creationId xmlns:p14="http://schemas.microsoft.com/office/powerpoint/2010/main" val="213338197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Number Placeholder 4"/>
          <p:cNvSpPr>
            <a:spLocks noGrp="1"/>
          </p:cNvSpPr>
          <p:nvPr>
            <p:ph type="sldNum" sz="quarter" idx="11"/>
          </p:nvPr>
        </p:nvSpPr>
        <p:spPr>
          <a:noFill/>
        </p:spPr>
        <p:txBody>
          <a:bodyPr/>
          <a:lstStyle/>
          <a:p>
            <a:fld id="{070EC345-D2A2-4FBE-9EF3-1184A91AFAA5}" type="slidenum">
              <a:rPr lang="en-GB" altLang="en-GB"/>
              <a:pPr/>
              <a:t>62</a:t>
            </a:fld>
            <a:endParaRPr lang="en-GB" altLang="en-GB"/>
          </a:p>
        </p:txBody>
      </p:sp>
      <p:sp>
        <p:nvSpPr>
          <p:cNvPr id="169995" name="Rectangle 22"/>
          <p:cNvSpPr>
            <a:spLocks noChangeArrowheads="1"/>
          </p:cNvSpPr>
          <p:nvPr/>
        </p:nvSpPr>
        <p:spPr bwMode="auto">
          <a:xfrm>
            <a:off x="358775" y="188913"/>
            <a:ext cx="8391525" cy="619125"/>
          </a:xfrm>
          <a:prstGeom prst="rect">
            <a:avLst/>
          </a:prstGeom>
          <a:noFill/>
          <a:ln w="9525">
            <a:noFill/>
            <a:miter lim="800000"/>
            <a:headEnd/>
            <a:tailEnd/>
          </a:ln>
        </p:spPr>
        <p:txBody>
          <a:bodyPr lIns="0" tIns="0" rIns="0" bIns="0"/>
          <a:lstStyle/>
          <a:p>
            <a:pPr>
              <a:lnSpc>
                <a:spcPts val="2400"/>
              </a:lnSpc>
            </a:pPr>
            <a:r>
              <a:rPr lang="en-GB" sz="2200" b="0" dirty="0" smtClean="0">
                <a:solidFill>
                  <a:srgbClr val="000066"/>
                </a:solidFill>
              </a:rPr>
              <a:t>Set up and “improvement forum” to sustain </a:t>
            </a:r>
          </a:p>
          <a:p>
            <a:pPr>
              <a:lnSpc>
                <a:spcPts val="2400"/>
              </a:lnSpc>
            </a:pPr>
            <a:r>
              <a:rPr lang="en-GB" sz="2200" b="0" dirty="0" smtClean="0">
                <a:solidFill>
                  <a:srgbClr val="000066"/>
                </a:solidFill>
              </a:rPr>
              <a:t>continuous improvement actions into BAU </a:t>
            </a:r>
            <a:r>
              <a:rPr lang="en-GB" sz="2200" b="0" dirty="0">
                <a:solidFill>
                  <a:srgbClr val="000066"/>
                </a:solidFill>
              </a:rPr>
              <a:t/>
            </a:r>
            <a:br>
              <a:rPr lang="en-GB" sz="2200" b="0" dirty="0">
                <a:solidFill>
                  <a:srgbClr val="000066"/>
                </a:solidFill>
              </a:rPr>
            </a:br>
            <a:r>
              <a:rPr lang="en-GB" dirty="0" smtClean="0">
                <a:solidFill>
                  <a:srgbClr val="99CC33"/>
                </a:solidFill>
              </a:rPr>
              <a:t>Create an on-going way for the business to maintain improvements</a:t>
            </a:r>
            <a:endParaRPr lang="en-GB" dirty="0">
              <a:solidFill>
                <a:srgbClr val="99CC33"/>
              </a:solidFill>
            </a:endParaRPr>
          </a:p>
        </p:txBody>
      </p:sp>
      <p:pic>
        <p:nvPicPr>
          <p:cNvPr id="2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73037" y="1317332"/>
            <a:ext cx="8763000" cy="5094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8968274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3746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6434" name="Title 1"/>
          <p:cNvSpPr>
            <a:spLocks noGrp="1"/>
          </p:cNvSpPr>
          <p:nvPr>
            <p:ph type="title"/>
          </p:nvPr>
        </p:nvSpPr>
        <p:spPr/>
        <p:txBody>
          <a:bodyPr/>
          <a:lstStyle/>
          <a:p>
            <a:pPr eaLnBrk="1" hangingPunct="1"/>
            <a:r>
              <a:rPr lang="en-GB" sz="2400" dirty="0" smtClean="0"/>
              <a:t>Agenda</a:t>
            </a:r>
            <a:r>
              <a:rPr lang="en-GB" dirty="0" smtClean="0"/>
              <a:t/>
            </a:r>
            <a:br>
              <a:rPr lang="en-GB" dirty="0" smtClean="0"/>
            </a:br>
            <a:r>
              <a:rPr lang="en-GB" sz="1800" b="1" dirty="0" smtClean="0">
                <a:solidFill>
                  <a:schemeClr val="bg1"/>
                </a:solidFill>
                <a:cs typeface="Arial" pitchFamily="34" charset="0"/>
              </a:rPr>
              <a:t>Day 4 – Future State 2 &amp; Work Pilot</a:t>
            </a:r>
            <a:endParaRPr lang="en-GB" sz="1800" dirty="0" smtClean="0">
              <a:solidFill>
                <a:schemeClr val="bg1"/>
              </a:solidFill>
            </a:endParaRPr>
          </a:p>
        </p:txBody>
      </p:sp>
      <p:sp>
        <p:nvSpPr>
          <p:cNvPr id="146435" name="Slide Number Placeholder 4"/>
          <p:cNvSpPr>
            <a:spLocks noGrp="1"/>
          </p:cNvSpPr>
          <p:nvPr>
            <p:ph type="sldNum" sz="quarter" idx="11"/>
          </p:nvPr>
        </p:nvSpPr>
        <p:spPr>
          <a:noFill/>
        </p:spPr>
        <p:txBody>
          <a:bodyPr/>
          <a:lstStyle/>
          <a:p>
            <a:fld id="{82D34DDB-D9C1-4DB6-926B-ECFA1F44E4A6}" type="slidenum">
              <a:rPr lang="en-GB" altLang="en-GB"/>
              <a:pPr/>
              <a:t>63</a:t>
            </a:fld>
            <a:endParaRPr lang="en-GB" altLang="en-GB"/>
          </a:p>
        </p:txBody>
      </p:sp>
      <p:graphicFrame>
        <p:nvGraphicFramePr>
          <p:cNvPr id="8" name="Group 33"/>
          <p:cNvGraphicFramePr>
            <a:graphicFrameLocks noGrp="1"/>
          </p:cNvGraphicFramePr>
          <p:nvPr>
            <p:extLst>
              <p:ext uri="{D42A27DB-BD31-4B8C-83A1-F6EECF244321}">
                <p14:modId xmlns:p14="http://schemas.microsoft.com/office/powerpoint/2010/main" val="270129473"/>
              </p:ext>
            </p:extLst>
          </p:nvPr>
        </p:nvGraphicFramePr>
        <p:xfrm>
          <a:off x="466725" y="1268413"/>
          <a:ext cx="8353425" cy="5001118"/>
        </p:xfrm>
        <a:graphic>
          <a:graphicData uri="http://schemas.openxmlformats.org/drawingml/2006/table">
            <a:tbl>
              <a:tblPr/>
              <a:tblGrid>
                <a:gridCol w="1296987"/>
                <a:gridCol w="7056438"/>
              </a:tblGrid>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1</a:t>
                      </a:r>
                    </a:p>
                  </a:txBody>
                  <a:tcPr marL="90000" marR="90000" marT="46800" marB="46800" anchor="ctr" anchorCtr="1" horzOverflow="overflow">
                    <a:lnL cap="flat">
                      <a:noFill/>
                    </a:lnL>
                    <a:lnR w="3175" cap="flat" cmpd="sng" algn="ctr">
                      <a:noFill/>
                      <a:prstDash val="solid"/>
                      <a:round/>
                      <a:headEnd type="none" w="med" len="med"/>
                      <a:tailEnd type="none" w="med" len="med"/>
                    </a:lnR>
                    <a:lnT cap="flat">
                      <a:noFill/>
                    </a:lnT>
                    <a:lnB>
                      <a:noFill/>
                    </a:lnB>
                    <a:lnTlToBr>
                      <a:noFill/>
                    </a:lnTlToBr>
                    <a:lnBlToTr>
                      <a:noFill/>
                    </a:lnBlToTr>
                    <a:blipFill dpi="0" rotWithShape="0">
                      <a:blip r:embed="rId6"/>
                      <a:srcRect/>
                      <a:stretch>
                        <a:fillRect/>
                      </a:stretch>
                    </a:blipFill>
                  </a:tcPr>
                </a:tc>
                <a:tc>
                  <a:txBody>
                    <a:bodyPr/>
                    <a:lstStyle/>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defRPr/>
                      </a:pPr>
                      <a:r>
                        <a:rPr lang="en-GB" sz="1400" dirty="0" smtClean="0">
                          <a:solidFill>
                            <a:srgbClr val="000066"/>
                          </a:solidFill>
                          <a:cs typeface="Arial" pitchFamily="34" charset="0"/>
                        </a:rPr>
                        <a:t>Teach</a:t>
                      </a:r>
                      <a:r>
                        <a:rPr lang="en-GB" sz="1400" baseline="0" dirty="0" smtClean="0">
                          <a:solidFill>
                            <a:srgbClr val="000066"/>
                          </a:solidFill>
                          <a:cs typeface="Arial" pitchFamily="34" charset="0"/>
                        </a:rPr>
                        <a:t> Back – Days 1, 2, and 3</a:t>
                      </a:r>
                      <a:endParaRPr kumimoji="0" lang="en-GB" sz="1400" b="0" i="0" u="none" strike="noStrike" cap="none" normalizeH="0" baseline="0" dirty="0" smtClean="0">
                        <a:ln>
                          <a:noFill/>
                        </a:ln>
                        <a:solidFill>
                          <a:srgbClr val="000066"/>
                        </a:solidFill>
                        <a:effectLst/>
                        <a:latin typeface="Arial" pitchFamily="34" charset="0"/>
                      </a:endParaRPr>
                    </a:p>
                    <a:p>
                      <a:pPr marL="185738" marR="0" lvl="0" indent="-185738" algn="l" defTabSz="914400" rtl="0" eaLnBrk="1" fontAlgn="base" latinLnBrk="0" hangingPunct="1">
                        <a:lnSpc>
                          <a:spcPct val="100000"/>
                        </a:lnSpc>
                        <a:spcBef>
                          <a:spcPct val="0"/>
                        </a:spcBef>
                        <a:spcAft>
                          <a:spcPct val="20000"/>
                        </a:spcAft>
                        <a:buClrTx/>
                        <a:buSzPct val="120000"/>
                        <a:buFont typeface="Wingdings" pitchFamily="2" charset="2"/>
                        <a:buChar char="§"/>
                        <a:tabLst>
                          <a:tab pos="5715000" algn="l"/>
                        </a:tabLst>
                      </a:pPr>
                      <a:r>
                        <a:rPr kumimoji="0" lang="en-GB" sz="1400" b="0" i="0" u="none" strike="noStrike" cap="none" normalizeH="0" baseline="0" dirty="0" smtClean="0">
                          <a:ln>
                            <a:noFill/>
                          </a:ln>
                          <a:solidFill>
                            <a:srgbClr val="000066"/>
                          </a:solidFill>
                          <a:effectLst/>
                          <a:latin typeface="Arial" pitchFamily="34" charset="0"/>
                        </a:rPr>
                        <a:t>Introduction to Future State 2</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2</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Action</a:t>
                      </a:r>
                      <a:r>
                        <a:rPr lang="en-GB" sz="1400" baseline="0" dirty="0" smtClean="0">
                          <a:solidFill>
                            <a:srgbClr val="000066"/>
                          </a:solidFill>
                          <a:cs typeface="Arial" pitchFamily="34" charset="0"/>
                        </a:rPr>
                        <a:t> Brainstorm</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Breakdown Structure</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Work Packages</a:t>
                      </a:r>
                    </a:p>
                    <a:p>
                      <a:pPr marL="228600" indent="-228600" fontAlgn="base">
                        <a:spcBef>
                          <a:spcPct val="0"/>
                        </a:spcBef>
                        <a:buSzPct val="120000"/>
                        <a:buFont typeface="Wingdings" pitchFamily="2" charset="2"/>
                        <a:buChar char="§"/>
                        <a:tabLst>
                          <a:tab pos="5715000" algn="l"/>
                        </a:tabLst>
                      </a:pPr>
                      <a:r>
                        <a:rPr lang="en-GB" sz="1400" baseline="0" dirty="0" smtClean="0">
                          <a:solidFill>
                            <a:srgbClr val="000066"/>
                          </a:solidFill>
                          <a:cs typeface="Arial" pitchFamily="34" charset="0"/>
                        </a:rPr>
                        <a:t>Exercise - Implementing the Future State Design</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3</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Introduction</a:t>
                      </a:r>
                      <a:r>
                        <a:rPr lang="en-GB" sz="1400" baseline="0" dirty="0" smtClean="0">
                          <a:solidFill>
                            <a:srgbClr val="000066"/>
                          </a:solidFill>
                          <a:cs typeface="Arial" pitchFamily="34" charset="0"/>
                        </a:rPr>
                        <a:t> to </a:t>
                      </a:r>
                      <a:r>
                        <a:rPr lang="en-GB" sz="1400" dirty="0" smtClean="0">
                          <a:solidFill>
                            <a:srgbClr val="000066"/>
                          </a:solidFill>
                          <a:cs typeface="Arial" pitchFamily="34" charset="0"/>
                        </a:rPr>
                        <a:t>Work Pilot</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Set Up</a:t>
                      </a:r>
                      <a:r>
                        <a:rPr lang="en-GB" sz="1400" baseline="0" dirty="0" smtClean="0">
                          <a:solidFill>
                            <a:srgbClr val="000066"/>
                          </a:solidFill>
                          <a:cs typeface="Arial" pitchFamily="34" charset="0"/>
                        </a:rPr>
                        <a:t> &amp; Run a Work Pilot</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4</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un Final Simulation</a:t>
                      </a:r>
                    </a:p>
                    <a:p>
                      <a:pPr marL="228600" indent="-228600" fontAlgn="base">
                        <a:spcBef>
                          <a:spcPct val="0"/>
                        </a:spcBef>
                        <a:buSzPct val="120000"/>
                        <a:buFont typeface="Wingdings" pitchFamily="2" charset="2"/>
                        <a:buChar char="§"/>
                        <a:tabLst>
                          <a:tab pos="5715000" algn="l"/>
                        </a:tabLst>
                      </a:pPr>
                      <a:r>
                        <a:rPr lang="en-GB" sz="1400" dirty="0" smtClean="0">
                          <a:solidFill>
                            <a:srgbClr val="000066"/>
                          </a:solidFill>
                          <a:cs typeface="Arial" pitchFamily="34" charset="0"/>
                        </a:rPr>
                        <a:t>Record and review simulation performance</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798371">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0" i="0" u="none" strike="noStrike" cap="none" normalizeH="0" baseline="0" dirty="0" smtClean="0">
                          <a:ln>
                            <a:noFill/>
                          </a:ln>
                          <a:solidFill>
                            <a:srgbClr val="000066"/>
                          </a:solidFill>
                          <a:effectLst/>
                          <a:latin typeface="Arial" pitchFamily="34" charset="0"/>
                        </a:rPr>
                        <a:t>Section 5</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kern="1200" dirty="0" smtClean="0">
                          <a:solidFill>
                            <a:srgbClr val="000066"/>
                          </a:solidFill>
                          <a:latin typeface="+mn-lt"/>
                          <a:ea typeface="+mn-ea"/>
                          <a:cs typeface="Arial" pitchFamily="34" charset="0"/>
                        </a:rPr>
                        <a:t>Lean</a:t>
                      </a:r>
                      <a:r>
                        <a:rPr lang="en-GB" sz="1400" kern="1200" baseline="0" dirty="0" smtClean="0">
                          <a:solidFill>
                            <a:srgbClr val="000066"/>
                          </a:solidFill>
                          <a:latin typeface="+mn-lt"/>
                          <a:ea typeface="+mn-ea"/>
                          <a:cs typeface="Arial" pitchFamily="34" charset="0"/>
                        </a:rPr>
                        <a:t> management</a:t>
                      </a:r>
                      <a:r>
                        <a:rPr lang="en-GB" sz="1400" kern="1200" dirty="0" smtClean="0">
                          <a:solidFill>
                            <a:srgbClr val="000066"/>
                          </a:solidFill>
                          <a:latin typeface="+mn-lt"/>
                          <a:ea typeface="+mn-ea"/>
                          <a:cs typeface="Arial" pitchFamily="34" charset="0"/>
                        </a:rPr>
                        <a:t> tools and techniques</a:t>
                      </a:r>
                    </a:p>
                    <a:p>
                      <a:pPr marL="185738" indent="-185738" algn="l" defTabSz="914400" rtl="0" eaLnBrk="1" fontAlgn="base" latinLnBrk="0" hangingPunct="1">
                        <a:spcBef>
                          <a:spcPct val="0"/>
                        </a:spcBef>
                        <a:spcAft>
                          <a:spcPct val="20000"/>
                        </a:spcAft>
                        <a:buSzPct val="120000"/>
                        <a:buFont typeface="Wingdings" pitchFamily="2" charset="2"/>
                        <a:buChar char="§"/>
                        <a:tabLst>
                          <a:tab pos="5715000" algn="l"/>
                        </a:tabLst>
                      </a:pPr>
                      <a:r>
                        <a:rPr lang="en-GB" sz="1400" dirty="0" smtClean="0">
                          <a:solidFill>
                            <a:srgbClr val="000066"/>
                          </a:solidFill>
                          <a:cs typeface="Arial" pitchFamily="34" charset="0"/>
                        </a:rPr>
                        <a:t>Planning the</a:t>
                      </a:r>
                      <a:r>
                        <a:rPr lang="en-GB" sz="1400" baseline="0" dirty="0" smtClean="0">
                          <a:solidFill>
                            <a:srgbClr val="000066"/>
                          </a:solidFill>
                          <a:cs typeface="Arial" pitchFamily="34" charset="0"/>
                        </a:rPr>
                        <a:t> Transfer to BAU</a:t>
                      </a:r>
                      <a:endParaRPr lang="en-GB" sz="1400" kern="1200" dirty="0" smtClean="0">
                        <a:solidFill>
                          <a:srgbClr val="000066"/>
                        </a:solidFill>
                        <a:latin typeface="+mn-lt"/>
                        <a:ea typeface="+mn-ea"/>
                        <a:cs typeface="Arial" pitchFamily="34" charset="0"/>
                      </a:endParaRP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r h="860594">
                <a:tc>
                  <a:txBody>
                    <a:bodyPr/>
                    <a:lstStyle/>
                    <a:p>
                      <a:pPr marL="0" marR="0" lvl="0" indent="0" algn="l" defTabSz="914400" rtl="0" eaLnBrk="1" fontAlgn="base" latinLnBrk="0" hangingPunct="1">
                        <a:lnSpc>
                          <a:spcPct val="102000"/>
                        </a:lnSpc>
                        <a:spcBef>
                          <a:spcPct val="0"/>
                        </a:spcBef>
                        <a:spcAft>
                          <a:spcPct val="37000"/>
                        </a:spcAft>
                        <a:buClrTx/>
                        <a:buSzTx/>
                        <a:buFontTx/>
                        <a:buNone/>
                        <a:tabLst>
                          <a:tab pos="5715000" algn="l"/>
                        </a:tabLst>
                      </a:pPr>
                      <a:r>
                        <a:rPr kumimoji="0" lang="en-GB" sz="1800" b="1" i="0" u="none" strike="noStrike" cap="none" normalizeH="0" baseline="0" dirty="0" smtClean="0">
                          <a:ln>
                            <a:noFill/>
                          </a:ln>
                          <a:solidFill>
                            <a:schemeClr val="bg1"/>
                          </a:solidFill>
                          <a:effectLst/>
                          <a:latin typeface="Arial" pitchFamily="34" charset="0"/>
                        </a:rPr>
                        <a:t>Section 6</a:t>
                      </a:r>
                    </a:p>
                  </a:txBody>
                  <a:tcPr marL="90000" marR="90000" marT="46800" marB="46800" anchor="ctr" anchorCtr="1" horzOverflow="overflow">
                    <a:lnL cap="flat">
                      <a:noFill/>
                    </a:lnL>
                    <a:lnR w="3175" cap="flat" cmpd="sng" algn="ctr">
                      <a:noFill/>
                      <a:prstDash val="solid"/>
                      <a:round/>
                      <a:headEnd type="none" w="med" len="med"/>
                      <a:tailEnd type="none" w="med" len="med"/>
                    </a:lnR>
                    <a:lnT>
                      <a:noFill/>
                    </a:lnT>
                    <a:lnB cap="flat">
                      <a:noFill/>
                    </a:lnB>
                    <a:lnTlToBr>
                      <a:noFill/>
                    </a:lnTlToBr>
                    <a:lnBlToTr>
                      <a:noFill/>
                    </a:lnBlToTr>
                    <a:blipFill dpi="0" rotWithShape="0">
                      <a:blip r:embed="rId6"/>
                      <a:srcRect/>
                      <a:stretch>
                        <a:fillRect/>
                      </a:stretch>
                    </a:blipFill>
                  </a:tcPr>
                </a:tc>
                <a:tc>
                  <a:txBody>
                    <a:bodyPr/>
                    <a:lstStyle/>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600" b="1" kern="1200" dirty="0" smtClean="0">
                          <a:solidFill>
                            <a:schemeClr val="bg1"/>
                          </a:solidFill>
                          <a:latin typeface="+mn-lt"/>
                          <a:ea typeface="+mn-ea"/>
                          <a:cs typeface="Arial" pitchFamily="34" charset="0"/>
                        </a:rPr>
                        <a:t>Course Review &amp; Wrap up</a:t>
                      </a:r>
                    </a:p>
                    <a:p>
                      <a:pPr marL="185738" indent="-185738" algn="l" defTabSz="914400" rtl="0" eaLnBrk="1" fontAlgn="base" latinLnBrk="0" hangingPunct="1">
                        <a:spcBef>
                          <a:spcPct val="0"/>
                        </a:spcBef>
                        <a:spcAft>
                          <a:spcPts val="0"/>
                        </a:spcAft>
                        <a:buSzPct val="120000"/>
                        <a:buFont typeface="Wingdings" pitchFamily="2" charset="2"/>
                        <a:buChar char="§"/>
                        <a:tabLst>
                          <a:tab pos="5715000" algn="l"/>
                        </a:tabLst>
                      </a:pPr>
                      <a:r>
                        <a:rPr lang="en-GB" sz="1600" b="1" kern="1200" dirty="0" smtClean="0">
                          <a:solidFill>
                            <a:schemeClr val="bg1"/>
                          </a:solidFill>
                          <a:latin typeface="+mn-lt"/>
                          <a:ea typeface="+mn-ea"/>
                          <a:cs typeface="Arial" pitchFamily="34" charset="0"/>
                        </a:rPr>
                        <a:t>Overall WWW and WBBI</a:t>
                      </a:r>
                    </a:p>
                  </a:txBody>
                  <a:tcPr marL="90000" marR="90000" marT="46800" marB="468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68875053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5" name="Rectangle 2"/>
          <p:cNvSpPr>
            <a:spLocks noGrp="1" noChangeArrowheads="1"/>
          </p:cNvSpPr>
          <p:nvPr>
            <p:ph type="title"/>
          </p:nvPr>
        </p:nvSpPr>
        <p:spPr/>
        <p:txBody>
          <a:bodyPr/>
          <a:lstStyle/>
          <a:p>
            <a:pPr eaLnBrk="1" hangingPunct="1"/>
            <a:r>
              <a:rPr lang="en-GB" smtClean="0"/>
              <a:t>Day 4 Review and Wrap Up</a:t>
            </a:r>
          </a:p>
        </p:txBody>
      </p:sp>
      <p:sp>
        <p:nvSpPr>
          <p:cNvPr id="172036" name="Slide Number Placeholder 4"/>
          <p:cNvSpPr>
            <a:spLocks noGrp="1"/>
          </p:cNvSpPr>
          <p:nvPr>
            <p:ph type="sldNum" sz="quarter" idx="11"/>
          </p:nvPr>
        </p:nvSpPr>
        <p:spPr>
          <a:noFill/>
        </p:spPr>
        <p:txBody>
          <a:bodyPr/>
          <a:lstStyle/>
          <a:p>
            <a:fld id="{EA7386C8-5EBC-4B54-B56F-C94129F2E7FA}" type="slidenum">
              <a:rPr lang="en-GB" altLang="en-GB"/>
              <a:pPr/>
              <a:t>64</a:t>
            </a:fld>
            <a:endParaRPr lang="en-GB" altLang="en-GB" dirty="0"/>
          </a:p>
        </p:txBody>
      </p:sp>
      <p:sp>
        <p:nvSpPr>
          <p:cNvPr id="9" name="Rectangle 8"/>
          <p:cNvSpPr/>
          <p:nvPr/>
        </p:nvSpPr>
        <p:spPr>
          <a:xfrm>
            <a:off x="522288" y="1254125"/>
            <a:ext cx="5257800" cy="3328988"/>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GB" sz="1600" b="0">
                <a:solidFill>
                  <a:srgbClr val="000066"/>
                </a:solidFill>
                <a:cs typeface="Arial" pitchFamily="34" charset="0"/>
              </a:rPr>
              <a:t>We have:</a:t>
            </a:r>
          </a:p>
          <a:p>
            <a:pPr>
              <a:defRPr/>
            </a:pPr>
            <a:endParaRPr lang="en-GB" sz="1600" b="0">
              <a:solidFill>
                <a:srgbClr val="000066"/>
              </a:solidFill>
              <a:cs typeface="Arial" pitchFamily="34" charset="0"/>
            </a:endParaRPr>
          </a:p>
          <a:p>
            <a:pPr>
              <a:buFont typeface="Arial" pitchFamily="34" charset="0"/>
              <a:buChar char="•"/>
              <a:defRPr/>
            </a:pPr>
            <a:r>
              <a:rPr lang="en-GB" sz="1600" b="0">
                <a:solidFill>
                  <a:srgbClr val="000066"/>
                </a:solidFill>
                <a:cs typeface="Arial" pitchFamily="34" charset="0"/>
              </a:rPr>
              <a:t> Identified and Prioritised Work Packages</a:t>
            </a:r>
          </a:p>
          <a:p>
            <a:pPr>
              <a:buFont typeface="Arial" pitchFamily="34" charset="0"/>
              <a:buChar char="•"/>
              <a:defRPr/>
            </a:pPr>
            <a:r>
              <a:rPr lang="en-GB" sz="1600" b="0">
                <a:solidFill>
                  <a:srgbClr val="000066"/>
                </a:solidFill>
                <a:cs typeface="Arial" pitchFamily="34" charset="0"/>
              </a:rPr>
              <a:t> Created Charters and a High Level Plan</a:t>
            </a:r>
          </a:p>
          <a:p>
            <a:pPr>
              <a:buFont typeface="Arial" pitchFamily="34" charset="0"/>
              <a:buChar char="•"/>
              <a:defRPr/>
            </a:pPr>
            <a:r>
              <a:rPr lang="en-GB" sz="1600" b="0">
                <a:solidFill>
                  <a:srgbClr val="000066"/>
                </a:solidFill>
                <a:cs typeface="Arial" pitchFamily="34" charset="0"/>
              </a:rPr>
              <a:t> Run the simulation for the final time</a:t>
            </a:r>
          </a:p>
          <a:p>
            <a:pPr>
              <a:buFont typeface="Arial" pitchFamily="34" charset="0"/>
              <a:buChar char="•"/>
              <a:defRPr/>
            </a:pPr>
            <a:r>
              <a:rPr lang="en-GB" sz="1600" b="0">
                <a:solidFill>
                  <a:srgbClr val="000066"/>
                </a:solidFill>
                <a:cs typeface="Arial" pitchFamily="34" charset="0"/>
              </a:rPr>
              <a:t> Set Up and Run the Work Pilot</a:t>
            </a:r>
            <a:endParaRPr lang="en-GB" sz="1400" b="0">
              <a:solidFill>
                <a:srgbClr val="000066"/>
              </a:solidFill>
              <a:cs typeface="Arial" pitchFamily="34" charset="0"/>
            </a:endParaRPr>
          </a:p>
          <a:p>
            <a:pPr>
              <a:defRPr/>
            </a:pPr>
            <a:endParaRPr lang="en-GB" sz="1400" b="0">
              <a:solidFill>
                <a:srgbClr val="000066"/>
              </a:solidFill>
              <a:cs typeface="Arial" pitchFamily="34" charset="0"/>
            </a:endParaRPr>
          </a:p>
          <a:p>
            <a:pPr>
              <a:buFont typeface="Wingdings" pitchFamily="2" charset="2"/>
              <a:buChar char="§"/>
              <a:defRPr/>
            </a:pPr>
            <a:endParaRPr lang="en-GB" sz="1400" b="0">
              <a:solidFill>
                <a:srgbClr val="000066"/>
              </a:solidFill>
              <a:cs typeface="Arial" pitchFamily="34" charset="0"/>
            </a:endParaRPr>
          </a:p>
          <a:p>
            <a:pPr>
              <a:buFont typeface="Wingdings" pitchFamily="2" charset="2"/>
              <a:buChar char="§"/>
              <a:defRPr/>
            </a:pPr>
            <a:endParaRPr lang="en-GB" sz="1400" b="0">
              <a:solidFill>
                <a:srgbClr val="000066"/>
              </a:solidFill>
              <a:cs typeface="Arial" pitchFamily="34" charset="0"/>
            </a:endParaRPr>
          </a:p>
          <a:p>
            <a:pPr>
              <a:buFont typeface="Wingdings" pitchFamily="2" charset="2"/>
              <a:buChar char="§"/>
              <a:defRPr/>
            </a:pPr>
            <a:endParaRPr lang="en-GB" sz="1400" b="0">
              <a:solidFill>
                <a:srgbClr val="000066"/>
              </a:solidFill>
              <a:cs typeface="Arial" pitchFamily="34" charset="0"/>
            </a:endParaRPr>
          </a:p>
          <a:p>
            <a:pPr>
              <a:buFont typeface="Wingdings" pitchFamily="2" charset="2"/>
              <a:buChar char="§"/>
              <a:defRPr/>
            </a:pPr>
            <a:endParaRPr lang="en-GB" sz="1400" b="0">
              <a:solidFill>
                <a:srgbClr val="000066"/>
              </a:solidFill>
              <a:cs typeface="Arial" pitchFamily="34" charset="0"/>
            </a:endParaRPr>
          </a:p>
        </p:txBody>
      </p:sp>
      <p:grpSp>
        <p:nvGrpSpPr>
          <p:cNvPr id="2" name="Group 20"/>
          <p:cNvGrpSpPr/>
          <p:nvPr/>
        </p:nvGrpSpPr>
        <p:grpSpPr>
          <a:xfrm>
            <a:off x="423069" y="4673600"/>
            <a:ext cx="8297862" cy="1862138"/>
            <a:chOff x="265113" y="4673600"/>
            <a:chExt cx="8297862" cy="1862138"/>
          </a:xfrm>
        </p:grpSpPr>
        <p:grpSp>
          <p:nvGrpSpPr>
            <p:cNvPr id="3" name="Group 19"/>
            <p:cNvGrpSpPr/>
            <p:nvPr/>
          </p:nvGrpSpPr>
          <p:grpSpPr>
            <a:xfrm>
              <a:off x="265113" y="4854575"/>
              <a:ext cx="8297862" cy="1166813"/>
              <a:chOff x="265113" y="4854575"/>
              <a:chExt cx="8297862" cy="1166813"/>
            </a:xfrm>
          </p:grpSpPr>
          <p:sp>
            <p:nvSpPr>
              <p:cNvPr id="172038" name="AutoShape 19"/>
              <p:cNvSpPr>
                <a:spLocks noChangeArrowheads="1"/>
              </p:cNvSpPr>
              <p:nvPr/>
            </p:nvSpPr>
            <p:spPr bwMode="gray">
              <a:xfrm>
                <a:off x="265113" y="4856163"/>
                <a:ext cx="1657350" cy="1163637"/>
              </a:xfrm>
              <a:prstGeom prst="chevron">
                <a:avLst>
                  <a:gd name="adj" fmla="val 30372"/>
                </a:avLst>
              </a:prstGeom>
              <a:solidFill>
                <a:srgbClr val="002776"/>
              </a:solidFill>
              <a:ln w="12700" cap="rnd" algn="ctr">
                <a:noFill/>
                <a:miter lim="800000"/>
                <a:headEnd/>
                <a:tailEnd/>
              </a:ln>
            </p:spPr>
            <p:txBody>
              <a:bodyPr wrap="none" lIns="72000" tIns="54000" rIns="0" bIns="54000" anchor="ctr"/>
              <a:lstStyle/>
              <a:p>
                <a:pPr algn="ctr" defTabSz="1019175">
                  <a:lnSpc>
                    <a:spcPct val="110000"/>
                  </a:lnSpc>
                </a:pPr>
                <a:r>
                  <a:rPr lang="en-GB" sz="1200">
                    <a:solidFill>
                      <a:schemeClr val="bg1"/>
                    </a:solidFill>
                  </a:rPr>
                  <a:t>M</a:t>
                </a:r>
              </a:p>
            </p:txBody>
          </p:sp>
          <p:sp>
            <p:nvSpPr>
              <p:cNvPr id="172039" name="AutoShape 19"/>
              <p:cNvSpPr>
                <a:spLocks noChangeArrowheads="1"/>
              </p:cNvSpPr>
              <p:nvPr/>
            </p:nvSpPr>
            <p:spPr bwMode="gray">
              <a:xfrm>
                <a:off x="2919413" y="4857750"/>
                <a:ext cx="1655762" cy="1163638"/>
              </a:xfrm>
              <a:prstGeom prst="chevron">
                <a:avLst>
                  <a:gd name="adj" fmla="val 30342"/>
                </a:avLst>
              </a:prstGeom>
              <a:solidFill>
                <a:srgbClr val="0079A6"/>
              </a:solidFill>
              <a:ln w="12700" cap="rnd" algn="ctr">
                <a:noFill/>
                <a:miter lim="800000"/>
                <a:headEnd/>
                <a:tailEnd/>
              </a:ln>
            </p:spPr>
            <p:txBody>
              <a:bodyPr wrap="none" lIns="180000" tIns="54000" rIns="144000" bIns="54000" anchor="ctr"/>
              <a:lstStyle/>
              <a:p>
                <a:pPr algn="ctr" defTabSz="1019175">
                  <a:lnSpc>
                    <a:spcPct val="110000"/>
                  </a:lnSpc>
                </a:pPr>
                <a:r>
                  <a:rPr lang="en-GB" sz="1200">
                    <a:solidFill>
                      <a:schemeClr val="bg1"/>
                    </a:solidFill>
                  </a:rPr>
                  <a:t>CS2</a:t>
                </a:r>
              </a:p>
            </p:txBody>
          </p:sp>
          <p:sp>
            <p:nvSpPr>
              <p:cNvPr id="172040" name="AutoShape 19"/>
              <p:cNvSpPr>
                <a:spLocks noChangeArrowheads="1"/>
              </p:cNvSpPr>
              <p:nvPr/>
            </p:nvSpPr>
            <p:spPr bwMode="gray">
              <a:xfrm>
                <a:off x="1592263" y="4854575"/>
                <a:ext cx="1655762" cy="1163638"/>
              </a:xfrm>
              <a:prstGeom prst="chevron">
                <a:avLst>
                  <a:gd name="adj" fmla="val 30342"/>
                </a:avLst>
              </a:prstGeom>
              <a:solidFill>
                <a:srgbClr val="1462FF"/>
              </a:solidFill>
              <a:ln w="12700" cap="rnd" algn="ctr">
                <a:noFill/>
                <a:miter lim="800000"/>
                <a:headEnd/>
                <a:tailEnd/>
              </a:ln>
            </p:spPr>
            <p:txBody>
              <a:bodyPr wrap="none" lIns="180000" tIns="54000" rIns="144000" bIns="54000" anchor="ctr"/>
              <a:lstStyle/>
              <a:p>
                <a:pPr algn="ctr" defTabSz="1019175">
                  <a:lnSpc>
                    <a:spcPct val="110000"/>
                  </a:lnSpc>
                </a:pPr>
                <a:r>
                  <a:rPr lang="en-GB" sz="1200">
                    <a:solidFill>
                      <a:schemeClr val="bg1"/>
                    </a:solidFill>
                  </a:rPr>
                  <a:t>CS1</a:t>
                </a:r>
              </a:p>
            </p:txBody>
          </p:sp>
          <p:sp>
            <p:nvSpPr>
              <p:cNvPr id="172041" name="AutoShape 19"/>
              <p:cNvSpPr>
                <a:spLocks noChangeArrowheads="1"/>
              </p:cNvSpPr>
              <p:nvPr/>
            </p:nvSpPr>
            <p:spPr bwMode="gray">
              <a:xfrm>
                <a:off x="4243388" y="4856163"/>
                <a:ext cx="1655762" cy="1163637"/>
              </a:xfrm>
              <a:prstGeom prst="chevron">
                <a:avLst>
                  <a:gd name="adj" fmla="val 30342"/>
                </a:avLst>
              </a:prstGeom>
              <a:solidFill>
                <a:srgbClr val="00A1DE"/>
              </a:solidFill>
              <a:ln w="12700" cap="rnd" algn="ctr">
                <a:noFill/>
                <a:miter lim="800000"/>
                <a:headEnd/>
                <a:tailEnd/>
              </a:ln>
            </p:spPr>
            <p:txBody>
              <a:bodyPr wrap="none" lIns="180000" tIns="54000" rIns="144000" bIns="54000" anchor="ctr"/>
              <a:lstStyle/>
              <a:p>
                <a:pPr algn="ctr" defTabSz="1019175">
                  <a:lnSpc>
                    <a:spcPct val="110000"/>
                  </a:lnSpc>
                </a:pPr>
                <a:r>
                  <a:rPr lang="en-GB" sz="1200">
                    <a:solidFill>
                      <a:schemeClr val="bg1"/>
                    </a:solidFill>
                  </a:rPr>
                  <a:t>FS1</a:t>
                </a:r>
              </a:p>
            </p:txBody>
          </p:sp>
          <p:sp>
            <p:nvSpPr>
              <p:cNvPr id="172042" name="AutoShape 19"/>
              <p:cNvSpPr>
                <a:spLocks noChangeArrowheads="1"/>
              </p:cNvSpPr>
              <p:nvPr/>
            </p:nvSpPr>
            <p:spPr bwMode="gray">
              <a:xfrm>
                <a:off x="5570538" y="4856163"/>
                <a:ext cx="1655762" cy="1162050"/>
              </a:xfrm>
              <a:prstGeom prst="chevron">
                <a:avLst>
                  <a:gd name="adj" fmla="val 30470"/>
                </a:avLst>
              </a:prstGeom>
              <a:solidFill>
                <a:srgbClr val="72C7E7"/>
              </a:solidFill>
              <a:ln w="12700" cap="rnd" algn="ctr">
                <a:noFill/>
                <a:miter lim="800000"/>
                <a:headEnd/>
                <a:tailEnd/>
              </a:ln>
            </p:spPr>
            <p:txBody>
              <a:bodyPr wrap="none" lIns="180000" tIns="54000" rIns="144000" bIns="54000" anchor="ctr"/>
              <a:lstStyle/>
              <a:p>
                <a:pPr algn="ctr" defTabSz="1019175">
                  <a:lnSpc>
                    <a:spcPct val="110000"/>
                  </a:lnSpc>
                </a:pPr>
                <a:r>
                  <a:rPr lang="en-GB" sz="1200">
                    <a:solidFill>
                      <a:schemeClr val="bg1"/>
                    </a:solidFill>
                  </a:rPr>
                  <a:t>FS2</a:t>
                </a:r>
              </a:p>
            </p:txBody>
          </p:sp>
          <p:sp>
            <p:nvSpPr>
              <p:cNvPr id="172043" name="AutoShape 19"/>
              <p:cNvSpPr>
                <a:spLocks noChangeArrowheads="1"/>
              </p:cNvSpPr>
              <p:nvPr/>
            </p:nvSpPr>
            <p:spPr bwMode="gray">
              <a:xfrm>
                <a:off x="6907213" y="4856163"/>
                <a:ext cx="1655762" cy="1162050"/>
              </a:xfrm>
              <a:prstGeom prst="chevron">
                <a:avLst>
                  <a:gd name="adj" fmla="val 30357"/>
                </a:avLst>
              </a:prstGeom>
              <a:solidFill>
                <a:srgbClr val="52D0FF"/>
              </a:solidFill>
              <a:ln w="12700" cap="rnd" algn="ctr">
                <a:noFill/>
                <a:miter lim="800000"/>
                <a:headEnd/>
                <a:tailEnd/>
              </a:ln>
            </p:spPr>
            <p:txBody>
              <a:bodyPr wrap="none" lIns="180000" tIns="54000" rIns="144000" bIns="54000" anchor="ctr"/>
              <a:lstStyle/>
              <a:p>
                <a:pPr algn="ctr" defTabSz="1019175">
                  <a:lnSpc>
                    <a:spcPct val="110000"/>
                  </a:lnSpc>
                </a:pPr>
                <a:r>
                  <a:rPr lang="en-GB" sz="1200">
                    <a:solidFill>
                      <a:schemeClr val="bg1"/>
                    </a:solidFill>
                  </a:rPr>
                  <a:t>W</a:t>
                </a:r>
              </a:p>
            </p:txBody>
          </p:sp>
        </p:grpSp>
        <p:sp>
          <p:nvSpPr>
            <p:cNvPr id="172044" name="TextBox 40"/>
            <p:cNvSpPr txBox="1">
              <a:spLocks noChangeArrowheads="1"/>
            </p:cNvSpPr>
            <p:nvPr/>
          </p:nvSpPr>
          <p:spPr bwMode="auto">
            <a:xfrm>
              <a:off x="430213" y="4673600"/>
              <a:ext cx="1309687" cy="1862138"/>
            </a:xfrm>
            <a:prstGeom prst="rect">
              <a:avLst/>
            </a:prstGeom>
            <a:noFill/>
            <a:ln w="9525">
              <a:noFill/>
              <a:miter lim="800000"/>
              <a:headEnd/>
              <a:tailEnd/>
            </a:ln>
          </p:spPr>
          <p:txBody>
            <a:bodyPr>
              <a:spAutoFit/>
            </a:bodyPr>
            <a:lstStyle/>
            <a:p>
              <a:r>
                <a:rPr lang="en-GB" sz="11500">
                  <a:solidFill>
                    <a:srgbClr val="92D050"/>
                  </a:solidFill>
                  <a:sym typeface="Wingdings" pitchFamily="2" charset="2"/>
                </a:rPr>
                <a:t></a:t>
              </a:r>
              <a:endParaRPr lang="en-GB" sz="1400">
                <a:solidFill>
                  <a:srgbClr val="92D050"/>
                </a:solidFill>
              </a:endParaRPr>
            </a:p>
          </p:txBody>
        </p:sp>
        <p:sp>
          <p:nvSpPr>
            <p:cNvPr id="172045" name="TextBox 40"/>
            <p:cNvSpPr txBox="1">
              <a:spLocks noChangeArrowheads="1"/>
            </p:cNvSpPr>
            <p:nvPr/>
          </p:nvSpPr>
          <p:spPr bwMode="auto">
            <a:xfrm>
              <a:off x="1738313" y="4673600"/>
              <a:ext cx="1309687" cy="1862138"/>
            </a:xfrm>
            <a:prstGeom prst="rect">
              <a:avLst/>
            </a:prstGeom>
            <a:noFill/>
            <a:ln w="9525">
              <a:noFill/>
              <a:miter lim="800000"/>
              <a:headEnd/>
              <a:tailEnd/>
            </a:ln>
          </p:spPr>
          <p:txBody>
            <a:bodyPr>
              <a:spAutoFit/>
            </a:bodyPr>
            <a:lstStyle/>
            <a:p>
              <a:r>
                <a:rPr lang="en-GB" sz="11500">
                  <a:solidFill>
                    <a:srgbClr val="92D050"/>
                  </a:solidFill>
                  <a:sym typeface="Wingdings" pitchFamily="2" charset="2"/>
                </a:rPr>
                <a:t></a:t>
              </a:r>
              <a:endParaRPr lang="en-GB" sz="1400">
                <a:solidFill>
                  <a:srgbClr val="92D050"/>
                </a:solidFill>
              </a:endParaRPr>
            </a:p>
          </p:txBody>
        </p:sp>
        <p:sp>
          <p:nvSpPr>
            <p:cNvPr id="172046" name="TextBox 40"/>
            <p:cNvSpPr txBox="1">
              <a:spLocks noChangeArrowheads="1"/>
            </p:cNvSpPr>
            <p:nvPr/>
          </p:nvSpPr>
          <p:spPr bwMode="auto">
            <a:xfrm>
              <a:off x="3046413" y="4673600"/>
              <a:ext cx="1309687" cy="1862138"/>
            </a:xfrm>
            <a:prstGeom prst="rect">
              <a:avLst/>
            </a:prstGeom>
            <a:noFill/>
            <a:ln w="9525">
              <a:noFill/>
              <a:miter lim="800000"/>
              <a:headEnd/>
              <a:tailEnd/>
            </a:ln>
          </p:spPr>
          <p:txBody>
            <a:bodyPr>
              <a:spAutoFit/>
            </a:bodyPr>
            <a:lstStyle/>
            <a:p>
              <a:r>
                <a:rPr lang="en-GB" sz="11500">
                  <a:solidFill>
                    <a:srgbClr val="92D050"/>
                  </a:solidFill>
                  <a:sym typeface="Wingdings" pitchFamily="2" charset="2"/>
                </a:rPr>
                <a:t></a:t>
              </a:r>
              <a:endParaRPr lang="en-GB" sz="1400">
                <a:solidFill>
                  <a:srgbClr val="92D050"/>
                </a:solidFill>
              </a:endParaRPr>
            </a:p>
          </p:txBody>
        </p:sp>
        <p:sp>
          <p:nvSpPr>
            <p:cNvPr id="172047" name="TextBox 40"/>
            <p:cNvSpPr txBox="1">
              <a:spLocks noChangeArrowheads="1"/>
            </p:cNvSpPr>
            <p:nvPr/>
          </p:nvSpPr>
          <p:spPr bwMode="auto">
            <a:xfrm>
              <a:off x="4354513" y="4673600"/>
              <a:ext cx="1309687" cy="1862138"/>
            </a:xfrm>
            <a:prstGeom prst="rect">
              <a:avLst/>
            </a:prstGeom>
            <a:noFill/>
            <a:ln w="9525">
              <a:noFill/>
              <a:miter lim="800000"/>
              <a:headEnd/>
              <a:tailEnd/>
            </a:ln>
          </p:spPr>
          <p:txBody>
            <a:bodyPr>
              <a:spAutoFit/>
            </a:bodyPr>
            <a:lstStyle/>
            <a:p>
              <a:r>
                <a:rPr lang="en-GB" sz="11500">
                  <a:solidFill>
                    <a:srgbClr val="92D050"/>
                  </a:solidFill>
                  <a:sym typeface="Wingdings" pitchFamily="2" charset="2"/>
                </a:rPr>
                <a:t></a:t>
              </a:r>
              <a:endParaRPr lang="en-GB" sz="1400">
                <a:solidFill>
                  <a:srgbClr val="92D050"/>
                </a:solidFill>
              </a:endParaRPr>
            </a:p>
          </p:txBody>
        </p:sp>
        <p:sp>
          <p:nvSpPr>
            <p:cNvPr id="172048" name="TextBox 40"/>
            <p:cNvSpPr txBox="1">
              <a:spLocks noChangeArrowheads="1"/>
            </p:cNvSpPr>
            <p:nvPr/>
          </p:nvSpPr>
          <p:spPr bwMode="auto">
            <a:xfrm>
              <a:off x="5726113" y="4673600"/>
              <a:ext cx="1309687" cy="1862138"/>
            </a:xfrm>
            <a:prstGeom prst="rect">
              <a:avLst/>
            </a:prstGeom>
            <a:noFill/>
            <a:ln w="9525">
              <a:noFill/>
              <a:miter lim="800000"/>
              <a:headEnd/>
              <a:tailEnd/>
            </a:ln>
          </p:spPr>
          <p:txBody>
            <a:bodyPr>
              <a:spAutoFit/>
            </a:bodyPr>
            <a:lstStyle/>
            <a:p>
              <a:r>
                <a:rPr lang="en-GB" sz="11500">
                  <a:solidFill>
                    <a:srgbClr val="92D050"/>
                  </a:solidFill>
                  <a:sym typeface="Wingdings" pitchFamily="2" charset="2"/>
                </a:rPr>
                <a:t></a:t>
              </a:r>
              <a:endParaRPr lang="en-GB" sz="1400">
                <a:solidFill>
                  <a:srgbClr val="92D050"/>
                </a:solidFill>
              </a:endParaRPr>
            </a:p>
          </p:txBody>
        </p:sp>
        <p:sp>
          <p:nvSpPr>
            <p:cNvPr id="172049" name="TextBox 40"/>
            <p:cNvSpPr txBox="1">
              <a:spLocks noChangeArrowheads="1"/>
            </p:cNvSpPr>
            <p:nvPr/>
          </p:nvSpPr>
          <p:spPr bwMode="auto">
            <a:xfrm>
              <a:off x="7046913" y="4673600"/>
              <a:ext cx="1309687" cy="1862138"/>
            </a:xfrm>
            <a:prstGeom prst="rect">
              <a:avLst/>
            </a:prstGeom>
            <a:noFill/>
            <a:ln w="9525">
              <a:noFill/>
              <a:miter lim="800000"/>
              <a:headEnd/>
              <a:tailEnd/>
            </a:ln>
          </p:spPr>
          <p:txBody>
            <a:bodyPr>
              <a:spAutoFit/>
            </a:bodyPr>
            <a:lstStyle/>
            <a:p>
              <a:r>
                <a:rPr lang="en-GB" sz="11500" dirty="0">
                  <a:solidFill>
                    <a:srgbClr val="92D050"/>
                  </a:solidFill>
                  <a:sym typeface="Wingdings" pitchFamily="2" charset="2"/>
                </a:rPr>
                <a:t></a:t>
              </a:r>
              <a:endParaRPr lang="en-GB" sz="1400" dirty="0">
                <a:solidFill>
                  <a:srgbClr val="92D050"/>
                </a:solidFill>
              </a:endParaRPr>
            </a:p>
          </p:txBody>
        </p:sp>
      </p:grpSp>
      <p:sp>
        <p:nvSpPr>
          <p:cNvPr id="172050" name="AutoShape 19"/>
          <p:cNvSpPr>
            <a:spLocks noChangeArrowheads="1"/>
          </p:cNvSpPr>
          <p:nvPr/>
        </p:nvSpPr>
        <p:spPr bwMode="gray">
          <a:xfrm>
            <a:off x="1778000" y="3122613"/>
            <a:ext cx="1655763" cy="1162050"/>
          </a:xfrm>
          <a:prstGeom prst="chevron">
            <a:avLst>
              <a:gd name="adj" fmla="val 30470"/>
            </a:avLst>
          </a:prstGeom>
          <a:solidFill>
            <a:srgbClr val="72C7E7"/>
          </a:solidFill>
          <a:ln w="12700" cap="rnd" algn="ctr">
            <a:noFill/>
            <a:miter lim="800000"/>
            <a:headEnd/>
            <a:tailEnd/>
          </a:ln>
        </p:spPr>
        <p:txBody>
          <a:bodyPr wrap="none" lIns="180000" tIns="54000" rIns="144000" bIns="54000" anchor="ctr"/>
          <a:lstStyle/>
          <a:p>
            <a:pPr algn="ctr" defTabSz="1019175">
              <a:lnSpc>
                <a:spcPct val="110000"/>
              </a:lnSpc>
            </a:pPr>
            <a:r>
              <a:rPr lang="en-GB" sz="1200">
                <a:solidFill>
                  <a:schemeClr val="bg1"/>
                </a:solidFill>
              </a:rPr>
              <a:t>FS2</a:t>
            </a:r>
          </a:p>
        </p:txBody>
      </p:sp>
      <p:sp>
        <p:nvSpPr>
          <p:cNvPr id="172051" name="AutoShape 19"/>
          <p:cNvSpPr>
            <a:spLocks noChangeArrowheads="1"/>
          </p:cNvSpPr>
          <p:nvPr/>
        </p:nvSpPr>
        <p:spPr bwMode="gray">
          <a:xfrm>
            <a:off x="3114675" y="3122613"/>
            <a:ext cx="1655763" cy="1162050"/>
          </a:xfrm>
          <a:prstGeom prst="chevron">
            <a:avLst>
              <a:gd name="adj" fmla="val 30358"/>
            </a:avLst>
          </a:prstGeom>
          <a:solidFill>
            <a:srgbClr val="52D0FF"/>
          </a:solidFill>
          <a:ln w="12700" cap="rnd" algn="ctr">
            <a:noFill/>
            <a:miter lim="800000"/>
            <a:headEnd/>
            <a:tailEnd/>
          </a:ln>
        </p:spPr>
        <p:txBody>
          <a:bodyPr wrap="none" lIns="180000" tIns="54000" rIns="144000" bIns="54000" anchor="ctr"/>
          <a:lstStyle/>
          <a:p>
            <a:pPr algn="ctr" defTabSz="1019175">
              <a:lnSpc>
                <a:spcPct val="110000"/>
              </a:lnSpc>
            </a:pPr>
            <a:r>
              <a:rPr lang="en-GB" sz="1200">
                <a:solidFill>
                  <a:schemeClr val="bg1"/>
                </a:solidFill>
              </a:rPr>
              <a:t>W</a:t>
            </a:r>
          </a:p>
        </p:txBody>
      </p:sp>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La communauté</a:t>
            </a:r>
            <a:endParaRPr lang="fr-FR" dirty="0"/>
          </a:p>
        </p:txBody>
      </p:sp>
      <p:sp>
        <p:nvSpPr>
          <p:cNvPr id="4" name="Slide Number Placeholder 3"/>
          <p:cNvSpPr>
            <a:spLocks noGrp="1"/>
          </p:cNvSpPr>
          <p:nvPr>
            <p:ph type="sldNum" sz="quarter" idx="4"/>
          </p:nvPr>
        </p:nvSpPr>
        <p:spPr/>
        <p:txBody>
          <a:bodyPr/>
          <a:lstStyle/>
          <a:p>
            <a:fld id="{95CC1D26-A9BD-4BDE-BDD9-08EDBAE96860}" type="slidenum">
              <a:rPr lang="en-GB" smtClean="0"/>
              <a:pPr/>
              <a:t>65</a:t>
            </a:fld>
            <a:endParaRPr lang="en-GB" dirty="0"/>
          </a:p>
        </p:txBody>
      </p:sp>
      <p:sp>
        <p:nvSpPr>
          <p:cNvPr id="2" name="Text Placeholder 1"/>
          <p:cNvSpPr>
            <a:spLocks noGrp="1"/>
          </p:cNvSpPr>
          <p:nvPr>
            <p:ph type="body" sz="quarter" idx="10"/>
          </p:nvPr>
        </p:nvSpPr>
        <p:spPr/>
        <p:txBody>
          <a:bodyPr/>
          <a:lstStyle/>
          <a:p>
            <a:r>
              <a:rPr lang="fr-FR" dirty="0" smtClean="0"/>
              <a:t>Rejoignez nous !</a:t>
            </a:r>
            <a:endParaRPr lang="fr-FR" dirty="0"/>
          </a:p>
        </p:txBody>
      </p:sp>
    </p:spTree>
    <p:extLst>
      <p:ext uri="{BB962C8B-B14F-4D97-AF65-F5344CB8AC3E}">
        <p14:creationId xmlns:p14="http://schemas.microsoft.com/office/powerpoint/2010/main" val="2101777063"/>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fr-FR" dirty="0" smtClean="0"/>
              <a:t>Montée en compétence des équipes</a:t>
            </a:r>
            <a:endParaRPr lang="fr-FR" dirty="0"/>
          </a:p>
        </p:txBody>
      </p:sp>
      <p:sp>
        <p:nvSpPr>
          <p:cNvPr id="3" name="Title 2"/>
          <p:cNvSpPr>
            <a:spLocks noGrp="1"/>
          </p:cNvSpPr>
          <p:nvPr>
            <p:ph type="title"/>
          </p:nvPr>
        </p:nvSpPr>
        <p:spPr/>
        <p:txBody>
          <a:bodyPr/>
          <a:lstStyle/>
          <a:p>
            <a:r>
              <a:rPr lang="fr-FR" dirty="0"/>
              <a:t>Lean Six Sigma en a</a:t>
            </a:r>
            <a:r>
              <a:rPr lang="fr-FR" dirty="0" smtClean="0"/>
              <a:t>ction</a:t>
            </a:r>
            <a:endParaRPr lang="fr-FR" dirty="0"/>
          </a:p>
        </p:txBody>
      </p:sp>
      <p:sp>
        <p:nvSpPr>
          <p:cNvPr id="6" name="Slide Number Placeholder 5"/>
          <p:cNvSpPr>
            <a:spLocks noGrp="1"/>
          </p:cNvSpPr>
          <p:nvPr>
            <p:ph type="sldNum" sz="quarter" idx="4"/>
          </p:nvPr>
        </p:nvSpPr>
        <p:spPr>
          <a:xfrm>
            <a:off x="386471" y="6494812"/>
            <a:ext cx="792088" cy="113557"/>
          </a:xfrm>
        </p:spPr>
        <p:txBody>
          <a:bodyPr/>
          <a:lstStyle/>
          <a:p>
            <a:pPr algn="l"/>
            <a:fld id="{95CC1D26-A9BD-4BDE-BDD9-08EDBAE96860}" type="slidenum">
              <a:rPr lang="en-GB" smtClean="0">
                <a:solidFill>
                  <a:schemeClr val="tx1"/>
                </a:solidFill>
              </a:rPr>
              <a:pPr algn="l"/>
              <a:t>66</a:t>
            </a:fld>
            <a:endParaRPr lang="en-GB" dirty="0">
              <a:solidFill>
                <a:schemeClr val="tx1"/>
              </a:solidFill>
            </a:endParaRPr>
          </a:p>
        </p:txBody>
      </p:sp>
      <p:grpSp>
        <p:nvGrpSpPr>
          <p:cNvPr id="7" name="Group 6"/>
          <p:cNvGrpSpPr/>
          <p:nvPr/>
        </p:nvGrpSpPr>
        <p:grpSpPr>
          <a:xfrm>
            <a:off x="344280" y="1645530"/>
            <a:ext cx="4320480" cy="4519887"/>
            <a:chOff x="1258888" y="3975100"/>
            <a:chExt cx="2660650" cy="2333625"/>
          </a:xfrm>
        </p:grpSpPr>
        <p:sp>
          <p:nvSpPr>
            <p:cNvPr id="8" name="Freeform 9"/>
            <p:cNvSpPr>
              <a:spLocks/>
            </p:cNvSpPr>
            <p:nvPr>
              <p:custDataLst>
                <p:tags r:id="rId1"/>
              </p:custDataLst>
            </p:nvPr>
          </p:nvSpPr>
          <p:spPr bwMode="blackWhite">
            <a:xfrm>
              <a:off x="1258888" y="5835650"/>
              <a:ext cx="2660650"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rgbClr val="FFFF00"/>
            </a:solidFill>
            <a:ln w="12700" cap="rnd">
              <a:solidFill>
                <a:schemeClr val="bg1"/>
              </a:solidFill>
              <a:round/>
              <a:headEnd type="none" w="sm" len="sm"/>
              <a:tailEnd type="none" w="sm" len="sm"/>
            </a:ln>
          </p:spPr>
          <p:txBody>
            <a:bodyPr lIns="33231" tIns="33231" rIns="33231" bIns="33231" anchor="ctr" anchorCtr="0">
              <a:noAutofit/>
            </a:bodyPr>
            <a:lstStyle/>
            <a:p>
              <a:pPr algn="ctr"/>
              <a:r>
                <a:rPr lang="en-US" sz="1292" dirty="0">
                  <a:solidFill>
                    <a:schemeClr val="tx1">
                      <a:lumMod val="75000"/>
                      <a:lumOff val="25000"/>
                    </a:schemeClr>
                  </a:solidFill>
                </a:rPr>
                <a:t>Yellow Belt </a:t>
              </a:r>
            </a:p>
          </p:txBody>
        </p:sp>
        <p:sp>
          <p:nvSpPr>
            <p:cNvPr id="9" name="Freeform 10"/>
            <p:cNvSpPr>
              <a:spLocks/>
            </p:cNvSpPr>
            <p:nvPr>
              <p:custDataLst>
                <p:tags r:id="rId2"/>
              </p:custDataLst>
            </p:nvPr>
          </p:nvSpPr>
          <p:spPr bwMode="blackWhite">
            <a:xfrm>
              <a:off x="2122488" y="3975100"/>
              <a:ext cx="935037"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tx1">
                <a:lumMod val="75000"/>
                <a:lumOff val="25000"/>
              </a:schemeClr>
            </a:solidFill>
            <a:ln w="12700" cap="rnd">
              <a:solidFill>
                <a:schemeClr val="bg1"/>
              </a:solidFill>
              <a:round/>
              <a:headEnd type="none" w="sm" len="sm"/>
              <a:tailEnd type="none" w="sm" len="sm"/>
            </a:ln>
          </p:spPr>
          <p:txBody>
            <a:bodyPr lIns="33231" tIns="265846" rIns="33231" bIns="33231" anchor="ctr" anchorCtr="0">
              <a:noAutofit/>
            </a:bodyPr>
            <a:lstStyle/>
            <a:p>
              <a:pPr algn="ctr">
                <a:defRPr/>
              </a:pPr>
              <a:r>
                <a:rPr lang="en-US" sz="1292" dirty="0">
                  <a:solidFill>
                    <a:schemeClr val="bg1"/>
                  </a:solidFill>
                </a:rPr>
                <a:t>Master</a:t>
              </a:r>
            </a:p>
            <a:p>
              <a:pPr algn="ctr">
                <a:defRPr/>
              </a:pPr>
              <a:r>
                <a:rPr lang="en-US" sz="1292" dirty="0">
                  <a:solidFill>
                    <a:schemeClr val="bg1"/>
                  </a:solidFill>
                </a:rPr>
                <a:t> Black Belt </a:t>
              </a:r>
            </a:p>
          </p:txBody>
        </p:sp>
        <p:sp>
          <p:nvSpPr>
            <p:cNvPr id="10" name="Freeform 11"/>
            <p:cNvSpPr>
              <a:spLocks/>
            </p:cNvSpPr>
            <p:nvPr>
              <p:custDataLst>
                <p:tags r:id="rId3"/>
              </p:custDataLst>
            </p:nvPr>
          </p:nvSpPr>
          <p:spPr bwMode="blackWhite">
            <a:xfrm>
              <a:off x="1825625" y="4794250"/>
              <a:ext cx="1527175"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tx1">
                <a:lumMod val="50000"/>
                <a:lumOff val="50000"/>
              </a:schemeClr>
            </a:solidFill>
            <a:ln w="12700" cap="rnd">
              <a:solidFill>
                <a:schemeClr val="bg1"/>
              </a:solidFill>
              <a:round/>
              <a:headEnd type="none" w="sm" len="sm"/>
              <a:tailEnd type="none" w="sm" len="sm"/>
            </a:ln>
          </p:spPr>
          <p:txBody>
            <a:bodyPr lIns="33231" tIns="33231" rIns="33231" bIns="33231" anchor="ctr" anchorCtr="0">
              <a:noAutofit/>
            </a:bodyPr>
            <a:lstStyle/>
            <a:p>
              <a:pPr algn="ctr">
                <a:defRPr/>
              </a:pPr>
              <a:r>
                <a:rPr lang="en-US" sz="1292" dirty="0">
                  <a:solidFill>
                    <a:schemeClr val="bg1"/>
                  </a:solidFill>
                </a:rPr>
                <a:t>Black Belt </a:t>
              </a:r>
            </a:p>
          </p:txBody>
        </p:sp>
        <p:sp>
          <p:nvSpPr>
            <p:cNvPr id="11" name="Freeform 12"/>
            <p:cNvSpPr>
              <a:spLocks/>
            </p:cNvSpPr>
            <p:nvPr>
              <p:custDataLst>
                <p:tags r:id="rId4"/>
              </p:custDataLst>
            </p:nvPr>
          </p:nvSpPr>
          <p:spPr bwMode="blackWhite">
            <a:xfrm>
              <a:off x="1528763" y="5313363"/>
              <a:ext cx="2120900"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chemeClr val="accent2">
                <a:lumMod val="75000"/>
              </a:schemeClr>
            </a:solidFill>
            <a:ln w="12700" cap="rnd">
              <a:solidFill>
                <a:schemeClr val="bg1"/>
              </a:solidFill>
              <a:round/>
              <a:headEnd type="none" w="sm" len="sm"/>
              <a:tailEnd type="none" w="sm" len="sm"/>
            </a:ln>
          </p:spPr>
          <p:txBody>
            <a:bodyPr lIns="33231" tIns="33231" rIns="33231" bIns="33231" anchor="ctr" anchorCtr="0">
              <a:noAutofit/>
            </a:bodyPr>
            <a:lstStyle/>
            <a:p>
              <a:pPr algn="ctr"/>
              <a:r>
                <a:rPr lang="en-US" sz="1292" dirty="0">
                  <a:solidFill>
                    <a:schemeClr val="bg1"/>
                  </a:solidFill>
                </a:rPr>
                <a:t>Green Belt </a:t>
              </a:r>
            </a:p>
          </p:txBody>
        </p:sp>
      </p:grpSp>
      <p:sp>
        <p:nvSpPr>
          <p:cNvPr id="12" name="Rectangle 11"/>
          <p:cNvSpPr/>
          <p:nvPr/>
        </p:nvSpPr>
        <p:spPr>
          <a:xfrm>
            <a:off x="4664758" y="5350636"/>
            <a:ext cx="3921666" cy="553998"/>
          </a:xfrm>
          <a:prstGeom prst="rect">
            <a:avLst/>
          </a:prstGeom>
        </p:spPr>
        <p:txBody>
          <a:bodyPr wrap="square">
            <a:spAutoFit/>
          </a:bodyPr>
          <a:lstStyle/>
          <a:p>
            <a:r>
              <a:rPr lang="fr-FR" sz="1000" dirty="0">
                <a:solidFill>
                  <a:schemeClr val="tx1">
                    <a:lumMod val="65000"/>
                    <a:lumOff val="35000"/>
                  </a:schemeClr>
                </a:solidFill>
              </a:rPr>
              <a:t>Le </a:t>
            </a:r>
            <a:r>
              <a:rPr lang="fr-FR" sz="1000" u="sng" dirty="0">
                <a:solidFill>
                  <a:schemeClr val="tx1">
                    <a:lumMod val="65000"/>
                    <a:lumOff val="35000"/>
                  </a:schemeClr>
                </a:solidFill>
              </a:rPr>
              <a:t>Yellow Belt</a:t>
            </a:r>
            <a:r>
              <a:rPr lang="fr-FR" sz="1000" dirty="0">
                <a:solidFill>
                  <a:schemeClr val="tx1">
                    <a:lumMod val="65000"/>
                    <a:lumOff val="35000"/>
                  </a:schemeClr>
                </a:solidFill>
              </a:rPr>
              <a:t> accompagne les projets d’amélioration de processus. Il comprend la méthodologie et est capable de suivre les projets. </a:t>
            </a:r>
          </a:p>
        </p:txBody>
      </p:sp>
      <p:cxnSp>
        <p:nvCxnSpPr>
          <p:cNvPr id="13" name="Straight Connector 12"/>
          <p:cNvCxnSpPr/>
          <p:nvPr/>
        </p:nvCxnSpPr>
        <p:spPr>
          <a:xfrm>
            <a:off x="4764864" y="5234852"/>
            <a:ext cx="362215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332414" y="4351202"/>
            <a:ext cx="405460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934095" y="3176195"/>
            <a:ext cx="445292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4332414" y="4405657"/>
            <a:ext cx="4187543" cy="707886"/>
          </a:xfrm>
          <a:prstGeom prst="rect">
            <a:avLst/>
          </a:prstGeom>
        </p:spPr>
        <p:txBody>
          <a:bodyPr wrap="square">
            <a:spAutoFit/>
          </a:bodyPr>
          <a:lstStyle/>
          <a:p>
            <a:r>
              <a:rPr lang="fr-FR" sz="1000" dirty="0">
                <a:solidFill>
                  <a:schemeClr val="tx1">
                    <a:lumMod val="65000"/>
                    <a:lumOff val="35000"/>
                  </a:schemeClr>
                </a:solidFill>
              </a:rPr>
              <a:t>Le </a:t>
            </a:r>
            <a:r>
              <a:rPr lang="fr-FR" sz="1000" u="sng" dirty="0">
                <a:solidFill>
                  <a:schemeClr val="tx1">
                    <a:lumMod val="65000"/>
                    <a:lumOff val="35000"/>
                  </a:schemeClr>
                </a:solidFill>
              </a:rPr>
              <a:t>Green Belt </a:t>
            </a:r>
            <a:r>
              <a:rPr lang="fr-FR" sz="1000" dirty="0">
                <a:solidFill>
                  <a:schemeClr val="tx1">
                    <a:lumMod val="65000"/>
                    <a:lumOff val="35000"/>
                  </a:schemeClr>
                </a:solidFill>
              </a:rPr>
              <a:t> sait mettre en œuvre la méthodologie LEAN et peut seconder les Black Belt dans la réalisation de projet d’amélioration de processus.</a:t>
            </a:r>
          </a:p>
          <a:p>
            <a:r>
              <a:rPr lang="fr-FR" sz="1000" dirty="0">
                <a:solidFill>
                  <a:schemeClr val="tx1">
                    <a:lumMod val="65000"/>
                    <a:lumOff val="35000"/>
                  </a:schemeClr>
                </a:solidFill>
              </a:rPr>
              <a:t>Il a déjà réalisé un projet Lean (500 h) et 1M€ de gain.</a:t>
            </a:r>
          </a:p>
        </p:txBody>
      </p:sp>
      <p:sp>
        <p:nvSpPr>
          <p:cNvPr id="17" name="Rectangle 16"/>
          <p:cNvSpPr/>
          <p:nvPr/>
        </p:nvSpPr>
        <p:spPr>
          <a:xfrm>
            <a:off x="4002486" y="3215589"/>
            <a:ext cx="4384532" cy="1015663"/>
          </a:xfrm>
          <a:prstGeom prst="rect">
            <a:avLst/>
          </a:prstGeom>
        </p:spPr>
        <p:txBody>
          <a:bodyPr wrap="square">
            <a:spAutoFit/>
          </a:bodyPr>
          <a:lstStyle/>
          <a:p>
            <a:r>
              <a:rPr lang="fr-FR" sz="1000" dirty="0">
                <a:solidFill>
                  <a:schemeClr val="tx1">
                    <a:lumMod val="65000"/>
                    <a:lumOff val="35000"/>
                  </a:schemeClr>
                </a:solidFill>
              </a:rPr>
              <a:t>Le </a:t>
            </a:r>
            <a:r>
              <a:rPr lang="fr-FR" sz="1000" u="sng" dirty="0">
                <a:solidFill>
                  <a:schemeClr val="tx1">
                    <a:lumMod val="65000"/>
                    <a:lumOff val="35000"/>
                  </a:schemeClr>
                </a:solidFill>
              </a:rPr>
              <a:t>Black Belt</a:t>
            </a:r>
            <a:r>
              <a:rPr lang="fr-FR" sz="1000" dirty="0">
                <a:solidFill>
                  <a:schemeClr val="tx1">
                    <a:lumMod val="65000"/>
                    <a:lumOff val="35000"/>
                  </a:schemeClr>
                </a:solidFill>
              </a:rPr>
              <a:t> : chef d'équipe qui se consacre à l'amélioration de processus (à travers notamment des programmes d’excellence opérationnelle), à la conduite de projets et à la formation des Green Belts. Il maîtrise la méthode dans son ensemble. </a:t>
            </a:r>
          </a:p>
          <a:p>
            <a:r>
              <a:rPr lang="fr-FR" sz="1000" dirty="0">
                <a:solidFill>
                  <a:schemeClr val="tx1">
                    <a:lumMod val="65000"/>
                    <a:lumOff val="35000"/>
                  </a:schemeClr>
                </a:solidFill>
              </a:rPr>
              <a:t>Il a déjà conduit plusieurs projets/programmes Lean Six Sigma (2000 h) et 5M€ de gain.</a:t>
            </a:r>
          </a:p>
        </p:txBody>
      </p:sp>
      <p:sp>
        <p:nvSpPr>
          <p:cNvPr id="18" name="Rectangle 17"/>
          <p:cNvSpPr/>
          <p:nvPr/>
        </p:nvSpPr>
        <p:spPr>
          <a:xfrm>
            <a:off x="3268910" y="2293601"/>
            <a:ext cx="5251046" cy="553998"/>
          </a:xfrm>
          <a:prstGeom prst="rect">
            <a:avLst/>
          </a:prstGeom>
        </p:spPr>
        <p:txBody>
          <a:bodyPr wrap="square">
            <a:spAutoFit/>
          </a:bodyPr>
          <a:lstStyle/>
          <a:p>
            <a:r>
              <a:rPr lang="fr-FR" sz="1000" dirty="0">
                <a:solidFill>
                  <a:schemeClr val="tx1">
                    <a:lumMod val="65000"/>
                    <a:lumOff val="35000"/>
                  </a:schemeClr>
                </a:solidFill>
              </a:rPr>
              <a:t>Le </a:t>
            </a:r>
            <a:r>
              <a:rPr lang="fr-FR" sz="1000" u="sng" dirty="0">
                <a:solidFill>
                  <a:schemeClr val="tx1">
                    <a:lumMod val="65000"/>
                    <a:lumOff val="35000"/>
                  </a:schemeClr>
                </a:solidFill>
              </a:rPr>
              <a:t>Master Black Belt</a:t>
            </a:r>
            <a:r>
              <a:rPr lang="fr-FR" sz="1000" dirty="0">
                <a:solidFill>
                  <a:schemeClr val="tx1">
                    <a:lumMod val="65000"/>
                    <a:lumOff val="35000"/>
                  </a:schemeClr>
                </a:solidFill>
              </a:rPr>
              <a:t> a réalisé et supervisé plusieurs projets ou programmes de LEAN. Véritable "mentor" pour les Black Belt, il les forme et les assiste dans les domaines du Lean, du Six Sigma et des outils associés.</a:t>
            </a:r>
          </a:p>
        </p:txBody>
      </p:sp>
      <p:sp>
        <p:nvSpPr>
          <p:cNvPr id="19" name="Right Arrow 18"/>
          <p:cNvSpPr/>
          <p:nvPr/>
        </p:nvSpPr>
        <p:spPr>
          <a:xfrm rot="17749152">
            <a:off x="-411870" y="3886359"/>
            <a:ext cx="2921978" cy="416886"/>
          </a:xfrm>
          <a:prstGeom prst="rightArrow">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1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chemeClr val="bg1"/>
                </a:solidFill>
              </a:ln>
            </a:endParaRPr>
          </a:p>
        </p:txBody>
      </p:sp>
    </p:spTree>
    <p:extLst>
      <p:ext uri="{BB962C8B-B14F-4D97-AF65-F5344CB8AC3E}">
        <p14:creationId xmlns:p14="http://schemas.microsoft.com/office/powerpoint/2010/main" val="385872472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fr-FR" dirty="0" smtClean="0"/>
              <a:t>Nos objectifs</a:t>
            </a:r>
            <a:endParaRPr lang="fr-FR" dirty="0"/>
          </a:p>
        </p:txBody>
      </p:sp>
      <p:sp>
        <p:nvSpPr>
          <p:cNvPr id="3" name="Title 2"/>
          <p:cNvSpPr>
            <a:spLocks noGrp="1"/>
          </p:cNvSpPr>
          <p:nvPr>
            <p:ph type="title"/>
          </p:nvPr>
        </p:nvSpPr>
        <p:spPr/>
        <p:txBody>
          <a:bodyPr/>
          <a:lstStyle/>
          <a:p>
            <a:r>
              <a:rPr lang="fr-FR" dirty="0" smtClean="0"/>
              <a:t>La communauté LSS Deloitte</a:t>
            </a:r>
            <a:endParaRPr lang="fr-FR" dirty="0"/>
          </a:p>
        </p:txBody>
      </p:sp>
      <p:sp>
        <p:nvSpPr>
          <p:cNvPr id="7" name="Espace réservé du contenu 2"/>
          <p:cNvSpPr txBox="1">
            <a:spLocks/>
          </p:cNvSpPr>
          <p:nvPr/>
        </p:nvSpPr>
        <p:spPr>
          <a:xfrm>
            <a:off x="1422890" y="1589539"/>
            <a:ext cx="7335224" cy="4598781"/>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20000"/>
              </a:lnSpc>
            </a:pPr>
            <a:r>
              <a:rPr lang="fr-FR" sz="1477" b="1" dirty="0">
                <a:solidFill>
                  <a:schemeClr val="accent3"/>
                </a:solidFill>
              </a:rPr>
              <a:t>Pour nos Collaborateurs </a:t>
            </a:r>
            <a:endParaRPr lang="fr-FR" sz="1477" dirty="0">
              <a:solidFill>
                <a:schemeClr val="accent3"/>
              </a:solidFill>
            </a:endParaRPr>
          </a:p>
          <a:p>
            <a:pPr marL="158265" indent="-158265" algn="just">
              <a:lnSpc>
                <a:spcPct val="120000"/>
              </a:lnSpc>
              <a:spcBef>
                <a:spcPts val="277"/>
              </a:spcBef>
              <a:buFont typeface="Wingdings" panose="05000000000000000000" pitchFamily="2" charset="2"/>
              <a:buChar char="§"/>
            </a:pPr>
            <a:r>
              <a:rPr lang="fr-FR" sz="1154" dirty="0">
                <a:solidFill>
                  <a:schemeClr val="tx1">
                    <a:lumMod val="50000"/>
                    <a:lumOff val="50000"/>
                  </a:schemeClr>
                </a:solidFill>
              </a:rPr>
              <a:t>Contribuer à leur </a:t>
            </a:r>
            <a:r>
              <a:rPr lang="fr-FR" sz="1154" b="1" dirty="0">
                <a:solidFill>
                  <a:schemeClr val="tx1">
                    <a:lumMod val="50000"/>
                    <a:lumOff val="50000"/>
                  </a:schemeClr>
                </a:solidFill>
              </a:rPr>
              <a:t>développement personnel </a:t>
            </a:r>
            <a:r>
              <a:rPr lang="fr-FR" sz="1154" dirty="0">
                <a:solidFill>
                  <a:schemeClr val="tx1">
                    <a:lumMod val="50000"/>
                    <a:lumOff val="50000"/>
                  </a:schemeClr>
                </a:solidFill>
              </a:rPr>
              <a:t>en les aidant à acquérir des compétences complémentaires communes dans les domaines de la résolution de problème, de l’amélioration continue et de la conduite du changement</a:t>
            </a:r>
          </a:p>
          <a:p>
            <a:pPr marL="158265" indent="-158265" algn="just">
              <a:lnSpc>
                <a:spcPct val="120000"/>
              </a:lnSpc>
              <a:spcBef>
                <a:spcPts val="277"/>
              </a:spcBef>
              <a:buFont typeface="Wingdings" panose="05000000000000000000" pitchFamily="2" charset="2"/>
              <a:buChar char="§"/>
            </a:pPr>
            <a:r>
              <a:rPr lang="fr-FR" sz="1154" dirty="0">
                <a:solidFill>
                  <a:schemeClr val="tx1">
                    <a:lumMod val="50000"/>
                    <a:lumOff val="50000"/>
                  </a:schemeClr>
                </a:solidFill>
              </a:rPr>
              <a:t>Contribuer à une </a:t>
            </a:r>
            <a:r>
              <a:rPr lang="fr-FR" sz="1154" b="1" dirty="0">
                <a:solidFill>
                  <a:schemeClr val="tx1">
                    <a:lumMod val="50000"/>
                    <a:lumOff val="50000"/>
                  </a:schemeClr>
                </a:solidFill>
              </a:rPr>
              <a:t>initiative transverse  Deloitte France </a:t>
            </a:r>
            <a:r>
              <a:rPr lang="fr-FR" sz="1154" dirty="0">
                <a:solidFill>
                  <a:schemeClr val="tx1">
                    <a:lumMod val="50000"/>
                    <a:lumOff val="50000"/>
                  </a:schemeClr>
                </a:solidFill>
              </a:rPr>
              <a:t>et d'élargir leur réseau au sein de la firme</a:t>
            </a:r>
          </a:p>
          <a:p>
            <a:pPr marL="158265" indent="-158265" algn="just">
              <a:lnSpc>
                <a:spcPct val="120000"/>
              </a:lnSpc>
              <a:spcBef>
                <a:spcPts val="277"/>
              </a:spcBef>
              <a:buFont typeface="Wingdings" panose="05000000000000000000" pitchFamily="2" charset="2"/>
              <a:buChar char="§"/>
            </a:pPr>
            <a:r>
              <a:rPr lang="fr-FR" sz="1154" dirty="0">
                <a:solidFill>
                  <a:schemeClr val="tx1">
                    <a:lumMod val="50000"/>
                    <a:lumOff val="50000"/>
                  </a:schemeClr>
                </a:solidFill>
              </a:rPr>
              <a:t>Faciliter la recherche d’information pour la rédaction de propositions commerciales</a:t>
            </a:r>
          </a:p>
          <a:p>
            <a:pPr marL="158265" indent="-158265" algn="just">
              <a:lnSpc>
                <a:spcPct val="120000"/>
              </a:lnSpc>
              <a:spcBef>
                <a:spcPts val="277"/>
              </a:spcBef>
              <a:buFont typeface="Wingdings" panose="05000000000000000000" pitchFamily="2" charset="2"/>
              <a:buChar char="§"/>
            </a:pPr>
            <a:r>
              <a:rPr lang="fr-FR" sz="1154" dirty="0">
                <a:solidFill>
                  <a:schemeClr val="tx1">
                    <a:lumMod val="50000"/>
                    <a:lumOff val="50000"/>
                  </a:schemeClr>
                </a:solidFill>
              </a:rPr>
              <a:t>Mettre en valeur auprès de leur CR et associés leurs contributions tant sur le plan du développement commercial (porter l'offre Lean) que sur le plan marketing (Eminence)</a:t>
            </a:r>
          </a:p>
          <a:p>
            <a:pPr algn="just">
              <a:lnSpc>
                <a:spcPct val="120000"/>
              </a:lnSpc>
            </a:pPr>
            <a:r>
              <a:rPr lang="fr-FR" sz="1477" b="1" dirty="0">
                <a:solidFill>
                  <a:schemeClr val="accent2"/>
                </a:solidFill>
              </a:rPr>
              <a:t>Pour Deloitte France et global</a:t>
            </a:r>
            <a:endParaRPr lang="fr-FR" sz="1477" dirty="0">
              <a:solidFill>
                <a:schemeClr val="accent2"/>
              </a:solidFill>
            </a:endParaRPr>
          </a:p>
          <a:p>
            <a:pPr marL="158265" indent="-158265" algn="just">
              <a:lnSpc>
                <a:spcPct val="120000"/>
              </a:lnSpc>
              <a:spcBef>
                <a:spcPts val="277"/>
              </a:spcBef>
              <a:buFont typeface="Wingdings" panose="05000000000000000000" pitchFamily="2" charset="2"/>
              <a:buChar char="§"/>
            </a:pPr>
            <a:r>
              <a:rPr lang="fr-FR" sz="1154" dirty="0">
                <a:solidFill>
                  <a:schemeClr val="tx1">
                    <a:lumMod val="50000"/>
                    <a:lumOff val="50000"/>
                  </a:schemeClr>
                </a:solidFill>
              </a:rPr>
              <a:t>Consolider et </a:t>
            </a:r>
            <a:r>
              <a:rPr lang="fr-FR" sz="1154" b="1" dirty="0">
                <a:solidFill>
                  <a:schemeClr val="tx1">
                    <a:lumMod val="50000"/>
                    <a:lumOff val="50000"/>
                  </a:schemeClr>
                </a:solidFill>
              </a:rPr>
              <a:t>développer de nouvelles offres </a:t>
            </a:r>
            <a:r>
              <a:rPr lang="fr-FR" sz="1154" dirty="0">
                <a:solidFill>
                  <a:schemeClr val="tx1">
                    <a:lumMod val="50000"/>
                    <a:lumOff val="50000"/>
                  </a:schemeClr>
                </a:solidFill>
              </a:rPr>
              <a:t>dans l’excellence opérationnelle</a:t>
            </a:r>
          </a:p>
          <a:p>
            <a:pPr marL="158265" indent="-158265" algn="just">
              <a:lnSpc>
                <a:spcPct val="120000"/>
              </a:lnSpc>
              <a:spcBef>
                <a:spcPts val="277"/>
              </a:spcBef>
              <a:buFont typeface="Wingdings" panose="05000000000000000000" pitchFamily="2" charset="2"/>
              <a:buChar char="§"/>
            </a:pPr>
            <a:r>
              <a:rPr lang="fr-FR" sz="1154" b="1" dirty="0">
                <a:solidFill>
                  <a:schemeClr val="tx1">
                    <a:lumMod val="50000"/>
                    <a:lumOff val="50000"/>
                  </a:schemeClr>
                </a:solidFill>
              </a:rPr>
              <a:t>Fédérer les compétences </a:t>
            </a:r>
            <a:r>
              <a:rPr lang="fr-FR" sz="1154" dirty="0">
                <a:solidFill>
                  <a:schemeClr val="tx1">
                    <a:lumMod val="50000"/>
                    <a:lumOff val="50000"/>
                  </a:schemeClr>
                </a:solidFill>
              </a:rPr>
              <a:t>internes d'amélioration de la performance</a:t>
            </a:r>
          </a:p>
          <a:p>
            <a:pPr marL="158265" indent="-158265" algn="just">
              <a:lnSpc>
                <a:spcPct val="120000"/>
              </a:lnSpc>
              <a:spcBef>
                <a:spcPts val="277"/>
              </a:spcBef>
              <a:buFont typeface="Wingdings" panose="05000000000000000000" pitchFamily="2" charset="2"/>
              <a:buChar char="§"/>
            </a:pPr>
            <a:r>
              <a:rPr lang="fr-FR" sz="1154" dirty="0">
                <a:solidFill>
                  <a:schemeClr val="tx1">
                    <a:lumMod val="50000"/>
                    <a:lumOff val="50000"/>
                  </a:schemeClr>
                </a:solidFill>
              </a:rPr>
              <a:t>Établir un relais avec les </a:t>
            </a:r>
            <a:r>
              <a:rPr lang="fr-FR" sz="1154" b="1" dirty="0">
                <a:solidFill>
                  <a:schemeClr val="tx1">
                    <a:lumMod val="50000"/>
                    <a:lumOff val="50000"/>
                  </a:schemeClr>
                </a:solidFill>
              </a:rPr>
              <a:t>initiatives LSS européennes ou globales </a:t>
            </a:r>
            <a:r>
              <a:rPr lang="fr-FR" sz="1154" dirty="0">
                <a:solidFill>
                  <a:schemeClr val="tx1">
                    <a:lumMod val="50000"/>
                    <a:lumOff val="50000"/>
                  </a:schemeClr>
                </a:solidFill>
              </a:rPr>
              <a:t>pour pouvoir répondre aux enjeux de clients multinationaux</a:t>
            </a:r>
          </a:p>
          <a:p>
            <a:pPr algn="just">
              <a:lnSpc>
                <a:spcPct val="120000"/>
              </a:lnSpc>
            </a:pPr>
            <a:r>
              <a:rPr lang="fr-FR" sz="1477" b="1" dirty="0">
                <a:solidFill>
                  <a:srgbClr val="002060"/>
                </a:solidFill>
              </a:rPr>
              <a:t>Pour nos Clients</a:t>
            </a:r>
            <a:endParaRPr lang="fr-FR" sz="1477" dirty="0">
              <a:solidFill>
                <a:srgbClr val="002060"/>
              </a:solidFill>
            </a:endParaRPr>
          </a:p>
          <a:p>
            <a:pPr marL="158265" indent="-158265" algn="just">
              <a:lnSpc>
                <a:spcPct val="120000"/>
              </a:lnSpc>
              <a:spcBef>
                <a:spcPts val="277"/>
              </a:spcBef>
              <a:buFont typeface="Wingdings" panose="05000000000000000000" pitchFamily="2" charset="2"/>
              <a:buChar char="§"/>
            </a:pPr>
            <a:r>
              <a:rPr lang="fr-FR" sz="1154" b="1" dirty="0">
                <a:solidFill>
                  <a:schemeClr val="tx1">
                    <a:lumMod val="50000"/>
                    <a:lumOff val="50000"/>
                  </a:schemeClr>
                </a:solidFill>
              </a:rPr>
              <a:t>Répondre à des enjeux et problématiques métiers </a:t>
            </a:r>
            <a:r>
              <a:rPr lang="fr-FR" sz="1154" dirty="0">
                <a:solidFill>
                  <a:schemeClr val="tx1">
                    <a:lumMod val="50000"/>
                    <a:lumOff val="50000"/>
                  </a:schemeClr>
                </a:solidFill>
              </a:rPr>
              <a:t>d'amélioration de la qualité et du service client, d'efficacité opérationnelle, d'engagement des employés et de réduction de couts</a:t>
            </a:r>
          </a:p>
          <a:p>
            <a:pPr marL="158265" indent="-158265" algn="just">
              <a:lnSpc>
                <a:spcPct val="120000"/>
              </a:lnSpc>
              <a:spcBef>
                <a:spcPts val="277"/>
              </a:spcBef>
              <a:buFont typeface="Wingdings" panose="05000000000000000000" pitchFamily="2" charset="2"/>
              <a:buChar char="§"/>
            </a:pPr>
            <a:r>
              <a:rPr lang="fr-FR" sz="1154" dirty="0">
                <a:solidFill>
                  <a:schemeClr val="tx1">
                    <a:lumMod val="50000"/>
                    <a:lumOff val="50000"/>
                  </a:schemeClr>
                </a:solidFill>
              </a:rPr>
              <a:t>Etablir ou redynamiser leurs </a:t>
            </a:r>
            <a:r>
              <a:rPr lang="fr-FR" sz="1154" b="1" dirty="0">
                <a:solidFill>
                  <a:schemeClr val="tx1">
                    <a:lumMod val="50000"/>
                    <a:lumOff val="50000"/>
                  </a:schemeClr>
                </a:solidFill>
              </a:rPr>
              <a:t>programmes d'excellence opérationnelle </a:t>
            </a:r>
            <a:r>
              <a:rPr lang="fr-FR" sz="1154" dirty="0">
                <a:solidFill>
                  <a:schemeClr val="tx1">
                    <a:lumMod val="50000"/>
                    <a:lumOff val="50000"/>
                  </a:schemeClr>
                </a:solidFill>
              </a:rPr>
              <a:t>ou d'amélioration continue</a:t>
            </a:r>
          </a:p>
          <a:p>
            <a:pPr marL="158265" indent="-158265" algn="just">
              <a:lnSpc>
                <a:spcPct val="120000"/>
              </a:lnSpc>
              <a:spcBef>
                <a:spcPts val="277"/>
              </a:spcBef>
              <a:buFont typeface="Wingdings" panose="05000000000000000000" pitchFamily="2" charset="2"/>
              <a:buChar char="§"/>
            </a:pPr>
            <a:r>
              <a:rPr lang="fr-FR" sz="1154" dirty="0">
                <a:solidFill>
                  <a:schemeClr val="tx1">
                    <a:lumMod val="50000"/>
                    <a:lumOff val="50000"/>
                  </a:schemeClr>
                </a:solidFill>
              </a:rPr>
              <a:t>Bénéficier de </a:t>
            </a:r>
            <a:r>
              <a:rPr lang="fr-FR" sz="1154" b="1" dirty="0">
                <a:solidFill>
                  <a:schemeClr val="tx1">
                    <a:lumMod val="50000"/>
                    <a:lumOff val="50000"/>
                  </a:schemeClr>
                </a:solidFill>
              </a:rPr>
              <a:t>points de vue novateurs et innovants </a:t>
            </a:r>
            <a:r>
              <a:rPr lang="fr-FR" sz="1154" dirty="0">
                <a:solidFill>
                  <a:schemeClr val="tx1">
                    <a:lumMod val="50000"/>
                    <a:lumOff val="50000"/>
                  </a:schemeClr>
                </a:solidFill>
              </a:rPr>
              <a:t>dans l’excellence opérationnelle</a:t>
            </a:r>
          </a:p>
        </p:txBody>
      </p:sp>
      <p:sp>
        <p:nvSpPr>
          <p:cNvPr id="8" name="Freeform 408"/>
          <p:cNvSpPr>
            <a:spLocks noEditPoints="1"/>
          </p:cNvSpPr>
          <p:nvPr/>
        </p:nvSpPr>
        <p:spPr bwMode="auto">
          <a:xfrm>
            <a:off x="365110" y="1691260"/>
            <a:ext cx="664570" cy="544217"/>
          </a:xfrm>
          <a:custGeom>
            <a:avLst/>
            <a:gdLst>
              <a:gd name="T0" fmla="*/ 96 w 127"/>
              <a:gd name="T1" fmla="*/ 62 h 104"/>
              <a:gd name="T2" fmla="*/ 72 w 127"/>
              <a:gd name="T3" fmla="*/ 59 h 104"/>
              <a:gd name="T4" fmla="*/ 74 w 127"/>
              <a:gd name="T5" fmla="*/ 37 h 104"/>
              <a:gd name="T6" fmla="*/ 82 w 127"/>
              <a:gd name="T7" fmla="*/ 20 h 104"/>
              <a:gd name="T8" fmla="*/ 110 w 127"/>
              <a:gd name="T9" fmla="*/ 18 h 104"/>
              <a:gd name="T10" fmla="*/ 116 w 127"/>
              <a:gd name="T11" fmla="*/ 37 h 104"/>
              <a:gd name="T12" fmla="*/ 105 w 127"/>
              <a:gd name="T13" fmla="*/ 59 h 104"/>
              <a:gd name="T14" fmla="*/ 68 w 127"/>
              <a:gd name="T15" fmla="*/ 34 h 104"/>
              <a:gd name="T16" fmla="*/ 66 w 127"/>
              <a:gd name="T17" fmla="*/ 43 h 104"/>
              <a:gd name="T18" fmla="*/ 63 w 127"/>
              <a:gd name="T19" fmla="*/ 48 h 104"/>
              <a:gd name="T20" fmla="*/ 48 w 127"/>
              <a:gd name="T21" fmla="*/ 66 h 104"/>
              <a:gd name="T22" fmla="*/ 26 w 127"/>
              <a:gd name="T23" fmla="*/ 62 h 104"/>
              <a:gd name="T24" fmla="*/ 17 w 127"/>
              <a:gd name="T25" fmla="*/ 48 h 104"/>
              <a:gd name="T26" fmla="*/ 12 w 127"/>
              <a:gd name="T27" fmla="*/ 35 h 104"/>
              <a:gd name="T28" fmla="*/ 14 w 127"/>
              <a:gd name="T29" fmla="*/ 32 h 104"/>
              <a:gd name="T30" fmla="*/ 15 w 127"/>
              <a:gd name="T31" fmla="*/ 11 h 104"/>
              <a:gd name="T32" fmla="*/ 29 w 127"/>
              <a:gd name="T33" fmla="*/ 1 h 104"/>
              <a:gd name="T34" fmla="*/ 59 w 127"/>
              <a:gd name="T35" fmla="*/ 6 h 104"/>
              <a:gd name="T36" fmla="*/ 66 w 127"/>
              <a:gd name="T37" fmla="*/ 23 h 104"/>
              <a:gd name="T38" fmla="*/ 11 w 127"/>
              <a:gd name="T39" fmla="*/ 68 h 104"/>
              <a:gd name="T40" fmla="*/ 29 w 127"/>
              <a:gd name="T41" fmla="*/ 74 h 104"/>
              <a:gd name="T42" fmla="*/ 45 w 127"/>
              <a:gd name="T43" fmla="*/ 76 h 104"/>
              <a:gd name="T44" fmla="*/ 59 w 127"/>
              <a:gd name="T45" fmla="*/ 68 h 104"/>
              <a:gd name="T46" fmla="*/ 77 w 127"/>
              <a:gd name="T47" fmla="*/ 84 h 104"/>
              <a:gd name="T48" fmla="*/ 0 w 127"/>
              <a:gd name="T49" fmla="*/ 104 h 104"/>
              <a:gd name="T50" fmla="*/ 4 w 127"/>
              <a:gd name="T51" fmla="*/ 76 h 104"/>
              <a:gd name="T52" fmla="*/ 63 w 127"/>
              <a:gd name="T53" fmla="*/ 35 h 104"/>
              <a:gd name="T54" fmla="*/ 59 w 127"/>
              <a:gd name="T55" fmla="*/ 31 h 104"/>
              <a:gd name="T56" fmla="*/ 26 w 127"/>
              <a:gd name="T57" fmla="*/ 29 h 104"/>
              <a:gd name="T58" fmla="*/ 17 w 127"/>
              <a:gd name="T59" fmla="*/ 35 h 104"/>
              <a:gd name="T60" fmla="*/ 17 w 127"/>
              <a:gd name="T61" fmla="*/ 37 h 104"/>
              <a:gd name="T62" fmla="*/ 20 w 127"/>
              <a:gd name="T63" fmla="*/ 45 h 104"/>
              <a:gd name="T64" fmla="*/ 29 w 127"/>
              <a:gd name="T65" fmla="*/ 59 h 104"/>
              <a:gd name="T66" fmla="*/ 40 w 127"/>
              <a:gd name="T67" fmla="*/ 63 h 104"/>
              <a:gd name="T68" fmla="*/ 57 w 127"/>
              <a:gd name="T69" fmla="*/ 53 h 104"/>
              <a:gd name="T70" fmla="*/ 60 w 127"/>
              <a:gd name="T71" fmla="*/ 45 h 104"/>
              <a:gd name="T72" fmla="*/ 63 w 127"/>
              <a:gd name="T73" fmla="*/ 37 h 104"/>
              <a:gd name="T74" fmla="*/ 82 w 127"/>
              <a:gd name="T75" fmla="*/ 65 h 104"/>
              <a:gd name="T76" fmla="*/ 80 w 127"/>
              <a:gd name="T77" fmla="*/ 71 h 104"/>
              <a:gd name="T78" fmla="*/ 127 w 127"/>
              <a:gd name="T79" fmla="*/ 90 h 104"/>
              <a:gd name="T80" fmla="*/ 114 w 127"/>
              <a:gd name="T81" fmla="*/ 66 h 104"/>
              <a:gd name="T82" fmla="*/ 96 w 127"/>
              <a:gd name="T83" fmla="*/ 70 h 104"/>
              <a:gd name="T84" fmla="*/ 82 w 127"/>
              <a:gd name="T85" fmla="*/ 65 h 104"/>
              <a:gd name="T86" fmla="*/ 110 w 127"/>
              <a:gd name="T87" fmla="*/ 35 h 104"/>
              <a:gd name="T88" fmla="*/ 82 w 127"/>
              <a:gd name="T89" fmla="*/ 45 h 104"/>
              <a:gd name="T90" fmla="*/ 83 w 127"/>
              <a:gd name="T91" fmla="*/ 51 h 104"/>
              <a:gd name="T92" fmla="*/ 96 w 127"/>
              <a:gd name="T93" fmla="*/ 59 h 104"/>
              <a:gd name="T94" fmla="*/ 110 w 127"/>
              <a:gd name="T95"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04">
                <a:moveTo>
                  <a:pt x="105" y="59"/>
                </a:moveTo>
                <a:lnTo>
                  <a:pt x="105" y="59"/>
                </a:lnTo>
                <a:lnTo>
                  <a:pt x="96" y="62"/>
                </a:lnTo>
                <a:lnTo>
                  <a:pt x="96" y="62"/>
                </a:lnTo>
                <a:lnTo>
                  <a:pt x="96" y="62"/>
                </a:lnTo>
                <a:lnTo>
                  <a:pt x="96" y="62"/>
                </a:lnTo>
                <a:lnTo>
                  <a:pt x="88" y="59"/>
                </a:lnTo>
                <a:lnTo>
                  <a:pt x="72" y="59"/>
                </a:lnTo>
                <a:lnTo>
                  <a:pt x="74" y="45"/>
                </a:lnTo>
                <a:lnTo>
                  <a:pt x="74" y="45"/>
                </a:lnTo>
                <a:lnTo>
                  <a:pt x="74" y="45"/>
                </a:lnTo>
                <a:lnTo>
                  <a:pt x="74" y="37"/>
                </a:lnTo>
                <a:lnTo>
                  <a:pt x="76" y="29"/>
                </a:lnTo>
                <a:lnTo>
                  <a:pt x="79" y="23"/>
                </a:lnTo>
                <a:lnTo>
                  <a:pt x="82" y="20"/>
                </a:lnTo>
                <a:lnTo>
                  <a:pt x="82" y="20"/>
                </a:lnTo>
                <a:lnTo>
                  <a:pt x="88" y="15"/>
                </a:lnTo>
                <a:lnTo>
                  <a:pt x="96" y="15"/>
                </a:lnTo>
                <a:lnTo>
                  <a:pt x="102" y="15"/>
                </a:lnTo>
                <a:lnTo>
                  <a:pt x="110" y="18"/>
                </a:lnTo>
                <a:lnTo>
                  <a:pt x="110" y="18"/>
                </a:lnTo>
                <a:lnTo>
                  <a:pt x="113" y="23"/>
                </a:lnTo>
                <a:lnTo>
                  <a:pt x="114" y="29"/>
                </a:lnTo>
                <a:lnTo>
                  <a:pt x="116" y="37"/>
                </a:lnTo>
                <a:lnTo>
                  <a:pt x="117" y="45"/>
                </a:lnTo>
                <a:lnTo>
                  <a:pt x="117" y="45"/>
                </a:lnTo>
                <a:lnTo>
                  <a:pt x="117" y="59"/>
                </a:lnTo>
                <a:lnTo>
                  <a:pt x="105" y="59"/>
                </a:lnTo>
                <a:lnTo>
                  <a:pt x="105" y="59"/>
                </a:lnTo>
                <a:close/>
                <a:moveTo>
                  <a:pt x="66" y="32"/>
                </a:moveTo>
                <a:lnTo>
                  <a:pt x="66" y="32"/>
                </a:lnTo>
                <a:lnTo>
                  <a:pt x="68" y="34"/>
                </a:lnTo>
                <a:lnTo>
                  <a:pt x="68" y="34"/>
                </a:lnTo>
                <a:lnTo>
                  <a:pt x="68" y="35"/>
                </a:lnTo>
                <a:lnTo>
                  <a:pt x="68" y="35"/>
                </a:lnTo>
                <a:lnTo>
                  <a:pt x="66" y="43"/>
                </a:lnTo>
                <a:lnTo>
                  <a:pt x="66" y="43"/>
                </a:lnTo>
                <a:lnTo>
                  <a:pt x="65" y="46"/>
                </a:lnTo>
                <a:lnTo>
                  <a:pt x="63" y="48"/>
                </a:lnTo>
                <a:lnTo>
                  <a:pt x="63" y="48"/>
                </a:lnTo>
                <a:lnTo>
                  <a:pt x="60" y="56"/>
                </a:lnTo>
                <a:lnTo>
                  <a:pt x="54" y="62"/>
                </a:lnTo>
                <a:lnTo>
                  <a:pt x="54" y="62"/>
                </a:lnTo>
                <a:lnTo>
                  <a:pt x="48" y="66"/>
                </a:lnTo>
                <a:lnTo>
                  <a:pt x="40" y="68"/>
                </a:lnTo>
                <a:lnTo>
                  <a:pt x="40" y="68"/>
                </a:lnTo>
                <a:lnTo>
                  <a:pt x="32" y="66"/>
                </a:lnTo>
                <a:lnTo>
                  <a:pt x="26" y="62"/>
                </a:lnTo>
                <a:lnTo>
                  <a:pt x="26" y="62"/>
                </a:lnTo>
                <a:lnTo>
                  <a:pt x="20" y="56"/>
                </a:lnTo>
                <a:lnTo>
                  <a:pt x="17" y="48"/>
                </a:lnTo>
                <a:lnTo>
                  <a:pt x="17" y="48"/>
                </a:lnTo>
                <a:lnTo>
                  <a:pt x="15" y="46"/>
                </a:lnTo>
                <a:lnTo>
                  <a:pt x="14" y="43"/>
                </a:lnTo>
                <a:lnTo>
                  <a:pt x="14" y="43"/>
                </a:lnTo>
                <a:lnTo>
                  <a:pt x="12" y="35"/>
                </a:lnTo>
                <a:lnTo>
                  <a:pt x="12" y="34"/>
                </a:lnTo>
                <a:lnTo>
                  <a:pt x="12" y="34"/>
                </a:lnTo>
                <a:lnTo>
                  <a:pt x="12" y="34"/>
                </a:lnTo>
                <a:lnTo>
                  <a:pt x="14" y="32"/>
                </a:lnTo>
                <a:lnTo>
                  <a:pt x="14" y="32"/>
                </a:lnTo>
                <a:lnTo>
                  <a:pt x="12" y="23"/>
                </a:lnTo>
                <a:lnTo>
                  <a:pt x="14" y="15"/>
                </a:lnTo>
                <a:lnTo>
                  <a:pt x="15" y="11"/>
                </a:lnTo>
                <a:lnTo>
                  <a:pt x="20" y="6"/>
                </a:lnTo>
                <a:lnTo>
                  <a:pt x="20" y="6"/>
                </a:lnTo>
                <a:lnTo>
                  <a:pt x="23" y="3"/>
                </a:lnTo>
                <a:lnTo>
                  <a:pt x="29" y="1"/>
                </a:lnTo>
                <a:lnTo>
                  <a:pt x="38" y="0"/>
                </a:lnTo>
                <a:lnTo>
                  <a:pt x="49" y="1"/>
                </a:lnTo>
                <a:lnTo>
                  <a:pt x="54" y="3"/>
                </a:lnTo>
                <a:lnTo>
                  <a:pt x="59" y="6"/>
                </a:lnTo>
                <a:lnTo>
                  <a:pt x="59" y="6"/>
                </a:lnTo>
                <a:lnTo>
                  <a:pt x="63" y="9"/>
                </a:lnTo>
                <a:lnTo>
                  <a:pt x="66" y="15"/>
                </a:lnTo>
                <a:lnTo>
                  <a:pt x="66" y="23"/>
                </a:lnTo>
                <a:lnTo>
                  <a:pt x="66" y="32"/>
                </a:lnTo>
                <a:lnTo>
                  <a:pt x="66" y="32"/>
                </a:lnTo>
                <a:close/>
                <a:moveTo>
                  <a:pt x="11" y="68"/>
                </a:moveTo>
                <a:lnTo>
                  <a:pt x="11" y="68"/>
                </a:lnTo>
                <a:lnTo>
                  <a:pt x="21" y="68"/>
                </a:lnTo>
                <a:lnTo>
                  <a:pt x="21" y="68"/>
                </a:lnTo>
                <a:lnTo>
                  <a:pt x="26" y="71"/>
                </a:lnTo>
                <a:lnTo>
                  <a:pt x="29" y="74"/>
                </a:lnTo>
                <a:lnTo>
                  <a:pt x="34" y="76"/>
                </a:lnTo>
                <a:lnTo>
                  <a:pt x="40" y="76"/>
                </a:lnTo>
                <a:lnTo>
                  <a:pt x="40" y="76"/>
                </a:lnTo>
                <a:lnTo>
                  <a:pt x="45" y="76"/>
                </a:lnTo>
                <a:lnTo>
                  <a:pt x="49" y="74"/>
                </a:lnTo>
                <a:lnTo>
                  <a:pt x="54" y="71"/>
                </a:lnTo>
                <a:lnTo>
                  <a:pt x="59" y="68"/>
                </a:lnTo>
                <a:lnTo>
                  <a:pt x="59" y="68"/>
                </a:lnTo>
                <a:lnTo>
                  <a:pt x="69" y="68"/>
                </a:lnTo>
                <a:lnTo>
                  <a:pt x="69" y="68"/>
                </a:lnTo>
                <a:lnTo>
                  <a:pt x="74" y="76"/>
                </a:lnTo>
                <a:lnTo>
                  <a:pt x="77" y="84"/>
                </a:lnTo>
                <a:lnTo>
                  <a:pt x="80" y="94"/>
                </a:lnTo>
                <a:lnTo>
                  <a:pt x="80" y="104"/>
                </a:lnTo>
                <a:lnTo>
                  <a:pt x="80" y="104"/>
                </a:lnTo>
                <a:lnTo>
                  <a:pt x="0" y="104"/>
                </a:lnTo>
                <a:lnTo>
                  <a:pt x="0" y="104"/>
                </a:lnTo>
                <a:lnTo>
                  <a:pt x="0" y="94"/>
                </a:lnTo>
                <a:lnTo>
                  <a:pt x="1" y="85"/>
                </a:lnTo>
                <a:lnTo>
                  <a:pt x="4" y="76"/>
                </a:lnTo>
                <a:lnTo>
                  <a:pt x="11" y="68"/>
                </a:lnTo>
                <a:lnTo>
                  <a:pt x="11" y="68"/>
                </a:lnTo>
                <a:close/>
                <a:moveTo>
                  <a:pt x="63" y="35"/>
                </a:moveTo>
                <a:lnTo>
                  <a:pt x="63" y="35"/>
                </a:lnTo>
                <a:lnTo>
                  <a:pt x="60" y="37"/>
                </a:lnTo>
                <a:lnTo>
                  <a:pt x="60" y="37"/>
                </a:lnTo>
                <a:lnTo>
                  <a:pt x="59" y="31"/>
                </a:lnTo>
                <a:lnTo>
                  <a:pt x="59" y="31"/>
                </a:lnTo>
                <a:lnTo>
                  <a:pt x="43" y="32"/>
                </a:lnTo>
                <a:lnTo>
                  <a:pt x="35" y="32"/>
                </a:lnTo>
                <a:lnTo>
                  <a:pt x="26" y="29"/>
                </a:lnTo>
                <a:lnTo>
                  <a:pt x="26" y="29"/>
                </a:lnTo>
                <a:lnTo>
                  <a:pt x="21" y="37"/>
                </a:lnTo>
                <a:lnTo>
                  <a:pt x="21" y="37"/>
                </a:lnTo>
                <a:lnTo>
                  <a:pt x="17" y="35"/>
                </a:lnTo>
                <a:lnTo>
                  <a:pt x="17" y="35"/>
                </a:lnTo>
                <a:lnTo>
                  <a:pt x="17" y="35"/>
                </a:lnTo>
                <a:lnTo>
                  <a:pt x="17" y="35"/>
                </a:lnTo>
                <a:lnTo>
                  <a:pt x="17" y="37"/>
                </a:lnTo>
                <a:lnTo>
                  <a:pt x="17" y="37"/>
                </a:lnTo>
                <a:lnTo>
                  <a:pt x="17" y="42"/>
                </a:lnTo>
                <a:lnTo>
                  <a:pt x="17" y="42"/>
                </a:lnTo>
                <a:lnTo>
                  <a:pt x="20" y="45"/>
                </a:lnTo>
                <a:lnTo>
                  <a:pt x="20" y="45"/>
                </a:lnTo>
                <a:lnTo>
                  <a:pt x="21" y="46"/>
                </a:lnTo>
                <a:lnTo>
                  <a:pt x="21" y="46"/>
                </a:lnTo>
                <a:lnTo>
                  <a:pt x="24" y="53"/>
                </a:lnTo>
                <a:lnTo>
                  <a:pt x="29" y="59"/>
                </a:lnTo>
                <a:lnTo>
                  <a:pt x="29" y="59"/>
                </a:lnTo>
                <a:lnTo>
                  <a:pt x="34" y="62"/>
                </a:lnTo>
                <a:lnTo>
                  <a:pt x="40" y="63"/>
                </a:lnTo>
                <a:lnTo>
                  <a:pt x="40" y="63"/>
                </a:lnTo>
                <a:lnTo>
                  <a:pt x="46" y="62"/>
                </a:lnTo>
                <a:lnTo>
                  <a:pt x="52" y="59"/>
                </a:lnTo>
                <a:lnTo>
                  <a:pt x="52" y="59"/>
                </a:lnTo>
                <a:lnTo>
                  <a:pt x="57" y="53"/>
                </a:lnTo>
                <a:lnTo>
                  <a:pt x="60" y="46"/>
                </a:lnTo>
                <a:lnTo>
                  <a:pt x="60" y="45"/>
                </a:lnTo>
                <a:lnTo>
                  <a:pt x="60" y="45"/>
                </a:lnTo>
                <a:lnTo>
                  <a:pt x="60" y="45"/>
                </a:lnTo>
                <a:lnTo>
                  <a:pt x="63" y="42"/>
                </a:lnTo>
                <a:lnTo>
                  <a:pt x="63" y="42"/>
                </a:lnTo>
                <a:lnTo>
                  <a:pt x="63" y="37"/>
                </a:lnTo>
                <a:lnTo>
                  <a:pt x="63" y="37"/>
                </a:lnTo>
                <a:lnTo>
                  <a:pt x="63" y="35"/>
                </a:lnTo>
                <a:lnTo>
                  <a:pt x="63" y="35"/>
                </a:lnTo>
                <a:lnTo>
                  <a:pt x="63" y="35"/>
                </a:lnTo>
                <a:close/>
                <a:moveTo>
                  <a:pt x="82" y="65"/>
                </a:moveTo>
                <a:lnTo>
                  <a:pt x="82" y="65"/>
                </a:lnTo>
                <a:lnTo>
                  <a:pt x="77" y="66"/>
                </a:lnTo>
                <a:lnTo>
                  <a:pt x="77" y="66"/>
                </a:lnTo>
                <a:lnTo>
                  <a:pt x="80" y="71"/>
                </a:lnTo>
                <a:lnTo>
                  <a:pt x="82" y="77"/>
                </a:lnTo>
                <a:lnTo>
                  <a:pt x="85" y="90"/>
                </a:lnTo>
                <a:lnTo>
                  <a:pt x="127" y="90"/>
                </a:lnTo>
                <a:lnTo>
                  <a:pt x="127" y="90"/>
                </a:lnTo>
                <a:lnTo>
                  <a:pt x="127" y="84"/>
                </a:lnTo>
                <a:lnTo>
                  <a:pt x="124" y="76"/>
                </a:lnTo>
                <a:lnTo>
                  <a:pt x="117" y="70"/>
                </a:lnTo>
                <a:lnTo>
                  <a:pt x="114" y="66"/>
                </a:lnTo>
                <a:lnTo>
                  <a:pt x="110" y="63"/>
                </a:lnTo>
                <a:lnTo>
                  <a:pt x="110" y="63"/>
                </a:lnTo>
                <a:lnTo>
                  <a:pt x="103" y="68"/>
                </a:lnTo>
                <a:lnTo>
                  <a:pt x="96" y="70"/>
                </a:lnTo>
                <a:lnTo>
                  <a:pt x="96" y="70"/>
                </a:lnTo>
                <a:lnTo>
                  <a:pt x="88" y="68"/>
                </a:lnTo>
                <a:lnTo>
                  <a:pt x="82" y="65"/>
                </a:lnTo>
                <a:lnTo>
                  <a:pt x="82" y="65"/>
                </a:lnTo>
                <a:close/>
                <a:moveTo>
                  <a:pt x="110" y="48"/>
                </a:moveTo>
                <a:lnTo>
                  <a:pt x="110" y="48"/>
                </a:lnTo>
                <a:lnTo>
                  <a:pt x="110" y="35"/>
                </a:lnTo>
                <a:lnTo>
                  <a:pt x="110" y="35"/>
                </a:lnTo>
                <a:lnTo>
                  <a:pt x="97" y="37"/>
                </a:lnTo>
                <a:lnTo>
                  <a:pt x="90" y="37"/>
                </a:lnTo>
                <a:lnTo>
                  <a:pt x="82" y="35"/>
                </a:lnTo>
                <a:lnTo>
                  <a:pt x="82" y="45"/>
                </a:lnTo>
                <a:lnTo>
                  <a:pt x="82" y="45"/>
                </a:lnTo>
                <a:lnTo>
                  <a:pt x="82" y="46"/>
                </a:lnTo>
                <a:lnTo>
                  <a:pt x="82" y="46"/>
                </a:lnTo>
                <a:lnTo>
                  <a:pt x="83" y="51"/>
                </a:lnTo>
                <a:lnTo>
                  <a:pt x="86" y="54"/>
                </a:lnTo>
                <a:lnTo>
                  <a:pt x="91" y="57"/>
                </a:lnTo>
                <a:lnTo>
                  <a:pt x="96" y="59"/>
                </a:lnTo>
                <a:lnTo>
                  <a:pt x="96" y="59"/>
                </a:lnTo>
                <a:lnTo>
                  <a:pt x="100" y="57"/>
                </a:lnTo>
                <a:lnTo>
                  <a:pt x="105" y="56"/>
                </a:lnTo>
                <a:lnTo>
                  <a:pt x="108" y="51"/>
                </a:lnTo>
                <a:lnTo>
                  <a:pt x="110" y="48"/>
                </a:lnTo>
                <a:lnTo>
                  <a:pt x="110" y="48"/>
                </a:lnTo>
                <a:close/>
              </a:path>
            </a:pathLst>
          </a:custGeom>
          <a:solidFill>
            <a:schemeClr val="accent3"/>
          </a:solidFill>
          <a:ln>
            <a:noFill/>
          </a:ln>
          <a:extLst/>
        </p:spPr>
        <p:txBody>
          <a:bodyPr vert="horz" wrap="square" lIns="84406" tIns="42203" rIns="84406" bIns="42203" numCol="1" anchor="t" anchorCtr="0" compatLnSpc="1">
            <a:prstTxWarp prst="textNoShape">
              <a:avLst/>
            </a:prstTxWarp>
          </a:bodyPr>
          <a:lstStyle/>
          <a:p>
            <a:endParaRPr lang="en-US"/>
          </a:p>
        </p:txBody>
      </p:sp>
      <p:sp>
        <p:nvSpPr>
          <p:cNvPr id="9" name="Freeform 17"/>
          <p:cNvSpPr>
            <a:spLocks/>
          </p:cNvSpPr>
          <p:nvPr/>
        </p:nvSpPr>
        <p:spPr bwMode="auto">
          <a:xfrm>
            <a:off x="383605" y="5087312"/>
            <a:ext cx="649426" cy="592218"/>
          </a:xfrm>
          <a:custGeom>
            <a:avLst/>
            <a:gdLst>
              <a:gd name="T0" fmla="*/ 2147483647 w 1525"/>
              <a:gd name="T1" fmla="*/ 2147483647 h 1508"/>
              <a:gd name="T2" fmla="*/ 2147483647 w 1525"/>
              <a:gd name="T3" fmla="*/ 2147483647 h 1508"/>
              <a:gd name="T4" fmla="*/ 2147483647 w 1525"/>
              <a:gd name="T5" fmla="*/ 2147483647 h 1508"/>
              <a:gd name="T6" fmla="*/ 2147483647 w 1525"/>
              <a:gd name="T7" fmla="*/ 2147483647 h 1508"/>
              <a:gd name="T8" fmla="*/ 2147483647 w 1525"/>
              <a:gd name="T9" fmla="*/ 2147483647 h 1508"/>
              <a:gd name="T10" fmla="*/ 2147483647 w 1525"/>
              <a:gd name="T11" fmla="*/ 2147483647 h 1508"/>
              <a:gd name="T12" fmla="*/ 2147483647 w 1525"/>
              <a:gd name="T13" fmla="*/ 2147483647 h 1508"/>
              <a:gd name="T14" fmla="*/ 2147483647 w 1525"/>
              <a:gd name="T15" fmla="*/ 2147483647 h 1508"/>
              <a:gd name="T16" fmla="*/ 2147483647 w 1525"/>
              <a:gd name="T17" fmla="*/ 2147483647 h 1508"/>
              <a:gd name="T18" fmla="*/ 2147483647 w 1525"/>
              <a:gd name="T19" fmla="*/ 2147483647 h 1508"/>
              <a:gd name="T20" fmla="*/ 2147483647 w 1525"/>
              <a:gd name="T21" fmla="*/ 2147483647 h 1508"/>
              <a:gd name="T22" fmla="*/ 2147483647 w 1525"/>
              <a:gd name="T23" fmla="*/ 2147483647 h 1508"/>
              <a:gd name="T24" fmla="*/ 2147483647 w 1525"/>
              <a:gd name="T25" fmla="*/ 2147483647 h 1508"/>
              <a:gd name="T26" fmla="*/ 2147483647 w 1525"/>
              <a:gd name="T27" fmla="*/ 2147483647 h 1508"/>
              <a:gd name="T28" fmla="*/ 2147483647 w 1525"/>
              <a:gd name="T29" fmla="*/ 2147483647 h 1508"/>
              <a:gd name="T30" fmla="*/ 2147483647 w 1525"/>
              <a:gd name="T31" fmla="*/ 2147483647 h 1508"/>
              <a:gd name="T32" fmla="*/ 2147483647 w 1525"/>
              <a:gd name="T33" fmla="*/ 2147483647 h 1508"/>
              <a:gd name="T34" fmla="*/ 2147483647 w 1525"/>
              <a:gd name="T35" fmla="*/ 2147483647 h 1508"/>
              <a:gd name="T36" fmla="*/ 2147483647 w 1525"/>
              <a:gd name="T37" fmla="*/ 2147483647 h 1508"/>
              <a:gd name="T38" fmla="*/ 2147483647 w 1525"/>
              <a:gd name="T39" fmla="*/ 2147483647 h 1508"/>
              <a:gd name="T40" fmla="*/ 2147483647 w 1525"/>
              <a:gd name="T41" fmla="*/ 2147483647 h 1508"/>
              <a:gd name="T42" fmla="*/ 2147483647 w 1525"/>
              <a:gd name="T43" fmla="*/ 2147483647 h 1508"/>
              <a:gd name="T44" fmla="*/ 2147483647 w 1525"/>
              <a:gd name="T45" fmla="*/ 2147483647 h 1508"/>
              <a:gd name="T46" fmla="*/ 2147483647 w 1525"/>
              <a:gd name="T47" fmla="*/ 2147483647 h 1508"/>
              <a:gd name="T48" fmla="*/ 2147483647 w 1525"/>
              <a:gd name="T49" fmla="*/ 2147483647 h 1508"/>
              <a:gd name="T50" fmla="*/ 2147483647 w 1525"/>
              <a:gd name="T51" fmla="*/ 2147483647 h 1508"/>
              <a:gd name="T52" fmla="*/ 2147483647 w 1525"/>
              <a:gd name="T53" fmla="*/ 2147483647 h 1508"/>
              <a:gd name="T54" fmla="*/ 2147483647 w 1525"/>
              <a:gd name="T55" fmla="*/ 2147483647 h 1508"/>
              <a:gd name="T56" fmla="*/ 2147483647 w 1525"/>
              <a:gd name="T57" fmla="*/ 2147483647 h 1508"/>
              <a:gd name="T58" fmla="*/ 2147483647 w 1525"/>
              <a:gd name="T59" fmla="*/ 2147483647 h 1508"/>
              <a:gd name="T60" fmla="*/ 2147483647 w 1525"/>
              <a:gd name="T61" fmla="*/ 2147483647 h 1508"/>
              <a:gd name="T62" fmla="*/ 2147483647 w 1525"/>
              <a:gd name="T63" fmla="*/ 2147483647 h 1508"/>
              <a:gd name="T64" fmla="*/ 2147483647 w 1525"/>
              <a:gd name="T65" fmla="*/ 2147483647 h 1508"/>
              <a:gd name="T66" fmla="*/ 2147483647 w 1525"/>
              <a:gd name="T67" fmla="*/ 2147483647 h 1508"/>
              <a:gd name="T68" fmla="*/ 2147483647 w 1525"/>
              <a:gd name="T69" fmla="*/ 2147483647 h 1508"/>
              <a:gd name="T70" fmla="*/ 2147483647 w 1525"/>
              <a:gd name="T71" fmla="*/ 2147483647 h 1508"/>
              <a:gd name="T72" fmla="*/ 2147483647 w 1525"/>
              <a:gd name="T73" fmla="*/ 2147483647 h 1508"/>
              <a:gd name="T74" fmla="*/ 2147483647 w 1525"/>
              <a:gd name="T75" fmla="*/ 2147483647 h 1508"/>
              <a:gd name="T76" fmla="*/ 2147483647 w 1525"/>
              <a:gd name="T77" fmla="*/ 2147483647 h 1508"/>
              <a:gd name="T78" fmla="*/ 2147483647 w 1525"/>
              <a:gd name="T79" fmla="*/ 2147483647 h 1508"/>
              <a:gd name="T80" fmla="*/ 2147483647 w 1525"/>
              <a:gd name="T81" fmla="*/ 2147483647 h 1508"/>
              <a:gd name="T82" fmla="*/ 2147483647 w 1525"/>
              <a:gd name="T83" fmla="*/ 2147483647 h 1508"/>
              <a:gd name="T84" fmla="*/ 2147483647 w 1525"/>
              <a:gd name="T85" fmla="*/ 2147483647 h 1508"/>
              <a:gd name="T86" fmla="*/ 2147483647 w 1525"/>
              <a:gd name="T87" fmla="*/ 2147483647 h 1508"/>
              <a:gd name="T88" fmla="*/ 2147483647 w 1525"/>
              <a:gd name="T89" fmla="*/ 2147483647 h 1508"/>
              <a:gd name="T90" fmla="*/ 2147483647 w 1525"/>
              <a:gd name="T91" fmla="*/ 2147483647 h 1508"/>
              <a:gd name="T92" fmla="*/ 2147483647 w 1525"/>
              <a:gd name="T93" fmla="*/ 2147483647 h 1508"/>
              <a:gd name="T94" fmla="*/ 2147483647 w 1525"/>
              <a:gd name="T95" fmla="*/ 2147483647 h 1508"/>
              <a:gd name="T96" fmla="*/ 2147483647 w 1525"/>
              <a:gd name="T97" fmla="*/ 2147483647 h 1508"/>
              <a:gd name="T98" fmla="*/ 2147483647 w 1525"/>
              <a:gd name="T99" fmla="*/ 2147483647 h 1508"/>
              <a:gd name="T100" fmla="*/ 2147483647 w 1525"/>
              <a:gd name="T101" fmla="*/ 2147483647 h 1508"/>
              <a:gd name="T102" fmla="*/ 2147483647 w 1525"/>
              <a:gd name="T103" fmla="*/ 2147483647 h 1508"/>
              <a:gd name="T104" fmla="*/ 2147483647 w 1525"/>
              <a:gd name="T105" fmla="*/ 2147483647 h 1508"/>
              <a:gd name="T106" fmla="*/ 2147483647 w 1525"/>
              <a:gd name="T107" fmla="*/ 2147483647 h 1508"/>
              <a:gd name="T108" fmla="*/ 2147483647 w 1525"/>
              <a:gd name="T109" fmla="*/ 2147483647 h 1508"/>
              <a:gd name="T110" fmla="*/ 2147483647 w 1525"/>
              <a:gd name="T111" fmla="*/ 2147483647 h 1508"/>
              <a:gd name="T112" fmla="*/ 2147483647 w 1525"/>
              <a:gd name="T113" fmla="*/ 2147483647 h 1508"/>
              <a:gd name="T114" fmla="*/ 2147483647 w 1525"/>
              <a:gd name="T115" fmla="*/ 2147483647 h 1508"/>
              <a:gd name="T116" fmla="*/ 2147483647 w 1525"/>
              <a:gd name="T117" fmla="*/ 2147483647 h 1508"/>
              <a:gd name="T118" fmla="*/ 2147483647 w 1525"/>
              <a:gd name="T119" fmla="*/ 2147483647 h 1508"/>
              <a:gd name="T120" fmla="*/ 2147483647 w 1525"/>
              <a:gd name="T121" fmla="*/ 2147483647 h 15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25"/>
              <a:gd name="T184" fmla="*/ 0 h 1508"/>
              <a:gd name="T185" fmla="*/ 1525 w 1525"/>
              <a:gd name="T186" fmla="*/ 1508 h 150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25" h="1508">
                <a:moveTo>
                  <a:pt x="1512" y="288"/>
                </a:moveTo>
                <a:lnTo>
                  <a:pt x="1448" y="247"/>
                </a:lnTo>
                <a:lnTo>
                  <a:pt x="1432" y="246"/>
                </a:lnTo>
                <a:lnTo>
                  <a:pt x="1417" y="245"/>
                </a:lnTo>
                <a:lnTo>
                  <a:pt x="1402" y="246"/>
                </a:lnTo>
                <a:lnTo>
                  <a:pt x="1386" y="248"/>
                </a:lnTo>
                <a:lnTo>
                  <a:pt x="1372" y="252"/>
                </a:lnTo>
                <a:lnTo>
                  <a:pt x="1358" y="258"/>
                </a:lnTo>
                <a:lnTo>
                  <a:pt x="1345" y="267"/>
                </a:lnTo>
                <a:lnTo>
                  <a:pt x="1335" y="279"/>
                </a:lnTo>
                <a:lnTo>
                  <a:pt x="1330" y="290"/>
                </a:lnTo>
                <a:lnTo>
                  <a:pt x="1326" y="310"/>
                </a:lnTo>
                <a:lnTo>
                  <a:pt x="1323" y="335"/>
                </a:lnTo>
                <a:lnTo>
                  <a:pt x="1321" y="359"/>
                </a:lnTo>
                <a:lnTo>
                  <a:pt x="1366" y="359"/>
                </a:lnTo>
                <a:lnTo>
                  <a:pt x="1368" y="344"/>
                </a:lnTo>
                <a:lnTo>
                  <a:pt x="1368" y="329"/>
                </a:lnTo>
                <a:lnTo>
                  <a:pt x="1370" y="317"/>
                </a:lnTo>
                <a:lnTo>
                  <a:pt x="1371" y="312"/>
                </a:lnTo>
                <a:lnTo>
                  <a:pt x="1388" y="300"/>
                </a:lnTo>
                <a:lnTo>
                  <a:pt x="1405" y="293"/>
                </a:lnTo>
                <a:lnTo>
                  <a:pt x="1421" y="291"/>
                </a:lnTo>
                <a:lnTo>
                  <a:pt x="1437" y="291"/>
                </a:lnTo>
                <a:lnTo>
                  <a:pt x="1450" y="293"/>
                </a:lnTo>
                <a:lnTo>
                  <a:pt x="1461" y="295"/>
                </a:lnTo>
                <a:lnTo>
                  <a:pt x="1468" y="298"/>
                </a:lnTo>
                <a:lnTo>
                  <a:pt x="1470" y="299"/>
                </a:lnTo>
                <a:lnTo>
                  <a:pt x="1484" y="385"/>
                </a:lnTo>
                <a:lnTo>
                  <a:pt x="1475" y="396"/>
                </a:lnTo>
                <a:lnTo>
                  <a:pt x="1467" y="405"/>
                </a:lnTo>
                <a:lnTo>
                  <a:pt x="1459" y="412"/>
                </a:lnTo>
                <a:lnTo>
                  <a:pt x="1452" y="416"/>
                </a:lnTo>
                <a:lnTo>
                  <a:pt x="1443" y="418"/>
                </a:lnTo>
                <a:lnTo>
                  <a:pt x="1432" y="419"/>
                </a:lnTo>
                <a:lnTo>
                  <a:pt x="1420" y="420"/>
                </a:lnTo>
                <a:lnTo>
                  <a:pt x="1405" y="420"/>
                </a:lnTo>
                <a:lnTo>
                  <a:pt x="1403" y="420"/>
                </a:lnTo>
                <a:lnTo>
                  <a:pt x="1399" y="419"/>
                </a:lnTo>
                <a:lnTo>
                  <a:pt x="1392" y="416"/>
                </a:lnTo>
                <a:lnTo>
                  <a:pt x="1386" y="414"/>
                </a:lnTo>
                <a:lnTo>
                  <a:pt x="1380" y="410"/>
                </a:lnTo>
                <a:lnTo>
                  <a:pt x="1374" y="405"/>
                </a:lnTo>
                <a:lnTo>
                  <a:pt x="1369" y="400"/>
                </a:lnTo>
                <a:lnTo>
                  <a:pt x="1367" y="394"/>
                </a:lnTo>
                <a:lnTo>
                  <a:pt x="1366" y="389"/>
                </a:lnTo>
                <a:lnTo>
                  <a:pt x="1366" y="380"/>
                </a:lnTo>
                <a:lnTo>
                  <a:pt x="1366" y="370"/>
                </a:lnTo>
                <a:lnTo>
                  <a:pt x="1366" y="359"/>
                </a:lnTo>
                <a:lnTo>
                  <a:pt x="1321" y="359"/>
                </a:lnTo>
                <a:lnTo>
                  <a:pt x="1321" y="374"/>
                </a:lnTo>
                <a:lnTo>
                  <a:pt x="1321" y="387"/>
                </a:lnTo>
                <a:lnTo>
                  <a:pt x="1323" y="399"/>
                </a:lnTo>
                <a:lnTo>
                  <a:pt x="1324" y="408"/>
                </a:lnTo>
                <a:lnTo>
                  <a:pt x="1310" y="416"/>
                </a:lnTo>
                <a:lnTo>
                  <a:pt x="1295" y="426"/>
                </a:lnTo>
                <a:lnTo>
                  <a:pt x="1280" y="435"/>
                </a:lnTo>
                <a:lnTo>
                  <a:pt x="1267" y="445"/>
                </a:lnTo>
                <a:lnTo>
                  <a:pt x="1253" y="455"/>
                </a:lnTo>
                <a:lnTo>
                  <a:pt x="1240" y="466"/>
                </a:lnTo>
                <a:lnTo>
                  <a:pt x="1226" y="477"/>
                </a:lnTo>
                <a:lnTo>
                  <a:pt x="1214" y="488"/>
                </a:lnTo>
                <a:lnTo>
                  <a:pt x="1201" y="500"/>
                </a:lnTo>
                <a:lnTo>
                  <a:pt x="1189" y="512"/>
                </a:lnTo>
                <a:lnTo>
                  <a:pt x="1177" y="524"/>
                </a:lnTo>
                <a:lnTo>
                  <a:pt x="1165" y="537"/>
                </a:lnTo>
                <a:lnTo>
                  <a:pt x="1153" y="550"/>
                </a:lnTo>
                <a:lnTo>
                  <a:pt x="1142" y="563"/>
                </a:lnTo>
                <a:lnTo>
                  <a:pt x="1131" y="577"/>
                </a:lnTo>
                <a:lnTo>
                  <a:pt x="1119" y="591"/>
                </a:lnTo>
                <a:lnTo>
                  <a:pt x="1108" y="606"/>
                </a:lnTo>
                <a:lnTo>
                  <a:pt x="1096" y="620"/>
                </a:lnTo>
                <a:lnTo>
                  <a:pt x="1084" y="634"/>
                </a:lnTo>
                <a:lnTo>
                  <a:pt x="1073" y="649"/>
                </a:lnTo>
                <a:lnTo>
                  <a:pt x="1062" y="664"/>
                </a:lnTo>
                <a:lnTo>
                  <a:pt x="1051" y="679"/>
                </a:lnTo>
                <a:lnTo>
                  <a:pt x="1041" y="694"/>
                </a:lnTo>
                <a:lnTo>
                  <a:pt x="1030" y="710"/>
                </a:lnTo>
                <a:lnTo>
                  <a:pt x="1020" y="677"/>
                </a:lnTo>
                <a:lnTo>
                  <a:pt x="1009" y="643"/>
                </a:lnTo>
                <a:lnTo>
                  <a:pt x="997" y="610"/>
                </a:lnTo>
                <a:lnTo>
                  <a:pt x="986" y="576"/>
                </a:lnTo>
                <a:lnTo>
                  <a:pt x="976" y="543"/>
                </a:lnTo>
                <a:lnTo>
                  <a:pt x="966" y="510"/>
                </a:lnTo>
                <a:lnTo>
                  <a:pt x="955" y="477"/>
                </a:lnTo>
                <a:lnTo>
                  <a:pt x="945" y="443"/>
                </a:lnTo>
                <a:lnTo>
                  <a:pt x="935" y="410"/>
                </a:lnTo>
                <a:lnTo>
                  <a:pt x="925" y="376"/>
                </a:lnTo>
                <a:lnTo>
                  <a:pt x="915" y="342"/>
                </a:lnTo>
                <a:lnTo>
                  <a:pt x="906" y="309"/>
                </a:lnTo>
                <a:lnTo>
                  <a:pt x="898" y="275"/>
                </a:lnTo>
                <a:lnTo>
                  <a:pt x="889" y="242"/>
                </a:lnTo>
                <a:lnTo>
                  <a:pt x="882" y="207"/>
                </a:lnTo>
                <a:lnTo>
                  <a:pt x="874" y="173"/>
                </a:lnTo>
                <a:lnTo>
                  <a:pt x="880" y="167"/>
                </a:lnTo>
                <a:lnTo>
                  <a:pt x="885" y="160"/>
                </a:lnTo>
                <a:lnTo>
                  <a:pt x="891" y="153"/>
                </a:lnTo>
                <a:lnTo>
                  <a:pt x="896" y="145"/>
                </a:lnTo>
                <a:lnTo>
                  <a:pt x="901" y="138"/>
                </a:lnTo>
                <a:lnTo>
                  <a:pt x="905" y="130"/>
                </a:lnTo>
                <a:lnTo>
                  <a:pt x="909" y="122"/>
                </a:lnTo>
                <a:lnTo>
                  <a:pt x="913" y="114"/>
                </a:lnTo>
                <a:lnTo>
                  <a:pt x="865" y="114"/>
                </a:lnTo>
                <a:lnTo>
                  <a:pt x="859" y="124"/>
                </a:lnTo>
                <a:lnTo>
                  <a:pt x="851" y="133"/>
                </a:lnTo>
                <a:lnTo>
                  <a:pt x="841" y="141"/>
                </a:lnTo>
                <a:lnTo>
                  <a:pt x="831" y="146"/>
                </a:lnTo>
                <a:lnTo>
                  <a:pt x="819" y="149"/>
                </a:lnTo>
                <a:lnTo>
                  <a:pt x="806" y="151"/>
                </a:lnTo>
                <a:lnTo>
                  <a:pt x="791" y="149"/>
                </a:lnTo>
                <a:lnTo>
                  <a:pt x="775" y="144"/>
                </a:lnTo>
                <a:lnTo>
                  <a:pt x="770" y="142"/>
                </a:lnTo>
                <a:lnTo>
                  <a:pt x="766" y="140"/>
                </a:lnTo>
                <a:lnTo>
                  <a:pt x="761" y="136"/>
                </a:lnTo>
                <a:lnTo>
                  <a:pt x="757" y="131"/>
                </a:lnTo>
                <a:lnTo>
                  <a:pt x="754" y="127"/>
                </a:lnTo>
                <a:lnTo>
                  <a:pt x="752" y="121"/>
                </a:lnTo>
                <a:lnTo>
                  <a:pt x="750" y="116"/>
                </a:lnTo>
                <a:lnTo>
                  <a:pt x="751" y="110"/>
                </a:lnTo>
                <a:lnTo>
                  <a:pt x="754" y="99"/>
                </a:lnTo>
                <a:lnTo>
                  <a:pt x="760" y="89"/>
                </a:lnTo>
                <a:lnTo>
                  <a:pt x="767" y="80"/>
                </a:lnTo>
                <a:lnTo>
                  <a:pt x="774" y="71"/>
                </a:lnTo>
                <a:lnTo>
                  <a:pt x="783" y="63"/>
                </a:lnTo>
                <a:lnTo>
                  <a:pt x="791" y="54"/>
                </a:lnTo>
                <a:lnTo>
                  <a:pt x="799" y="47"/>
                </a:lnTo>
                <a:lnTo>
                  <a:pt x="805" y="39"/>
                </a:lnTo>
                <a:lnTo>
                  <a:pt x="811" y="38"/>
                </a:lnTo>
                <a:lnTo>
                  <a:pt x="818" y="37"/>
                </a:lnTo>
                <a:lnTo>
                  <a:pt x="825" y="36"/>
                </a:lnTo>
                <a:lnTo>
                  <a:pt x="834" y="36"/>
                </a:lnTo>
                <a:lnTo>
                  <a:pt x="843" y="37"/>
                </a:lnTo>
                <a:lnTo>
                  <a:pt x="851" y="39"/>
                </a:lnTo>
                <a:lnTo>
                  <a:pt x="859" y="43"/>
                </a:lnTo>
                <a:lnTo>
                  <a:pt x="865" y="49"/>
                </a:lnTo>
                <a:lnTo>
                  <a:pt x="870" y="56"/>
                </a:lnTo>
                <a:lnTo>
                  <a:pt x="873" y="95"/>
                </a:lnTo>
                <a:lnTo>
                  <a:pt x="872" y="99"/>
                </a:lnTo>
                <a:lnTo>
                  <a:pt x="869" y="104"/>
                </a:lnTo>
                <a:lnTo>
                  <a:pt x="867" y="110"/>
                </a:lnTo>
                <a:lnTo>
                  <a:pt x="865" y="114"/>
                </a:lnTo>
                <a:lnTo>
                  <a:pt x="913" y="114"/>
                </a:lnTo>
                <a:lnTo>
                  <a:pt x="913" y="67"/>
                </a:lnTo>
                <a:lnTo>
                  <a:pt x="897" y="16"/>
                </a:lnTo>
                <a:lnTo>
                  <a:pt x="890" y="11"/>
                </a:lnTo>
                <a:lnTo>
                  <a:pt x="882" y="7"/>
                </a:lnTo>
                <a:lnTo>
                  <a:pt x="873" y="4"/>
                </a:lnTo>
                <a:lnTo>
                  <a:pt x="864" y="2"/>
                </a:lnTo>
                <a:lnTo>
                  <a:pt x="855" y="1"/>
                </a:lnTo>
                <a:lnTo>
                  <a:pt x="845" y="0"/>
                </a:lnTo>
                <a:lnTo>
                  <a:pt x="834" y="0"/>
                </a:lnTo>
                <a:lnTo>
                  <a:pt x="824" y="0"/>
                </a:lnTo>
                <a:lnTo>
                  <a:pt x="811" y="1"/>
                </a:lnTo>
                <a:lnTo>
                  <a:pt x="799" y="2"/>
                </a:lnTo>
                <a:lnTo>
                  <a:pt x="787" y="4"/>
                </a:lnTo>
                <a:lnTo>
                  <a:pt x="777" y="6"/>
                </a:lnTo>
                <a:lnTo>
                  <a:pt x="769" y="7"/>
                </a:lnTo>
                <a:lnTo>
                  <a:pt x="763" y="9"/>
                </a:lnTo>
                <a:lnTo>
                  <a:pt x="759" y="10"/>
                </a:lnTo>
                <a:lnTo>
                  <a:pt x="758" y="10"/>
                </a:lnTo>
                <a:lnTo>
                  <a:pt x="738" y="26"/>
                </a:lnTo>
                <a:lnTo>
                  <a:pt x="721" y="43"/>
                </a:lnTo>
                <a:lnTo>
                  <a:pt x="707" y="61"/>
                </a:lnTo>
                <a:lnTo>
                  <a:pt x="697" y="80"/>
                </a:lnTo>
                <a:lnTo>
                  <a:pt x="691" y="98"/>
                </a:lnTo>
                <a:lnTo>
                  <a:pt x="689" y="116"/>
                </a:lnTo>
                <a:lnTo>
                  <a:pt x="691" y="133"/>
                </a:lnTo>
                <a:lnTo>
                  <a:pt x="698" y="149"/>
                </a:lnTo>
                <a:lnTo>
                  <a:pt x="706" y="161"/>
                </a:lnTo>
                <a:lnTo>
                  <a:pt x="715" y="172"/>
                </a:lnTo>
                <a:lnTo>
                  <a:pt x="725" y="182"/>
                </a:lnTo>
                <a:lnTo>
                  <a:pt x="736" y="191"/>
                </a:lnTo>
                <a:lnTo>
                  <a:pt x="747" y="199"/>
                </a:lnTo>
                <a:lnTo>
                  <a:pt x="760" y="205"/>
                </a:lnTo>
                <a:lnTo>
                  <a:pt x="774" y="208"/>
                </a:lnTo>
                <a:lnTo>
                  <a:pt x="790" y="209"/>
                </a:lnTo>
                <a:lnTo>
                  <a:pt x="790" y="210"/>
                </a:lnTo>
                <a:lnTo>
                  <a:pt x="790" y="209"/>
                </a:lnTo>
                <a:lnTo>
                  <a:pt x="781" y="234"/>
                </a:lnTo>
                <a:lnTo>
                  <a:pt x="772" y="258"/>
                </a:lnTo>
                <a:lnTo>
                  <a:pt x="763" y="282"/>
                </a:lnTo>
                <a:lnTo>
                  <a:pt x="753" y="305"/>
                </a:lnTo>
                <a:lnTo>
                  <a:pt x="743" y="329"/>
                </a:lnTo>
                <a:lnTo>
                  <a:pt x="733" y="353"/>
                </a:lnTo>
                <a:lnTo>
                  <a:pt x="723" y="376"/>
                </a:lnTo>
                <a:lnTo>
                  <a:pt x="713" y="400"/>
                </a:lnTo>
                <a:lnTo>
                  <a:pt x="702" y="423"/>
                </a:lnTo>
                <a:lnTo>
                  <a:pt x="691" y="447"/>
                </a:lnTo>
                <a:lnTo>
                  <a:pt x="680" y="470"/>
                </a:lnTo>
                <a:lnTo>
                  <a:pt x="669" y="494"/>
                </a:lnTo>
                <a:lnTo>
                  <a:pt x="659" y="517"/>
                </a:lnTo>
                <a:lnTo>
                  <a:pt x="648" y="541"/>
                </a:lnTo>
                <a:lnTo>
                  <a:pt x="637" y="564"/>
                </a:lnTo>
                <a:lnTo>
                  <a:pt x="627" y="588"/>
                </a:lnTo>
                <a:lnTo>
                  <a:pt x="617" y="611"/>
                </a:lnTo>
                <a:lnTo>
                  <a:pt x="608" y="635"/>
                </a:lnTo>
                <a:lnTo>
                  <a:pt x="599" y="659"/>
                </a:lnTo>
                <a:lnTo>
                  <a:pt x="591" y="682"/>
                </a:lnTo>
                <a:lnTo>
                  <a:pt x="583" y="707"/>
                </a:lnTo>
                <a:lnTo>
                  <a:pt x="576" y="730"/>
                </a:lnTo>
                <a:lnTo>
                  <a:pt x="571" y="754"/>
                </a:lnTo>
                <a:lnTo>
                  <a:pt x="565" y="779"/>
                </a:lnTo>
                <a:lnTo>
                  <a:pt x="557" y="762"/>
                </a:lnTo>
                <a:lnTo>
                  <a:pt x="547" y="745"/>
                </a:lnTo>
                <a:lnTo>
                  <a:pt x="537" y="729"/>
                </a:lnTo>
                <a:lnTo>
                  <a:pt x="527" y="713"/>
                </a:lnTo>
                <a:lnTo>
                  <a:pt x="516" y="697"/>
                </a:lnTo>
                <a:lnTo>
                  <a:pt x="504" y="682"/>
                </a:lnTo>
                <a:lnTo>
                  <a:pt x="492" y="666"/>
                </a:lnTo>
                <a:lnTo>
                  <a:pt x="480" y="651"/>
                </a:lnTo>
                <a:lnTo>
                  <a:pt x="467" y="636"/>
                </a:lnTo>
                <a:lnTo>
                  <a:pt x="455" y="622"/>
                </a:lnTo>
                <a:lnTo>
                  <a:pt x="442" y="607"/>
                </a:lnTo>
                <a:lnTo>
                  <a:pt x="429" y="593"/>
                </a:lnTo>
                <a:lnTo>
                  <a:pt x="415" y="579"/>
                </a:lnTo>
                <a:lnTo>
                  <a:pt x="402" y="564"/>
                </a:lnTo>
                <a:lnTo>
                  <a:pt x="388" y="550"/>
                </a:lnTo>
                <a:lnTo>
                  <a:pt x="375" y="536"/>
                </a:lnTo>
                <a:lnTo>
                  <a:pt x="365" y="525"/>
                </a:lnTo>
                <a:lnTo>
                  <a:pt x="353" y="514"/>
                </a:lnTo>
                <a:lnTo>
                  <a:pt x="340" y="503"/>
                </a:lnTo>
                <a:lnTo>
                  <a:pt x="325" y="492"/>
                </a:lnTo>
                <a:lnTo>
                  <a:pt x="311" y="482"/>
                </a:lnTo>
                <a:lnTo>
                  <a:pt x="294" y="471"/>
                </a:lnTo>
                <a:lnTo>
                  <a:pt x="279" y="460"/>
                </a:lnTo>
                <a:lnTo>
                  <a:pt x="263" y="450"/>
                </a:lnTo>
                <a:lnTo>
                  <a:pt x="249" y="441"/>
                </a:lnTo>
                <a:lnTo>
                  <a:pt x="235" y="432"/>
                </a:lnTo>
                <a:lnTo>
                  <a:pt x="222" y="426"/>
                </a:lnTo>
                <a:lnTo>
                  <a:pt x="211" y="419"/>
                </a:lnTo>
                <a:lnTo>
                  <a:pt x="202" y="413"/>
                </a:lnTo>
                <a:lnTo>
                  <a:pt x="195" y="409"/>
                </a:lnTo>
                <a:lnTo>
                  <a:pt x="190" y="407"/>
                </a:lnTo>
                <a:lnTo>
                  <a:pt x="189" y="406"/>
                </a:lnTo>
                <a:lnTo>
                  <a:pt x="192" y="398"/>
                </a:lnTo>
                <a:lnTo>
                  <a:pt x="196" y="389"/>
                </a:lnTo>
                <a:lnTo>
                  <a:pt x="201" y="381"/>
                </a:lnTo>
                <a:lnTo>
                  <a:pt x="205" y="372"/>
                </a:lnTo>
                <a:lnTo>
                  <a:pt x="209" y="364"/>
                </a:lnTo>
                <a:lnTo>
                  <a:pt x="211" y="355"/>
                </a:lnTo>
                <a:lnTo>
                  <a:pt x="212" y="346"/>
                </a:lnTo>
                <a:lnTo>
                  <a:pt x="210" y="338"/>
                </a:lnTo>
                <a:lnTo>
                  <a:pt x="149" y="265"/>
                </a:lnTo>
                <a:lnTo>
                  <a:pt x="138" y="263"/>
                </a:lnTo>
                <a:lnTo>
                  <a:pt x="123" y="262"/>
                </a:lnTo>
                <a:lnTo>
                  <a:pt x="106" y="262"/>
                </a:lnTo>
                <a:lnTo>
                  <a:pt x="88" y="264"/>
                </a:lnTo>
                <a:lnTo>
                  <a:pt x="71" y="266"/>
                </a:lnTo>
                <a:lnTo>
                  <a:pt x="56" y="269"/>
                </a:lnTo>
                <a:lnTo>
                  <a:pt x="44" y="273"/>
                </a:lnTo>
                <a:lnTo>
                  <a:pt x="39" y="277"/>
                </a:lnTo>
                <a:lnTo>
                  <a:pt x="23" y="289"/>
                </a:lnTo>
                <a:lnTo>
                  <a:pt x="12" y="306"/>
                </a:lnTo>
                <a:lnTo>
                  <a:pt x="4" y="325"/>
                </a:lnTo>
                <a:lnTo>
                  <a:pt x="0" y="347"/>
                </a:lnTo>
                <a:lnTo>
                  <a:pt x="0" y="369"/>
                </a:lnTo>
                <a:lnTo>
                  <a:pt x="3" y="390"/>
                </a:lnTo>
                <a:lnTo>
                  <a:pt x="9" y="409"/>
                </a:lnTo>
                <a:lnTo>
                  <a:pt x="19" y="425"/>
                </a:lnTo>
                <a:lnTo>
                  <a:pt x="25" y="431"/>
                </a:lnTo>
                <a:lnTo>
                  <a:pt x="31" y="436"/>
                </a:lnTo>
                <a:lnTo>
                  <a:pt x="38" y="441"/>
                </a:lnTo>
                <a:lnTo>
                  <a:pt x="46" y="446"/>
                </a:lnTo>
                <a:lnTo>
                  <a:pt x="54" y="449"/>
                </a:lnTo>
                <a:lnTo>
                  <a:pt x="62" y="452"/>
                </a:lnTo>
                <a:lnTo>
                  <a:pt x="71" y="455"/>
                </a:lnTo>
                <a:lnTo>
                  <a:pt x="79" y="457"/>
                </a:lnTo>
                <a:lnTo>
                  <a:pt x="79" y="402"/>
                </a:lnTo>
                <a:lnTo>
                  <a:pt x="73" y="400"/>
                </a:lnTo>
                <a:lnTo>
                  <a:pt x="67" y="398"/>
                </a:lnTo>
                <a:lnTo>
                  <a:pt x="61" y="395"/>
                </a:lnTo>
                <a:lnTo>
                  <a:pt x="56" y="392"/>
                </a:lnTo>
                <a:lnTo>
                  <a:pt x="51" y="390"/>
                </a:lnTo>
                <a:lnTo>
                  <a:pt x="48" y="387"/>
                </a:lnTo>
                <a:lnTo>
                  <a:pt x="46" y="384"/>
                </a:lnTo>
                <a:lnTo>
                  <a:pt x="45" y="381"/>
                </a:lnTo>
                <a:lnTo>
                  <a:pt x="44" y="360"/>
                </a:lnTo>
                <a:lnTo>
                  <a:pt x="47" y="344"/>
                </a:lnTo>
                <a:lnTo>
                  <a:pt x="54" y="331"/>
                </a:lnTo>
                <a:lnTo>
                  <a:pt x="62" y="321"/>
                </a:lnTo>
                <a:lnTo>
                  <a:pt x="70" y="313"/>
                </a:lnTo>
                <a:lnTo>
                  <a:pt x="78" y="307"/>
                </a:lnTo>
                <a:lnTo>
                  <a:pt x="82" y="303"/>
                </a:lnTo>
                <a:lnTo>
                  <a:pt x="84" y="300"/>
                </a:lnTo>
                <a:lnTo>
                  <a:pt x="91" y="301"/>
                </a:lnTo>
                <a:lnTo>
                  <a:pt x="99" y="303"/>
                </a:lnTo>
                <a:lnTo>
                  <a:pt x="109" y="305"/>
                </a:lnTo>
                <a:lnTo>
                  <a:pt x="119" y="308"/>
                </a:lnTo>
                <a:lnTo>
                  <a:pt x="128" y="311"/>
                </a:lnTo>
                <a:lnTo>
                  <a:pt x="136" y="313"/>
                </a:lnTo>
                <a:lnTo>
                  <a:pt x="141" y="315"/>
                </a:lnTo>
                <a:lnTo>
                  <a:pt x="143" y="315"/>
                </a:lnTo>
                <a:lnTo>
                  <a:pt x="152" y="325"/>
                </a:lnTo>
                <a:lnTo>
                  <a:pt x="157" y="336"/>
                </a:lnTo>
                <a:lnTo>
                  <a:pt x="158" y="349"/>
                </a:lnTo>
                <a:lnTo>
                  <a:pt x="155" y="362"/>
                </a:lnTo>
                <a:lnTo>
                  <a:pt x="150" y="375"/>
                </a:lnTo>
                <a:lnTo>
                  <a:pt x="145" y="385"/>
                </a:lnTo>
                <a:lnTo>
                  <a:pt x="138" y="395"/>
                </a:lnTo>
                <a:lnTo>
                  <a:pt x="132" y="402"/>
                </a:lnTo>
                <a:lnTo>
                  <a:pt x="128" y="404"/>
                </a:lnTo>
                <a:lnTo>
                  <a:pt x="123" y="405"/>
                </a:lnTo>
                <a:lnTo>
                  <a:pt x="117" y="405"/>
                </a:lnTo>
                <a:lnTo>
                  <a:pt x="109" y="405"/>
                </a:lnTo>
                <a:lnTo>
                  <a:pt x="101" y="405"/>
                </a:lnTo>
                <a:lnTo>
                  <a:pt x="94" y="404"/>
                </a:lnTo>
                <a:lnTo>
                  <a:pt x="86" y="402"/>
                </a:lnTo>
                <a:lnTo>
                  <a:pt x="79" y="402"/>
                </a:lnTo>
                <a:lnTo>
                  <a:pt x="79" y="457"/>
                </a:lnTo>
                <a:lnTo>
                  <a:pt x="84" y="458"/>
                </a:lnTo>
                <a:lnTo>
                  <a:pt x="91" y="458"/>
                </a:lnTo>
                <a:lnTo>
                  <a:pt x="98" y="459"/>
                </a:lnTo>
                <a:lnTo>
                  <a:pt x="105" y="459"/>
                </a:lnTo>
                <a:lnTo>
                  <a:pt x="112" y="459"/>
                </a:lnTo>
                <a:lnTo>
                  <a:pt x="119" y="459"/>
                </a:lnTo>
                <a:lnTo>
                  <a:pt x="125" y="458"/>
                </a:lnTo>
                <a:lnTo>
                  <a:pt x="130" y="457"/>
                </a:lnTo>
                <a:lnTo>
                  <a:pt x="132" y="467"/>
                </a:lnTo>
                <a:lnTo>
                  <a:pt x="140" y="496"/>
                </a:lnTo>
                <a:lnTo>
                  <a:pt x="151" y="541"/>
                </a:lnTo>
                <a:lnTo>
                  <a:pt x="164" y="600"/>
                </a:lnTo>
                <a:lnTo>
                  <a:pt x="179" y="669"/>
                </a:lnTo>
                <a:lnTo>
                  <a:pt x="195" y="747"/>
                </a:lnTo>
                <a:lnTo>
                  <a:pt x="211" y="830"/>
                </a:lnTo>
                <a:lnTo>
                  <a:pt x="225" y="916"/>
                </a:lnTo>
                <a:lnTo>
                  <a:pt x="232" y="968"/>
                </a:lnTo>
                <a:lnTo>
                  <a:pt x="237" y="1025"/>
                </a:lnTo>
                <a:lnTo>
                  <a:pt x="242" y="1084"/>
                </a:lnTo>
                <a:lnTo>
                  <a:pt x="246" y="1141"/>
                </a:lnTo>
                <a:lnTo>
                  <a:pt x="248" y="1191"/>
                </a:lnTo>
                <a:lnTo>
                  <a:pt x="250" y="1232"/>
                </a:lnTo>
                <a:lnTo>
                  <a:pt x="251" y="1259"/>
                </a:lnTo>
                <a:lnTo>
                  <a:pt x="251" y="1269"/>
                </a:lnTo>
                <a:lnTo>
                  <a:pt x="241" y="1269"/>
                </a:lnTo>
                <a:lnTo>
                  <a:pt x="226" y="1273"/>
                </a:lnTo>
                <a:lnTo>
                  <a:pt x="209" y="1278"/>
                </a:lnTo>
                <a:lnTo>
                  <a:pt x="189" y="1284"/>
                </a:lnTo>
                <a:lnTo>
                  <a:pt x="171" y="1289"/>
                </a:lnTo>
                <a:lnTo>
                  <a:pt x="155" y="1295"/>
                </a:lnTo>
                <a:lnTo>
                  <a:pt x="144" y="1298"/>
                </a:lnTo>
                <a:lnTo>
                  <a:pt x="140" y="1299"/>
                </a:lnTo>
                <a:lnTo>
                  <a:pt x="132" y="1314"/>
                </a:lnTo>
                <a:lnTo>
                  <a:pt x="125" y="1330"/>
                </a:lnTo>
                <a:lnTo>
                  <a:pt x="118" y="1348"/>
                </a:lnTo>
                <a:lnTo>
                  <a:pt x="113" y="1365"/>
                </a:lnTo>
                <a:lnTo>
                  <a:pt x="111" y="1383"/>
                </a:lnTo>
                <a:lnTo>
                  <a:pt x="111" y="1400"/>
                </a:lnTo>
                <a:lnTo>
                  <a:pt x="115" y="1417"/>
                </a:lnTo>
                <a:lnTo>
                  <a:pt x="125" y="1433"/>
                </a:lnTo>
                <a:lnTo>
                  <a:pt x="124" y="1436"/>
                </a:lnTo>
                <a:lnTo>
                  <a:pt x="124" y="1443"/>
                </a:lnTo>
                <a:lnTo>
                  <a:pt x="125" y="1450"/>
                </a:lnTo>
                <a:lnTo>
                  <a:pt x="127" y="1459"/>
                </a:lnTo>
                <a:lnTo>
                  <a:pt x="130" y="1467"/>
                </a:lnTo>
                <a:lnTo>
                  <a:pt x="134" y="1474"/>
                </a:lnTo>
                <a:lnTo>
                  <a:pt x="138" y="1479"/>
                </a:lnTo>
                <a:lnTo>
                  <a:pt x="144" y="1481"/>
                </a:lnTo>
                <a:lnTo>
                  <a:pt x="169" y="1484"/>
                </a:lnTo>
                <a:lnTo>
                  <a:pt x="198" y="1487"/>
                </a:lnTo>
                <a:lnTo>
                  <a:pt x="231" y="1490"/>
                </a:lnTo>
                <a:lnTo>
                  <a:pt x="267" y="1493"/>
                </a:lnTo>
                <a:lnTo>
                  <a:pt x="307" y="1496"/>
                </a:lnTo>
                <a:lnTo>
                  <a:pt x="349" y="1497"/>
                </a:lnTo>
                <a:lnTo>
                  <a:pt x="394" y="1500"/>
                </a:lnTo>
                <a:lnTo>
                  <a:pt x="441" y="1501"/>
                </a:lnTo>
                <a:lnTo>
                  <a:pt x="490" y="1503"/>
                </a:lnTo>
                <a:lnTo>
                  <a:pt x="540" y="1504"/>
                </a:lnTo>
                <a:lnTo>
                  <a:pt x="591" y="1506"/>
                </a:lnTo>
                <a:lnTo>
                  <a:pt x="643" y="1506"/>
                </a:lnTo>
                <a:lnTo>
                  <a:pt x="696" y="1507"/>
                </a:lnTo>
                <a:lnTo>
                  <a:pt x="749" y="1508"/>
                </a:lnTo>
                <a:lnTo>
                  <a:pt x="802" y="1508"/>
                </a:lnTo>
                <a:lnTo>
                  <a:pt x="855" y="1508"/>
                </a:lnTo>
                <a:lnTo>
                  <a:pt x="907" y="1508"/>
                </a:lnTo>
                <a:lnTo>
                  <a:pt x="957" y="1508"/>
                </a:lnTo>
                <a:lnTo>
                  <a:pt x="1007" y="1508"/>
                </a:lnTo>
                <a:lnTo>
                  <a:pt x="1055" y="1508"/>
                </a:lnTo>
                <a:lnTo>
                  <a:pt x="1101" y="1507"/>
                </a:lnTo>
                <a:lnTo>
                  <a:pt x="1145" y="1506"/>
                </a:lnTo>
                <a:lnTo>
                  <a:pt x="1186" y="1506"/>
                </a:lnTo>
                <a:lnTo>
                  <a:pt x="1223" y="1505"/>
                </a:lnTo>
                <a:lnTo>
                  <a:pt x="1258" y="1503"/>
                </a:lnTo>
                <a:lnTo>
                  <a:pt x="1289" y="1503"/>
                </a:lnTo>
                <a:lnTo>
                  <a:pt x="1317" y="1501"/>
                </a:lnTo>
                <a:lnTo>
                  <a:pt x="1340" y="1500"/>
                </a:lnTo>
                <a:lnTo>
                  <a:pt x="1358" y="1499"/>
                </a:lnTo>
                <a:lnTo>
                  <a:pt x="1372" y="1496"/>
                </a:lnTo>
                <a:lnTo>
                  <a:pt x="1381" y="1495"/>
                </a:lnTo>
                <a:lnTo>
                  <a:pt x="1384" y="1493"/>
                </a:lnTo>
                <a:lnTo>
                  <a:pt x="1391" y="1476"/>
                </a:lnTo>
                <a:lnTo>
                  <a:pt x="1397" y="1457"/>
                </a:lnTo>
                <a:lnTo>
                  <a:pt x="1403" y="1437"/>
                </a:lnTo>
                <a:lnTo>
                  <a:pt x="1409" y="1416"/>
                </a:lnTo>
                <a:lnTo>
                  <a:pt x="1412" y="1395"/>
                </a:lnTo>
                <a:lnTo>
                  <a:pt x="1412" y="1375"/>
                </a:lnTo>
                <a:lnTo>
                  <a:pt x="1411" y="1356"/>
                </a:lnTo>
                <a:lnTo>
                  <a:pt x="1405" y="1339"/>
                </a:lnTo>
                <a:lnTo>
                  <a:pt x="1401" y="1335"/>
                </a:lnTo>
                <a:lnTo>
                  <a:pt x="1390" y="1329"/>
                </a:lnTo>
                <a:lnTo>
                  <a:pt x="1375" y="1322"/>
                </a:lnTo>
                <a:lnTo>
                  <a:pt x="1358" y="1314"/>
                </a:lnTo>
                <a:lnTo>
                  <a:pt x="1340" y="1307"/>
                </a:lnTo>
                <a:lnTo>
                  <a:pt x="1322" y="1300"/>
                </a:lnTo>
                <a:lnTo>
                  <a:pt x="1307" y="1296"/>
                </a:lnTo>
                <a:lnTo>
                  <a:pt x="1297" y="1292"/>
                </a:lnTo>
                <a:lnTo>
                  <a:pt x="1299" y="1272"/>
                </a:lnTo>
                <a:lnTo>
                  <a:pt x="1300" y="1251"/>
                </a:lnTo>
                <a:lnTo>
                  <a:pt x="1298" y="1230"/>
                </a:lnTo>
                <a:lnTo>
                  <a:pt x="1297" y="1209"/>
                </a:lnTo>
                <a:lnTo>
                  <a:pt x="1217" y="1209"/>
                </a:lnTo>
                <a:lnTo>
                  <a:pt x="1215" y="1234"/>
                </a:lnTo>
                <a:lnTo>
                  <a:pt x="1213" y="1259"/>
                </a:lnTo>
                <a:lnTo>
                  <a:pt x="1212" y="1285"/>
                </a:lnTo>
                <a:lnTo>
                  <a:pt x="1210" y="1310"/>
                </a:lnTo>
                <a:lnTo>
                  <a:pt x="1203" y="1309"/>
                </a:lnTo>
                <a:lnTo>
                  <a:pt x="1194" y="1308"/>
                </a:lnTo>
                <a:lnTo>
                  <a:pt x="1184" y="1307"/>
                </a:lnTo>
                <a:lnTo>
                  <a:pt x="1174" y="1306"/>
                </a:lnTo>
                <a:lnTo>
                  <a:pt x="1164" y="1305"/>
                </a:lnTo>
                <a:lnTo>
                  <a:pt x="1154" y="1304"/>
                </a:lnTo>
                <a:lnTo>
                  <a:pt x="1145" y="1303"/>
                </a:lnTo>
                <a:lnTo>
                  <a:pt x="1138" y="1302"/>
                </a:lnTo>
                <a:lnTo>
                  <a:pt x="1138" y="1365"/>
                </a:lnTo>
                <a:lnTo>
                  <a:pt x="1159" y="1365"/>
                </a:lnTo>
                <a:lnTo>
                  <a:pt x="1178" y="1365"/>
                </a:lnTo>
                <a:lnTo>
                  <a:pt x="1197" y="1365"/>
                </a:lnTo>
                <a:lnTo>
                  <a:pt x="1216" y="1365"/>
                </a:lnTo>
                <a:lnTo>
                  <a:pt x="1233" y="1364"/>
                </a:lnTo>
                <a:lnTo>
                  <a:pt x="1250" y="1364"/>
                </a:lnTo>
                <a:lnTo>
                  <a:pt x="1264" y="1363"/>
                </a:lnTo>
                <a:lnTo>
                  <a:pt x="1278" y="1362"/>
                </a:lnTo>
                <a:lnTo>
                  <a:pt x="1291" y="1362"/>
                </a:lnTo>
                <a:lnTo>
                  <a:pt x="1301" y="1361"/>
                </a:lnTo>
                <a:lnTo>
                  <a:pt x="1311" y="1359"/>
                </a:lnTo>
                <a:lnTo>
                  <a:pt x="1318" y="1359"/>
                </a:lnTo>
                <a:lnTo>
                  <a:pt x="1323" y="1357"/>
                </a:lnTo>
                <a:lnTo>
                  <a:pt x="1327" y="1356"/>
                </a:lnTo>
                <a:lnTo>
                  <a:pt x="1328" y="1354"/>
                </a:lnTo>
                <a:lnTo>
                  <a:pt x="1328" y="1352"/>
                </a:lnTo>
                <a:lnTo>
                  <a:pt x="1339" y="1365"/>
                </a:lnTo>
                <a:lnTo>
                  <a:pt x="1346" y="1378"/>
                </a:lnTo>
                <a:lnTo>
                  <a:pt x="1350" y="1393"/>
                </a:lnTo>
                <a:lnTo>
                  <a:pt x="1351" y="1406"/>
                </a:lnTo>
                <a:lnTo>
                  <a:pt x="1348" y="1420"/>
                </a:lnTo>
                <a:lnTo>
                  <a:pt x="1344" y="1434"/>
                </a:lnTo>
                <a:lnTo>
                  <a:pt x="1337" y="1447"/>
                </a:lnTo>
                <a:lnTo>
                  <a:pt x="1328" y="1460"/>
                </a:lnTo>
                <a:lnTo>
                  <a:pt x="1322" y="1459"/>
                </a:lnTo>
                <a:lnTo>
                  <a:pt x="1313" y="1457"/>
                </a:lnTo>
                <a:lnTo>
                  <a:pt x="1300" y="1456"/>
                </a:lnTo>
                <a:lnTo>
                  <a:pt x="1283" y="1456"/>
                </a:lnTo>
                <a:lnTo>
                  <a:pt x="1263" y="1455"/>
                </a:lnTo>
                <a:lnTo>
                  <a:pt x="1240" y="1454"/>
                </a:lnTo>
                <a:lnTo>
                  <a:pt x="1213" y="1453"/>
                </a:lnTo>
                <a:lnTo>
                  <a:pt x="1183" y="1452"/>
                </a:lnTo>
                <a:lnTo>
                  <a:pt x="1152" y="1451"/>
                </a:lnTo>
                <a:lnTo>
                  <a:pt x="1117" y="1451"/>
                </a:lnTo>
                <a:lnTo>
                  <a:pt x="1081" y="1450"/>
                </a:lnTo>
                <a:lnTo>
                  <a:pt x="1042" y="1449"/>
                </a:lnTo>
                <a:lnTo>
                  <a:pt x="1002" y="1449"/>
                </a:lnTo>
                <a:lnTo>
                  <a:pt x="960" y="1448"/>
                </a:lnTo>
                <a:lnTo>
                  <a:pt x="917" y="1447"/>
                </a:lnTo>
                <a:lnTo>
                  <a:pt x="873" y="1446"/>
                </a:lnTo>
                <a:lnTo>
                  <a:pt x="828" y="1446"/>
                </a:lnTo>
                <a:lnTo>
                  <a:pt x="782" y="1445"/>
                </a:lnTo>
                <a:lnTo>
                  <a:pt x="736" y="1445"/>
                </a:lnTo>
                <a:lnTo>
                  <a:pt x="689" y="1444"/>
                </a:lnTo>
                <a:lnTo>
                  <a:pt x="643" y="1443"/>
                </a:lnTo>
                <a:lnTo>
                  <a:pt x="597" y="1443"/>
                </a:lnTo>
                <a:lnTo>
                  <a:pt x="551" y="1442"/>
                </a:lnTo>
                <a:lnTo>
                  <a:pt x="506" y="1441"/>
                </a:lnTo>
                <a:lnTo>
                  <a:pt x="461" y="1440"/>
                </a:lnTo>
                <a:lnTo>
                  <a:pt x="418" y="1439"/>
                </a:lnTo>
                <a:lnTo>
                  <a:pt x="375" y="1439"/>
                </a:lnTo>
                <a:lnTo>
                  <a:pt x="335" y="1438"/>
                </a:lnTo>
                <a:lnTo>
                  <a:pt x="296" y="1437"/>
                </a:lnTo>
                <a:lnTo>
                  <a:pt x="259" y="1436"/>
                </a:lnTo>
                <a:lnTo>
                  <a:pt x="224" y="1435"/>
                </a:lnTo>
                <a:lnTo>
                  <a:pt x="192" y="1434"/>
                </a:lnTo>
                <a:lnTo>
                  <a:pt x="181" y="1416"/>
                </a:lnTo>
                <a:lnTo>
                  <a:pt x="177" y="1398"/>
                </a:lnTo>
                <a:lnTo>
                  <a:pt x="179" y="1381"/>
                </a:lnTo>
                <a:lnTo>
                  <a:pt x="184" y="1364"/>
                </a:lnTo>
                <a:lnTo>
                  <a:pt x="192" y="1350"/>
                </a:lnTo>
                <a:lnTo>
                  <a:pt x="199" y="1339"/>
                </a:lnTo>
                <a:lnTo>
                  <a:pt x="205" y="1332"/>
                </a:lnTo>
                <a:lnTo>
                  <a:pt x="207" y="1329"/>
                </a:lnTo>
                <a:lnTo>
                  <a:pt x="210" y="1329"/>
                </a:lnTo>
                <a:lnTo>
                  <a:pt x="216" y="1329"/>
                </a:lnTo>
                <a:lnTo>
                  <a:pt x="225" y="1330"/>
                </a:lnTo>
                <a:lnTo>
                  <a:pt x="237" y="1331"/>
                </a:lnTo>
                <a:lnTo>
                  <a:pt x="253" y="1331"/>
                </a:lnTo>
                <a:lnTo>
                  <a:pt x="270" y="1332"/>
                </a:lnTo>
                <a:lnTo>
                  <a:pt x="290" y="1333"/>
                </a:lnTo>
                <a:lnTo>
                  <a:pt x="313" y="1334"/>
                </a:lnTo>
                <a:lnTo>
                  <a:pt x="338" y="1336"/>
                </a:lnTo>
                <a:lnTo>
                  <a:pt x="365" y="1337"/>
                </a:lnTo>
                <a:lnTo>
                  <a:pt x="393" y="1338"/>
                </a:lnTo>
                <a:lnTo>
                  <a:pt x="423" y="1339"/>
                </a:lnTo>
                <a:lnTo>
                  <a:pt x="455" y="1341"/>
                </a:lnTo>
                <a:lnTo>
                  <a:pt x="488" y="1342"/>
                </a:lnTo>
                <a:lnTo>
                  <a:pt x="523" y="1344"/>
                </a:lnTo>
                <a:lnTo>
                  <a:pt x="558" y="1346"/>
                </a:lnTo>
                <a:lnTo>
                  <a:pt x="595" y="1348"/>
                </a:lnTo>
                <a:lnTo>
                  <a:pt x="632" y="1349"/>
                </a:lnTo>
                <a:lnTo>
                  <a:pt x="669" y="1351"/>
                </a:lnTo>
                <a:lnTo>
                  <a:pt x="707" y="1352"/>
                </a:lnTo>
                <a:lnTo>
                  <a:pt x="746" y="1354"/>
                </a:lnTo>
                <a:lnTo>
                  <a:pt x="784" y="1356"/>
                </a:lnTo>
                <a:lnTo>
                  <a:pt x="822" y="1357"/>
                </a:lnTo>
                <a:lnTo>
                  <a:pt x="861" y="1358"/>
                </a:lnTo>
                <a:lnTo>
                  <a:pt x="899" y="1359"/>
                </a:lnTo>
                <a:lnTo>
                  <a:pt x="936" y="1361"/>
                </a:lnTo>
                <a:lnTo>
                  <a:pt x="972" y="1362"/>
                </a:lnTo>
                <a:lnTo>
                  <a:pt x="1007" y="1362"/>
                </a:lnTo>
                <a:lnTo>
                  <a:pt x="1042" y="1363"/>
                </a:lnTo>
                <a:lnTo>
                  <a:pt x="1075" y="1364"/>
                </a:lnTo>
                <a:lnTo>
                  <a:pt x="1108" y="1365"/>
                </a:lnTo>
                <a:lnTo>
                  <a:pt x="1138" y="1365"/>
                </a:lnTo>
                <a:lnTo>
                  <a:pt x="1138" y="1302"/>
                </a:lnTo>
                <a:lnTo>
                  <a:pt x="1113" y="1300"/>
                </a:lnTo>
                <a:lnTo>
                  <a:pt x="1088" y="1298"/>
                </a:lnTo>
                <a:lnTo>
                  <a:pt x="1064" y="1296"/>
                </a:lnTo>
                <a:lnTo>
                  <a:pt x="1039" y="1294"/>
                </a:lnTo>
                <a:lnTo>
                  <a:pt x="1014" y="1292"/>
                </a:lnTo>
                <a:lnTo>
                  <a:pt x="990" y="1291"/>
                </a:lnTo>
                <a:lnTo>
                  <a:pt x="965" y="1289"/>
                </a:lnTo>
                <a:lnTo>
                  <a:pt x="940" y="1289"/>
                </a:lnTo>
                <a:lnTo>
                  <a:pt x="915" y="1287"/>
                </a:lnTo>
                <a:lnTo>
                  <a:pt x="891" y="1286"/>
                </a:lnTo>
                <a:lnTo>
                  <a:pt x="866" y="1286"/>
                </a:lnTo>
                <a:lnTo>
                  <a:pt x="841" y="1284"/>
                </a:lnTo>
                <a:lnTo>
                  <a:pt x="817" y="1283"/>
                </a:lnTo>
                <a:lnTo>
                  <a:pt x="791" y="1283"/>
                </a:lnTo>
                <a:lnTo>
                  <a:pt x="767" y="1282"/>
                </a:lnTo>
                <a:lnTo>
                  <a:pt x="742" y="1282"/>
                </a:lnTo>
                <a:lnTo>
                  <a:pt x="717" y="1281"/>
                </a:lnTo>
                <a:lnTo>
                  <a:pt x="692" y="1281"/>
                </a:lnTo>
                <a:lnTo>
                  <a:pt x="668" y="1280"/>
                </a:lnTo>
                <a:lnTo>
                  <a:pt x="642" y="1280"/>
                </a:lnTo>
                <a:lnTo>
                  <a:pt x="618" y="1279"/>
                </a:lnTo>
                <a:lnTo>
                  <a:pt x="593" y="1279"/>
                </a:lnTo>
                <a:lnTo>
                  <a:pt x="568" y="1279"/>
                </a:lnTo>
                <a:lnTo>
                  <a:pt x="544" y="1279"/>
                </a:lnTo>
                <a:lnTo>
                  <a:pt x="518" y="1278"/>
                </a:lnTo>
                <a:lnTo>
                  <a:pt x="493" y="1277"/>
                </a:lnTo>
                <a:lnTo>
                  <a:pt x="469" y="1277"/>
                </a:lnTo>
                <a:lnTo>
                  <a:pt x="444" y="1276"/>
                </a:lnTo>
                <a:lnTo>
                  <a:pt x="419" y="1275"/>
                </a:lnTo>
                <a:lnTo>
                  <a:pt x="394" y="1275"/>
                </a:lnTo>
                <a:lnTo>
                  <a:pt x="369" y="1274"/>
                </a:lnTo>
                <a:lnTo>
                  <a:pt x="344" y="1273"/>
                </a:lnTo>
                <a:lnTo>
                  <a:pt x="328" y="1178"/>
                </a:lnTo>
                <a:lnTo>
                  <a:pt x="312" y="1083"/>
                </a:lnTo>
                <a:lnTo>
                  <a:pt x="297" y="988"/>
                </a:lnTo>
                <a:lnTo>
                  <a:pt x="280" y="892"/>
                </a:lnTo>
                <a:lnTo>
                  <a:pt x="265" y="797"/>
                </a:lnTo>
                <a:lnTo>
                  <a:pt x="250" y="702"/>
                </a:lnTo>
                <a:lnTo>
                  <a:pt x="236" y="606"/>
                </a:lnTo>
                <a:lnTo>
                  <a:pt x="222" y="511"/>
                </a:lnTo>
                <a:lnTo>
                  <a:pt x="247" y="525"/>
                </a:lnTo>
                <a:lnTo>
                  <a:pt x="271" y="541"/>
                </a:lnTo>
                <a:lnTo>
                  <a:pt x="295" y="559"/>
                </a:lnTo>
                <a:lnTo>
                  <a:pt x="318" y="579"/>
                </a:lnTo>
                <a:lnTo>
                  <a:pt x="341" y="600"/>
                </a:lnTo>
                <a:lnTo>
                  <a:pt x="364" y="623"/>
                </a:lnTo>
                <a:lnTo>
                  <a:pt x="386" y="646"/>
                </a:lnTo>
                <a:lnTo>
                  <a:pt x="408" y="670"/>
                </a:lnTo>
                <a:lnTo>
                  <a:pt x="429" y="694"/>
                </a:lnTo>
                <a:lnTo>
                  <a:pt x="451" y="719"/>
                </a:lnTo>
                <a:lnTo>
                  <a:pt x="472" y="743"/>
                </a:lnTo>
                <a:lnTo>
                  <a:pt x="493" y="767"/>
                </a:lnTo>
                <a:lnTo>
                  <a:pt x="514" y="790"/>
                </a:lnTo>
                <a:lnTo>
                  <a:pt x="536" y="811"/>
                </a:lnTo>
                <a:lnTo>
                  <a:pt x="557" y="832"/>
                </a:lnTo>
                <a:lnTo>
                  <a:pt x="578" y="851"/>
                </a:lnTo>
                <a:lnTo>
                  <a:pt x="581" y="846"/>
                </a:lnTo>
                <a:lnTo>
                  <a:pt x="589" y="828"/>
                </a:lnTo>
                <a:lnTo>
                  <a:pt x="602" y="800"/>
                </a:lnTo>
                <a:lnTo>
                  <a:pt x="618" y="763"/>
                </a:lnTo>
                <a:lnTo>
                  <a:pt x="638" y="718"/>
                </a:lnTo>
                <a:lnTo>
                  <a:pt x="660" y="669"/>
                </a:lnTo>
                <a:lnTo>
                  <a:pt x="683" y="615"/>
                </a:lnTo>
                <a:lnTo>
                  <a:pt x="707" y="560"/>
                </a:lnTo>
                <a:lnTo>
                  <a:pt x="731" y="505"/>
                </a:lnTo>
                <a:lnTo>
                  <a:pt x="755" y="451"/>
                </a:lnTo>
                <a:lnTo>
                  <a:pt x="777" y="401"/>
                </a:lnTo>
                <a:lnTo>
                  <a:pt x="797" y="355"/>
                </a:lnTo>
                <a:lnTo>
                  <a:pt x="813" y="318"/>
                </a:lnTo>
                <a:lnTo>
                  <a:pt x="826" y="288"/>
                </a:lnTo>
                <a:lnTo>
                  <a:pt x="834" y="269"/>
                </a:lnTo>
                <a:lnTo>
                  <a:pt x="837" y="262"/>
                </a:lnTo>
                <a:lnTo>
                  <a:pt x="842" y="304"/>
                </a:lnTo>
                <a:lnTo>
                  <a:pt x="850" y="348"/>
                </a:lnTo>
                <a:lnTo>
                  <a:pt x="859" y="394"/>
                </a:lnTo>
                <a:lnTo>
                  <a:pt x="870" y="441"/>
                </a:lnTo>
                <a:lnTo>
                  <a:pt x="882" y="489"/>
                </a:lnTo>
                <a:lnTo>
                  <a:pt x="895" y="537"/>
                </a:lnTo>
                <a:lnTo>
                  <a:pt x="909" y="584"/>
                </a:lnTo>
                <a:lnTo>
                  <a:pt x="922" y="629"/>
                </a:lnTo>
                <a:lnTo>
                  <a:pt x="936" y="672"/>
                </a:lnTo>
                <a:lnTo>
                  <a:pt x="949" y="711"/>
                </a:lnTo>
                <a:lnTo>
                  <a:pt x="961" y="747"/>
                </a:lnTo>
                <a:lnTo>
                  <a:pt x="972" y="778"/>
                </a:lnTo>
                <a:lnTo>
                  <a:pt x="981" y="804"/>
                </a:lnTo>
                <a:lnTo>
                  <a:pt x="989" y="822"/>
                </a:lnTo>
                <a:lnTo>
                  <a:pt x="993" y="834"/>
                </a:lnTo>
                <a:lnTo>
                  <a:pt x="996" y="839"/>
                </a:lnTo>
                <a:lnTo>
                  <a:pt x="998" y="840"/>
                </a:lnTo>
                <a:lnTo>
                  <a:pt x="1000" y="840"/>
                </a:lnTo>
                <a:lnTo>
                  <a:pt x="1002" y="840"/>
                </a:lnTo>
                <a:lnTo>
                  <a:pt x="1003" y="839"/>
                </a:lnTo>
                <a:lnTo>
                  <a:pt x="1007" y="838"/>
                </a:lnTo>
                <a:lnTo>
                  <a:pt x="1016" y="831"/>
                </a:lnTo>
                <a:lnTo>
                  <a:pt x="1027" y="819"/>
                </a:lnTo>
                <a:lnTo>
                  <a:pt x="1041" y="802"/>
                </a:lnTo>
                <a:lnTo>
                  <a:pt x="1058" y="781"/>
                </a:lnTo>
                <a:lnTo>
                  <a:pt x="1078" y="757"/>
                </a:lnTo>
                <a:lnTo>
                  <a:pt x="1099" y="730"/>
                </a:lnTo>
                <a:lnTo>
                  <a:pt x="1122" y="702"/>
                </a:lnTo>
                <a:lnTo>
                  <a:pt x="1145" y="673"/>
                </a:lnTo>
                <a:lnTo>
                  <a:pt x="1170" y="643"/>
                </a:lnTo>
                <a:lnTo>
                  <a:pt x="1195" y="613"/>
                </a:lnTo>
                <a:lnTo>
                  <a:pt x="1220" y="586"/>
                </a:lnTo>
                <a:lnTo>
                  <a:pt x="1243" y="559"/>
                </a:lnTo>
                <a:lnTo>
                  <a:pt x="1267" y="536"/>
                </a:lnTo>
                <a:lnTo>
                  <a:pt x="1289" y="516"/>
                </a:lnTo>
                <a:lnTo>
                  <a:pt x="1309" y="501"/>
                </a:lnTo>
                <a:lnTo>
                  <a:pt x="1297" y="589"/>
                </a:lnTo>
                <a:lnTo>
                  <a:pt x="1284" y="677"/>
                </a:lnTo>
                <a:lnTo>
                  <a:pt x="1270" y="765"/>
                </a:lnTo>
                <a:lnTo>
                  <a:pt x="1258" y="854"/>
                </a:lnTo>
                <a:lnTo>
                  <a:pt x="1246" y="944"/>
                </a:lnTo>
                <a:lnTo>
                  <a:pt x="1235" y="1033"/>
                </a:lnTo>
                <a:lnTo>
                  <a:pt x="1225" y="1122"/>
                </a:lnTo>
                <a:lnTo>
                  <a:pt x="1217" y="1209"/>
                </a:lnTo>
                <a:lnTo>
                  <a:pt x="1297" y="1209"/>
                </a:lnTo>
                <a:lnTo>
                  <a:pt x="1297" y="1204"/>
                </a:lnTo>
                <a:lnTo>
                  <a:pt x="1297" y="1195"/>
                </a:lnTo>
                <a:lnTo>
                  <a:pt x="1297" y="1188"/>
                </a:lnTo>
                <a:lnTo>
                  <a:pt x="1298" y="1182"/>
                </a:lnTo>
                <a:lnTo>
                  <a:pt x="1301" y="1118"/>
                </a:lnTo>
                <a:lnTo>
                  <a:pt x="1301" y="1055"/>
                </a:lnTo>
                <a:lnTo>
                  <a:pt x="1302" y="992"/>
                </a:lnTo>
                <a:lnTo>
                  <a:pt x="1307" y="929"/>
                </a:lnTo>
                <a:lnTo>
                  <a:pt x="1315" y="872"/>
                </a:lnTo>
                <a:lnTo>
                  <a:pt x="1325" y="815"/>
                </a:lnTo>
                <a:lnTo>
                  <a:pt x="1336" y="758"/>
                </a:lnTo>
                <a:lnTo>
                  <a:pt x="1347" y="700"/>
                </a:lnTo>
                <a:lnTo>
                  <a:pt x="1358" y="643"/>
                </a:lnTo>
                <a:lnTo>
                  <a:pt x="1367" y="586"/>
                </a:lnTo>
                <a:lnTo>
                  <a:pt x="1375" y="529"/>
                </a:lnTo>
                <a:lnTo>
                  <a:pt x="1381" y="472"/>
                </a:lnTo>
                <a:lnTo>
                  <a:pt x="1381" y="470"/>
                </a:lnTo>
                <a:lnTo>
                  <a:pt x="1391" y="472"/>
                </a:lnTo>
                <a:lnTo>
                  <a:pt x="1402" y="472"/>
                </a:lnTo>
                <a:lnTo>
                  <a:pt x="1412" y="472"/>
                </a:lnTo>
                <a:lnTo>
                  <a:pt x="1423" y="470"/>
                </a:lnTo>
                <a:lnTo>
                  <a:pt x="1434" y="467"/>
                </a:lnTo>
                <a:lnTo>
                  <a:pt x="1444" y="463"/>
                </a:lnTo>
                <a:lnTo>
                  <a:pt x="1454" y="459"/>
                </a:lnTo>
                <a:lnTo>
                  <a:pt x="1463" y="454"/>
                </a:lnTo>
                <a:lnTo>
                  <a:pt x="1483" y="439"/>
                </a:lnTo>
                <a:lnTo>
                  <a:pt x="1499" y="422"/>
                </a:lnTo>
                <a:lnTo>
                  <a:pt x="1511" y="402"/>
                </a:lnTo>
                <a:lnTo>
                  <a:pt x="1520" y="380"/>
                </a:lnTo>
                <a:lnTo>
                  <a:pt x="1524" y="357"/>
                </a:lnTo>
                <a:lnTo>
                  <a:pt x="1525" y="333"/>
                </a:lnTo>
                <a:lnTo>
                  <a:pt x="1520" y="310"/>
                </a:lnTo>
                <a:lnTo>
                  <a:pt x="1512" y="288"/>
                </a:lnTo>
                <a:close/>
              </a:path>
            </a:pathLst>
          </a:custGeom>
          <a:solidFill>
            <a:srgbClr val="0070C0"/>
          </a:solidFill>
          <a:ln w="9525">
            <a:solidFill>
              <a:schemeClr val="tx2"/>
            </a:solidFill>
            <a:round/>
            <a:headEnd/>
            <a:tailEnd/>
          </a:ln>
        </p:spPr>
        <p:txBody>
          <a:bodyPr lIns="112792" tIns="56396" rIns="112792" bIns="56396"/>
          <a:lstStyle/>
          <a:p>
            <a:endParaRPr lang="en-GB"/>
          </a:p>
        </p:txBody>
      </p:sp>
      <p:sp>
        <p:nvSpPr>
          <p:cNvPr id="10" name="Freeform 112"/>
          <p:cNvSpPr>
            <a:spLocks noEditPoints="1"/>
          </p:cNvSpPr>
          <p:nvPr/>
        </p:nvSpPr>
        <p:spPr bwMode="auto">
          <a:xfrm>
            <a:off x="360218" y="3663127"/>
            <a:ext cx="668575" cy="668575"/>
          </a:xfrm>
          <a:custGeom>
            <a:avLst/>
            <a:gdLst>
              <a:gd name="T0" fmla="*/ 49 w 110"/>
              <a:gd name="T1" fmla="*/ 0 h 110"/>
              <a:gd name="T2" fmla="*/ 90 w 110"/>
              <a:gd name="T3" fmla="*/ 12 h 110"/>
              <a:gd name="T4" fmla="*/ 108 w 110"/>
              <a:gd name="T5" fmla="*/ 38 h 110"/>
              <a:gd name="T6" fmla="*/ 104 w 110"/>
              <a:gd name="T7" fmla="*/ 80 h 110"/>
              <a:gd name="T8" fmla="*/ 71 w 110"/>
              <a:gd name="T9" fmla="*/ 108 h 110"/>
              <a:gd name="T10" fmla="*/ 49 w 110"/>
              <a:gd name="T11" fmla="*/ 110 h 110"/>
              <a:gd name="T12" fmla="*/ 12 w 110"/>
              <a:gd name="T13" fmla="*/ 91 h 110"/>
              <a:gd name="T14" fmla="*/ 3 w 110"/>
              <a:gd name="T15" fmla="*/ 71 h 110"/>
              <a:gd name="T16" fmla="*/ 6 w 110"/>
              <a:gd name="T17" fmla="*/ 29 h 110"/>
              <a:gd name="T18" fmla="*/ 39 w 110"/>
              <a:gd name="T19" fmla="*/ 3 h 110"/>
              <a:gd name="T20" fmla="*/ 88 w 110"/>
              <a:gd name="T21" fmla="*/ 48 h 110"/>
              <a:gd name="T22" fmla="*/ 80 w 110"/>
              <a:gd name="T23" fmla="*/ 41 h 110"/>
              <a:gd name="T24" fmla="*/ 79 w 110"/>
              <a:gd name="T25" fmla="*/ 24 h 110"/>
              <a:gd name="T26" fmla="*/ 82 w 110"/>
              <a:gd name="T27" fmla="*/ 21 h 110"/>
              <a:gd name="T28" fmla="*/ 74 w 110"/>
              <a:gd name="T29" fmla="*/ 26 h 110"/>
              <a:gd name="T30" fmla="*/ 68 w 110"/>
              <a:gd name="T31" fmla="*/ 28 h 110"/>
              <a:gd name="T32" fmla="*/ 60 w 110"/>
              <a:gd name="T33" fmla="*/ 15 h 110"/>
              <a:gd name="T34" fmla="*/ 53 w 110"/>
              <a:gd name="T35" fmla="*/ 11 h 110"/>
              <a:gd name="T36" fmla="*/ 46 w 110"/>
              <a:gd name="T37" fmla="*/ 20 h 110"/>
              <a:gd name="T38" fmla="*/ 37 w 110"/>
              <a:gd name="T39" fmla="*/ 17 h 110"/>
              <a:gd name="T40" fmla="*/ 28 w 110"/>
              <a:gd name="T41" fmla="*/ 28 h 110"/>
              <a:gd name="T42" fmla="*/ 28 w 110"/>
              <a:gd name="T43" fmla="*/ 34 h 110"/>
              <a:gd name="T44" fmla="*/ 39 w 110"/>
              <a:gd name="T45" fmla="*/ 32 h 110"/>
              <a:gd name="T46" fmla="*/ 36 w 110"/>
              <a:gd name="T47" fmla="*/ 35 h 110"/>
              <a:gd name="T48" fmla="*/ 32 w 110"/>
              <a:gd name="T49" fmla="*/ 40 h 110"/>
              <a:gd name="T50" fmla="*/ 29 w 110"/>
              <a:gd name="T51" fmla="*/ 49 h 110"/>
              <a:gd name="T52" fmla="*/ 29 w 110"/>
              <a:gd name="T53" fmla="*/ 54 h 110"/>
              <a:gd name="T54" fmla="*/ 20 w 110"/>
              <a:gd name="T55" fmla="*/ 57 h 110"/>
              <a:gd name="T56" fmla="*/ 25 w 110"/>
              <a:gd name="T57" fmla="*/ 62 h 110"/>
              <a:gd name="T58" fmla="*/ 37 w 110"/>
              <a:gd name="T59" fmla="*/ 69 h 110"/>
              <a:gd name="T60" fmla="*/ 40 w 110"/>
              <a:gd name="T61" fmla="*/ 66 h 110"/>
              <a:gd name="T62" fmla="*/ 46 w 110"/>
              <a:gd name="T63" fmla="*/ 65 h 110"/>
              <a:gd name="T64" fmla="*/ 57 w 110"/>
              <a:gd name="T65" fmla="*/ 65 h 110"/>
              <a:gd name="T66" fmla="*/ 60 w 110"/>
              <a:gd name="T67" fmla="*/ 66 h 110"/>
              <a:gd name="T68" fmla="*/ 68 w 110"/>
              <a:gd name="T69" fmla="*/ 68 h 110"/>
              <a:gd name="T70" fmla="*/ 74 w 110"/>
              <a:gd name="T71" fmla="*/ 71 h 110"/>
              <a:gd name="T72" fmla="*/ 74 w 110"/>
              <a:gd name="T73" fmla="*/ 76 h 110"/>
              <a:gd name="T74" fmla="*/ 73 w 110"/>
              <a:gd name="T75" fmla="*/ 80 h 110"/>
              <a:gd name="T76" fmla="*/ 70 w 110"/>
              <a:gd name="T77" fmla="*/ 85 h 110"/>
              <a:gd name="T78" fmla="*/ 70 w 110"/>
              <a:gd name="T79" fmla="*/ 88 h 110"/>
              <a:gd name="T80" fmla="*/ 65 w 110"/>
              <a:gd name="T81" fmla="*/ 94 h 110"/>
              <a:gd name="T82" fmla="*/ 62 w 110"/>
              <a:gd name="T83" fmla="*/ 97 h 110"/>
              <a:gd name="T84" fmla="*/ 68 w 110"/>
              <a:gd name="T85" fmla="*/ 97 h 110"/>
              <a:gd name="T86" fmla="*/ 94 w 110"/>
              <a:gd name="T87" fmla="*/ 76 h 110"/>
              <a:gd name="T88" fmla="*/ 54 w 110"/>
              <a:gd name="T89" fmla="*/ 99 h 110"/>
              <a:gd name="T90" fmla="*/ 53 w 110"/>
              <a:gd name="T91" fmla="*/ 93 h 110"/>
              <a:gd name="T92" fmla="*/ 43 w 110"/>
              <a:gd name="T93" fmla="*/ 86 h 110"/>
              <a:gd name="T94" fmla="*/ 39 w 110"/>
              <a:gd name="T95" fmla="*/ 82 h 110"/>
              <a:gd name="T96" fmla="*/ 36 w 110"/>
              <a:gd name="T97" fmla="*/ 77 h 110"/>
              <a:gd name="T98" fmla="*/ 37 w 110"/>
              <a:gd name="T99" fmla="*/ 71 h 110"/>
              <a:gd name="T100" fmla="*/ 23 w 110"/>
              <a:gd name="T101" fmla="*/ 65 h 110"/>
              <a:gd name="T102" fmla="*/ 15 w 110"/>
              <a:gd name="T103" fmla="*/ 62 h 110"/>
              <a:gd name="T104" fmla="*/ 12 w 110"/>
              <a:gd name="T105" fmla="*/ 68 h 110"/>
              <a:gd name="T106" fmla="*/ 34 w 110"/>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110">
                <a:moveTo>
                  <a:pt x="39" y="3"/>
                </a:moveTo>
                <a:lnTo>
                  <a:pt x="39" y="3"/>
                </a:lnTo>
                <a:lnTo>
                  <a:pt x="39" y="1"/>
                </a:lnTo>
                <a:lnTo>
                  <a:pt x="39" y="1"/>
                </a:lnTo>
                <a:lnTo>
                  <a:pt x="49" y="0"/>
                </a:lnTo>
                <a:lnTo>
                  <a:pt x="60" y="0"/>
                </a:lnTo>
                <a:lnTo>
                  <a:pt x="71" y="1"/>
                </a:lnTo>
                <a:lnTo>
                  <a:pt x="80" y="6"/>
                </a:lnTo>
                <a:lnTo>
                  <a:pt x="80" y="6"/>
                </a:lnTo>
                <a:lnTo>
                  <a:pt x="90" y="12"/>
                </a:lnTo>
                <a:lnTo>
                  <a:pt x="97" y="20"/>
                </a:lnTo>
                <a:lnTo>
                  <a:pt x="104" y="28"/>
                </a:lnTo>
                <a:lnTo>
                  <a:pt x="108" y="38"/>
                </a:lnTo>
                <a:lnTo>
                  <a:pt x="108" y="38"/>
                </a:lnTo>
                <a:lnTo>
                  <a:pt x="108" y="38"/>
                </a:lnTo>
                <a:lnTo>
                  <a:pt x="108" y="38"/>
                </a:lnTo>
                <a:lnTo>
                  <a:pt x="110" y="49"/>
                </a:lnTo>
                <a:lnTo>
                  <a:pt x="110" y="60"/>
                </a:lnTo>
                <a:lnTo>
                  <a:pt x="108" y="71"/>
                </a:lnTo>
                <a:lnTo>
                  <a:pt x="104" y="80"/>
                </a:lnTo>
                <a:lnTo>
                  <a:pt x="104" y="80"/>
                </a:lnTo>
                <a:lnTo>
                  <a:pt x="99" y="89"/>
                </a:lnTo>
                <a:lnTo>
                  <a:pt x="91" y="97"/>
                </a:lnTo>
                <a:lnTo>
                  <a:pt x="82" y="103"/>
                </a:lnTo>
                <a:lnTo>
                  <a:pt x="71" y="108"/>
                </a:lnTo>
                <a:lnTo>
                  <a:pt x="71" y="108"/>
                </a:lnTo>
                <a:lnTo>
                  <a:pt x="71" y="108"/>
                </a:lnTo>
                <a:lnTo>
                  <a:pt x="71" y="108"/>
                </a:lnTo>
                <a:lnTo>
                  <a:pt x="60" y="110"/>
                </a:lnTo>
                <a:lnTo>
                  <a:pt x="49" y="110"/>
                </a:lnTo>
                <a:lnTo>
                  <a:pt x="39" y="108"/>
                </a:lnTo>
                <a:lnTo>
                  <a:pt x="29" y="103"/>
                </a:lnTo>
                <a:lnTo>
                  <a:pt x="29" y="103"/>
                </a:lnTo>
                <a:lnTo>
                  <a:pt x="20" y="97"/>
                </a:lnTo>
                <a:lnTo>
                  <a:pt x="12" y="91"/>
                </a:lnTo>
                <a:lnTo>
                  <a:pt x="6" y="82"/>
                </a:lnTo>
                <a:lnTo>
                  <a:pt x="3" y="71"/>
                </a:lnTo>
                <a:lnTo>
                  <a:pt x="3" y="71"/>
                </a:lnTo>
                <a:lnTo>
                  <a:pt x="3" y="71"/>
                </a:lnTo>
                <a:lnTo>
                  <a:pt x="3" y="71"/>
                </a:lnTo>
                <a:lnTo>
                  <a:pt x="0" y="60"/>
                </a:lnTo>
                <a:lnTo>
                  <a:pt x="0" y="49"/>
                </a:lnTo>
                <a:lnTo>
                  <a:pt x="3" y="38"/>
                </a:lnTo>
                <a:lnTo>
                  <a:pt x="6" y="29"/>
                </a:lnTo>
                <a:lnTo>
                  <a:pt x="6" y="29"/>
                </a:lnTo>
                <a:lnTo>
                  <a:pt x="12" y="20"/>
                </a:lnTo>
                <a:lnTo>
                  <a:pt x="20" y="12"/>
                </a:lnTo>
                <a:lnTo>
                  <a:pt x="28" y="6"/>
                </a:lnTo>
                <a:lnTo>
                  <a:pt x="39" y="3"/>
                </a:lnTo>
                <a:lnTo>
                  <a:pt x="39" y="3"/>
                </a:lnTo>
                <a:close/>
                <a:moveTo>
                  <a:pt x="99" y="63"/>
                </a:moveTo>
                <a:lnTo>
                  <a:pt x="96" y="55"/>
                </a:lnTo>
                <a:lnTo>
                  <a:pt x="94" y="49"/>
                </a:lnTo>
                <a:lnTo>
                  <a:pt x="93" y="46"/>
                </a:lnTo>
                <a:lnTo>
                  <a:pt x="88" y="48"/>
                </a:lnTo>
                <a:lnTo>
                  <a:pt x="84" y="48"/>
                </a:lnTo>
                <a:lnTo>
                  <a:pt x="84" y="48"/>
                </a:lnTo>
                <a:lnTo>
                  <a:pt x="82" y="43"/>
                </a:lnTo>
                <a:lnTo>
                  <a:pt x="82" y="43"/>
                </a:lnTo>
                <a:lnTo>
                  <a:pt x="80" y="41"/>
                </a:lnTo>
                <a:lnTo>
                  <a:pt x="77" y="38"/>
                </a:lnTo>
                <a:lnTo>
                  <a:pt x="77" y="35"/>
                </a:lnTo>
                <a:lnTo>
                  <a:pt x="77" y="28"/>
                </a:lnTo>
                <a:lnTo>
                  <a:pt x="79" y="24"/>
                </a:lnTo>
                <a:lnTo>
                  <a:pt x="79" y="24"/>
                </a:lnTo>
                <a:lnTo>
                  <a:pt x="80" y="24"/>
                </a:lnTo>
                <a:lnTo>
                  <a:pt x="80" y="24"/>
                </a:lnTo>
                <a:lnTo>
                  <a:pt x="82" y="23"/>
                </a:lnTo>
                <a:lnTo>
                  <a:pt x="82" y="21"/>
                </a:lnTo>
                <a:lnTo>
                  <a:pt x="82" y="21"/>
                </a:lnTo>
                <a:lnTo>
                  <a:pt x="79" y="21"/>
                </a:lnTo>
                <a:lnTo>
                  <a:pt x="79" y="21"/>
                </a:lnTo>
                <a:lnTo>
                  <a:pt x="74" y="23"/>
                </a:lnTo>
                <a:lnTo>
                  <a:pt x="74" y="23"/>
                </a:lnTo>
                <a:lnTo>
                  <a:pt x="74" y="26"/>
                </a:lnTo>
                <a:lnTo>
                  <a:pt x="76" y="26"/>
                </a:lnTo>
                <a:lnTo>
                  <a:pt x="74" y="31"/>
                </a:lnTo>
                <a:lnTo>
                  <a:pt x="71" y="31"/>
                </a:lnTo>
                <a:lnTo>
                  <a:pt x="71" y="29"/>
                </a:lnTo>
                <a:lnTo>
                  <a:pt x="68" y="28"/>
                </a:lnTo>
                <a:lnTo>
                  <a:pt x="68" y="24"/>
                </a:lnTo>
                <a:lnTo>
                  <a:pt x="68" y="20"/>
                </a:lnTo>
                <a:lnTo>
                  <a:pt x="66" y="17"/>
                </a:lnTo>
                <a:lnTo>
                  <a:pt x="66" y="14"/>
                </a:lnTo>
                <a:lnTo>
                  <a:pt x="60" y="15"/>
                </a:lnTo>
                <a:lnTo>
                  <a:pt x="57" y="14"/>
                </a:lnTo>
                <a:lnTo>
                  <a:pt x="59" y="12"/>
                </a:lnTo>
                <a:lnTo>
                  <a:pt x="60" y="11"/>
                </a:lnTo>
                <a:lnTo>
                  <a:pt x="60" y="11"/>
                </a:lnTo>
                <a:lnTo>
                  <a:pt x="53" y="11"/>
                </a:lnTo>
                <a:lnTo>
                  <a:pt x="45" y="12"/>
                </a:lnTo>
                <a:lnTo>
                  <a:pt x="46" y="14"/>
                </a:lnTo>
                <a:lnTo>
                  <a:pt x="46" y="14"/>
                </a:lnTo>
                <a:lnTo>
                  <a:pt x="46" y="20"/>
                </a:lnTo>
                <a:lnTo>
                  <a:pt x="46" y="20"/>
                </a:lnTo>
                <a:lnTo>
                  <a:pt x="45" y="21"/>
                </a:lnTo>
                <a:lnTo>
                  <a:pt x="43" y="21"/>
                </a:lnTo>
                <a:lnTo>
                  <a:pt x="40" y="21"/>
                </a:lnTo>
                <a:lnTo>
                  <a:pt x="39" y="17"/>
                </a:lnTo>
                <a:lnTo>
                  <a:pt x="37" y="17"/>
                </a:lnTo>
                <a:lnTo>
                  <a:pt x="36" y="18"/>
                </a:lnTo>
                <a:lnTo>
                  <a:pt x="34" y="24"/>
                </a:lnTo>
                <a:lnTo>
                  <a:pt x="34" y="28"/>
                </a:lnTo>
                <a:lnTo>
                  <a:pt x="31" y="28"/>
                </a:lnTo>
                <a:lnTo>
                  <a:pt x="28" y="28"/>
                </a:lnTo>
                <a:lnTo>
                  <a:pt x="25" y="29"/>
                </a:lnTo>
                <a:lnTo>
                  <a:pt x="23" y="31"/>
                </a:lnTo>
                <a:lnTo>
                  <a:pt x="25" y="34"/>
                </a:lnTo>
                <a:lnTo>
                  <a:pt x="26" y="35"/>
                </a:lnTo>
                <a:lnTo>
                  <a:pt x="28" y="34"/>
                </a:lnTo>
                <a:lnTo>
                  <a:pt x="28" y="31"/>
                </a:lnTo>
                <a:lnTo>
                  <a:pt x="31" y="29"/>
                </a:lnTo>
                <a:lnTo>
                  <a:pt x="34" y="29"/>
                </a:lnTo>
                <a:lnTo>
                  <a:pt x="36" y="31"/>
                </a:lnTo>
                <a:lnTo>
                  <a:pt x="39" y="32"/>
                </a:lnTo>
                <a:lnTo>
                  <a:pt x="39" y="32"/>
                </a:lnTo>
                <a:lnTo>
                  <a:pt x="40" y="34"/>
                </a:lnTo>
                <a:lnTo>
                  <a:pt x="40" y="35"/>
                </a:lnTo>
                <a:lnTo>
                  <a:pt x="39" y="35"/>
                </a:lnTo>
                <a:lnTo>
                  <a:pt x="36" y="35"/>
                </a:lnTo>
                <a:lnTo>
                  <a:pt x="36" y="35"/>
                </a:lnTo>
                <a:lnTo>
                  <a:pt x="36" y="37"/>
                </a:lnTo>
                <a:lnTo>
                  <a:pt x="37" y="38"/>
                </a:lnTo>
                <a:lnTo>
                  <a:pt x="36" y="40"/>
                </a:lnTo>
                <a:lnTo>
                  <a:pt x="32" y="40"/>
                </a:lnTo>
                <a:lnTo>
                  <a:pt x="31" y="45"/>
                </a:lnTo>
                <a:lnTo>
                  <a:pt x="32" y="45"/>
                </a:lnTo>
                <a:lnTo>
                  <a:pt x="31" y="46"/>
                </a:lnTo>
                <a:lnTo>
                  <a:pt x="29" y="49"/>
                </a:lnTo>
                <a:lnTo>
                  <a:pt x="29" y="49"/>
                </a:lnTo>
                <a:lnTo>
                  <a:pt x="31" y="52"/>
                </a:lnTo>
                <a:lnTo>
                  <a:pt x="31" y="52"/>
                </a:lnTo>
                <a:lnTo>
                  <a:pt x="31" y="54"/>
                </a:lnTo>
                <a:lnTo>
                  <a:pt x="29" y="54"/>
                </a:lnTo>
                <a:lnTo>
                  <a:pt x="29" y="54"/>
                </a:lnTo>
                <a:lnTo>
                  <a:pt x="28" y="52"/>
                </a:lnTo>
                <a:lnTo>
                  <a:pt x="26" y="51"/>
                </a:lnTo>
                <a:lnTo>
                  <a:pt x="26" y="52"/>
                </a:lnTo>
                <a:lnTo>
                  <a:pt x="22" y="54"/>
                </a:lnTo>
                <a:lnTo>
                  <a:pt x="20" y="57"/>
                </a:lnTo>
                <a:lnTo>
                  <a:pt x="20" y="60"/>
                </a:lnTo>
                <a:lnTo>
                  <a:pt x="23" y="62"/>
                </a:lnTo>
                <a:lnTo>
                  <a:pt x="23" y="59"/>
                </a:lnTo>
                <a:lnTo>
                  <a:pt x="26" y="59"/>
                </a:lnTo>
                <a:lnTo>
                  <a:pt x="25" y="62"/>
                </a:lnTo>
                <a:lnTo>
                  <a:pt x="29" y="62"/>
                </a:lnTo>
                <a:lnTo>
                  <a:pt x="29" y="65"/>
                </a:lnTo>
                <a:lnTo>
                  <a:pt x="32" y="66"/>
                </a:lnTo>
                <a:lnTo>
                  <a:pt x="34" y="68"/>
                </a:lnTo>
                <a:lnTo>
                  <a:pt x="37" y="69"/>
                </a:lnTo>
                <a:lnTo>
                  <a:pt x="37" y="69"/>
                </a:lnTo>
                <a:lnTo>
                  <a:pt x="39" y="68"/>
                </a:lnTo>
                <a:lnTo>
                  <a:pt x="39" y="68"/>
                </a:lnTo>
                <a:lnTo>
                  <a:pt x="39" y="66"/>
                </a:lnTo>
                <a:lnTo>
                  <a:pt x="40" y="66"/>
                </a:lnTo>
                <a:lnTo>
                  <a:pt x="40" y="66"/>
                </a:lnTo>
                <a:lnTo>
                  <a:pt x="45" y="65"/>
                </a:lnTo>
                <a:lnTo>
                  <a:pt x="45" y="65"/>
                </a:lnTo>
                <a:lnTo>
                  <a:pt x="46" y="65"/>
                </a:lnTo>
                <a:lnTo>
                  <a:pt x="46" y="65"/>
                </a:lnTo>
                <a:lnTo>
                  <a:pt x="49" y="63"/>
                </a:lnTo>
                <a:lnTo>
                  <a:pt x="49" y="63"/>
                </a:lnTo>
                <a:lnTo>
                  <a:pt x="53" y="63"/>
                </a:lnTo>
                <a:lnTo>
                  <a:pt x="53" y="63"/>
                </a:lnTo>
                <a:lnTo>
                  <a:pt x="57" y="65"/>
                </a:lnTo>
                <a:lnTo>
                  <a:pt x="57" y="65"/>
                </a:lnTo>
                <a:lnTo>
                  <a:pt x="59" y="65"/>
                </a:lnTo>
                <a:lnTo>
                  <a:pt x="59" y="65"/>
                </a:lnTo>
                <a:lnTo>
                  <a:pt x="59" y="66"/>
                </a:lnTo>
                <a:lnTo>
                  <a:pt x="60" y="66"/>
                </a:lnTo>
                <a:lnTo>
                  <a:pt x="60" y="66"/>
                </a:lnTo>
                <a:lnTo>
                  <a:pt x="63" y="68"/>
                </a:lnTo>
                <a:lnTo>
                  <a:pt x="63" y="68"/>
                </a:lnTo>
                <a:lnTo>
                  <a:pt x="68" y="68"/>
                </a:lnTo>
                <a:lnTo>
                  <a:pt x="68" y="68"/>
                </a:lnTo>
                <a:lnTo>
                  <a:pt x="71" y="68"/>
                </a:lnTo>
                <a:lnTo>
                  <a:pt x="71" y="68"/>
                </a:lnTo>
                <a:lnTo>
                  <a:pt x="73" y="68"/>
                </a:lnTo>
                <a:lnTo>
                  <a:pt x="74" y="71"/>
                </a:lnTo>
                <a:lnTo>
                  <a:pt x="74" y="71"/>
                </a:lnTo>
                <a:lnTo>
                  <a:pt x="73" y="71"/>
                </a:lnTo>
                <a:lnTo>
                  <a:pt x="73" y="74"/>
                </a:lnTo>
                <a:lnTo>
                  <a:pt x="73" y="74"/>
                </a:lnTo>
                <a:lnTo>
                  <a:pt x="74" y="76"/>
                </a:lnTo>
                <a:lnTo>
                  <a:pt x="74" y="76"/>
                </a:lnTo>
                <a:lnTo>
                  <a:pt x="74" y="77"/>
                </a:lnTo>
                <a:lnTo>
                  <a:pt x="74" y="79"/>
                </a:lnTo>
                <a:lnTo>
                  <a:pt x="74" y="79"/>
                </a:lnTo>
                <a:lnTo>
                  <a:pt x="73" y="80"/>
                </a:lnTo>
                <a:lnTo>
                  <a:pt x="73" y="80"/>
                </a:lnTo>
                <a:lnTo>
                  <a:pt x="71" y="82"/>
                </a:lnTo>
                <a:lnTo>
                  <a:pt x="71" y="82"/>
                </a:lnTo>
                <a:lnTo>
                  <a:pt x="71" y="85"/>
                </a:lnTo>
                <a:lnTo>
                  <a:pt x="71" y="85"/>
                </a:lnTo>
                <a:lnTo>
                  <a:pt x="70" y="85"/>
                </a:lnTo>
                <a:lnTo>
                  <a:pt x="70" y="85"/>
                </a:lnTo>
                <a:lnTo>
                  <a:pt x="70" y="85"/>
                </a:lnTo>
                <a:lnTo>
                  <a:pt x="71" y="88"/>
                </a:lnTo>
                <a:lnTo>
                  <a:pt x="70" y="88"/>
                </a:lnTo>
                <a:lnTo>
                  <a:pt x="70" y="88"/>
                </a:lnTo>
                <a:lnTo>
                  <a:pt x="68" y="91"/>
                </a:lnTo>
                <a:lnTo>
                  <a:pt x="68" y="91"/>
                </a:lnTo>
                <a:lnTo>
                  <a:pt x="66" y="93"/>
                </a:lnTo>
                <a:lnTo>
                  <a:pt x="66" y="93"/>
                </a:lnTo>
                <a:lnTo>
                  <a:pt x="65" y="94"/>
                </a:lnTo>
                <a:lnTo>
                  <a:pt x="65" y="94"/>
                </a:lnTo>
                <a:lnTo>
                  <a:pt x="66" y="96"/>
                </a:lnTo>
                <a:lnTo>
                  <a:pt x="65" y="96"/>
                </a:lnTo>
                <a:lnTo>
                  <a:pt x="65" y="96"/>
                </a:lnTo>
                <a:lnTo>
                  <a:pt x="62" y="97"/>
                </a:lnTo>
                <a:lnTo>
                  <a:pt x="62" y="97"/>
                </a:lnTo>
                <a:lnTo>
                  <a:pt x="62" y="99"/>
                </a:lnTo>
                <a:lnTo>
                  <a:pt x="62" y="99"/>
                </a:lnTo>
                <a:lnTo>
                  <a:pt x="68" y="97"/>
                </a:lnTo>
                <a:lnTo>
                  <a:pt x="68" y="97"/>
                </a:lnTo>
                <a:lnTo>
                  <a:pt x="68" y="97"/>
                </a:lnTo>
                <a:lnTo>
                  <a:pt x="76" y="94"/>
                </a:lnTo>
                <a:lnTo>
                  <a:pt x="84" y="88"/>
                </a:lnTo>
                <a:lnTo>
                  <a:pt x="90" y="82"/>
                </a:lnTo>
                <a:lnTo>
                  <a:pt x="94" y="76"/>
                </a:lnTo>
                <a:lnTo>
                  <a:pt x="94" y="76"/>
                </a:lnTo>
                <a:lnTo>
                  <a:pt x="97" y="69"/>
                </a:lnTo>
                <a:lnTo>
                  <a:pt x="99" y="63"/>
                </a:lnTo>
                <a:lnTo>
                  <a:pt x="99" y="63"/>
                </a:lnTo>
                <a:close/>
                <a:moveTo>
                  <a:pt x="54" y="99"/>
                </a:moveTo>
                <a:lnTo>
                  <a:pt x="54" y="99"/>
                </a:lnTo>
                <a:lnTo>
                  <a:pt x="53" y="97"/>
                </a:lnTo>
                <a:lnTo>
                  <a:pt x="53" y="97"/>
                </a:lnTo>
                <a:lnTo>
                  <a:pt x="53" y="93"/>
                </a:lnTo>
                <a:lnTo>
                  <a:pt x="53" y="93"/>
                </a:lnTo>
                <a:lnTo>
                  <a:pt x="49" y="88"/>
                </a:lnTo>
                <a:lnTo>
                  <a:pt x="45" y="88"/>
                </a:lnTo>
                <a:lnTo>
                  <a:pt x="45" y="88"/>
                </a:lnTo>
                <a:lnTo>
                  <a:pt x="43" y="86"/>
                </a:lnTo>
                <a:lnTo>
                  <a:pt x="43" y="86"/>
                </a:lnTo>
                <a:lnTo>
                  <a:pt x="42" y="85"/>
                </a:lnTo>
                <a:lnTo>
                  <a:pt x="42" y="85"/>
                </a:lnTo>
                <a:lnTo>
                  <a:pt x="40" y="83"/>
                </a:lnTo>
                <a:lnTo>
                  <a:pt x="40" y="83"/>
                </a:lnTo>
                <a:lnTo>
                  <a:pt x="39" y="82"/>
                </a:lnTo>
                <a:lnTo>
                  <a:pt x="39" y="82"/>
                </a:lnTo>
                <a:lnTo>
                  <a:pt x="37" y="80"/>
                </a:lnTo>
                <a:lnTo>
                  <a:pt x="37" y="80"/>
                </a:lnTo>
                <a:lnTo>
                  <a:pt x="36" y="77"/>
                </a:lnTo>
                <a:lnTo>
                  <a:pt x="36" y="77"/>
                </a:lnTo>
                <a:lnTo>
                  <a:pt x="37" y="76"/>
                </a:lnTo>
                <a:lnTo>
                  <a:pt x="39" y="72"/>
                </a:lnTo>
                <a:lnTo>
                  <a:pt x="39" y="72"/>
                </a:lnTo>
                <a:lnTo>
                  <a:pt x="37" y="71"/>
                </a:lnTo>
                <a:lnTo>
                  <a:pt x="37" y="71"/>
                </a:lnTo>
                <a:lnTo>
                  <a:pt x="37" y="69"/>
                </a:lnTo>
                <a:lnTo>
                  <a:pt x="34" y="71"/>
                </a:lnTo>
                <a:lnTo>
                  <a:pt x="31" y="68"/>
                </a:lnTo>
                <a:lnTo>
                  <a:pt x="28" y="66"/>
                </a:lnTo>
                <a:lnTo>
                  <a:pt x="23" y="65"/>
                </a:lnTo>
                <a:lnTo>
                  <a:pt x="22" y="65"/>
                </a:lnTo>
                <a:lnTo>
                  <a:pt x="22" y="65"/>
                </a:lnTo>
                <a:lnTo>
                  <a:pt x="18" y="63"/>
                </a:lnTo>
                <a:lnTo>
                  <a:pt x="18" y="63"/>
                </a:lnTo>
                <a:lnTo>
                  <a:pt x="15" y="62"/>
                </a:lnTo>
                <a:lnTo>
                  <a:pt x="12" y="54"/>
                </a:lnTo>
                <a:lnTo>
                  <a:pt x="11" y="57"/>
                </a:lnTo>
                <a:lnTo>
                  <a:pt x="11" y="57"/>
                </a:lnTo>
                <a:lnTo>
                  <a:pt x="12" y="68"/>
                </a:lnTo>
                <a:lnTo>
                  <a:pt x="12" y="68"/>
                </a:lnTo>
                <a:lnTo>
                  <a:pt x="12" y="68"/>
                </a:lnTo>
                <a:lnTo>
                  <a:pt x="17" y="76"/>
                </a:lnTo>
                <a:lnTo>
                  <a:pt x="22" y="83"/>
                </a:lnTo>
                <a:lnTo>
                  <a:pt x="28" y="89"/>
                </a:lnTo>
                <a:lnTo>
                  <a:pt x="34" y="94"/>
                </a:lnTo>
                <a:lnTo>
                  <a:pt x="34" y="94"/>
                </a:lnTo>
                <a:lnTo>
                  <a:pt x="43" y="97"/>
                </a:lnTo>
                <a:lnTo>
                  <a:pt x="54" y="99"/>
                </a:lnTo>
                <a:lnTo>
                  <a:pt x="54" y="99"/>
                </a:lnTo>
                <a:close/>
              </a:path>
            </a:pathLst>
          </a:custGeom>
          <a:solidFill>
            <a:schemeClr val="accent2"/>
          </a:solidFill>
          <a:ln>
            <a:noFill/>
          </a:ln>
          <a:extLst/>
        </p:spPr>
        <p:txBody>
          <a:bodyPr vert="horz" wrap="square" lIns="84406" tIns="42203" rIns="84406" bIns="42203" numCol="1" anchor="t" anchorCtr="0" compatLnSpc="1">
            <a:prstTxWarp prst="textNoShape">
              <a:avLst/>
            </a:prstTxWarp>
          </a:bodyPr>
          <a:lstStyle/>
          <a:p>
            <a:endParaRPr lang="en-US" u="sng"/>
          </a:p>
        </p:txBody>
      </p:sp>
      <p:sp>
        <p:nvSpPr>
          <p:cNvPr id="11" name="Slide Number Placeholder 5"/>
          <p:cNvSpPr>
            <a:spLocks noGrp="1"/>
          </p:cNvSpPr>
          <p:nvPr>
            <p:ph type="sldNum" sz="quarter" idx="4"/>
          </p:nvPr>
        </p:nvSpPr>
        <p:spPr>
          <a:xfrm>
            <a:off x="386471" y="6494812"/>
            <a:ext cx="792088" cy="113557"/>
          </a:xfrm>
        </p:spPr>
        <p:txBody>
          <a:bodyPr/>
          <a:lstStyle/>
          <a:p>
            <a:pPr algn="l"/>
            <a:r>
              <a:rPr lang="en-GB" dirty="0" smtClean="0">
                <a:solidFill>
                  <a:schemeClr val="tx1"/>
                </a:solidFill>
              </a:rPr>
              <a:t>67</a:t>
            </a:r>
            <a:endParaRPr lang="en-GB" dirty="0">
              <a:solidFill>
                <a:schemeClr val="tx1"/>
              </a:solidFill>
            </a:endParaRPr>
          </a:p>
        </p:txBody>
      </p:sp>
    </p:spTree>
    <p:extLst>
      <p:ext uri="{BB962C8B-B14F-4D97-AF65-F5344CB8AC3E}">
        <p14:creationId xmlns:p14="http://schemas.microsoft.com/office/powerpoint/2010/main" val="3518879687"/>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fr-FR" dirty="0" smtClean="0"/>
              <a:t>Organisation et contacts</a:t>
            </a:r>
            <a:endParaRPr lang="fr-FR" dirty="0"/>
          </a:p>
        </p:txBody>
      </p:sp>
      <p:sp>
        <p:nvSpPr>
          <p:cNvPr id="3" name="Title 2"/>
          <p:cNvSpPr>
            <a:spLocks noGrp="1"/>
          </p:cNvSpPr>
          <p:nvPr>
            <p:ph type="title"/>
          </p:nvPr>
        </p:nvSpPr>
        <p:spPr/>
        <p:txBody>
          <a:bodyPr/>
          <a:lstStyle/>
          <a:p>
            <a:r>
              <a:rPr lang="fr-FR" dirty="0"/>
              <a:t>La communauté LSS Deloitte</a:t>
            </a:r>
          </a:p>
        </p:txBody>
      </p:sp>
      <p:sp>
        <p:nvSpPr>
          <p:cNvPr id="7" name="Rectangle 6"/>
          <p:cNvSpPr/>
          <p:nvPr/>
        </p:nvSpPr>
        <p:spPr>
          <a:xfrm>
            <a:off x="1416267" y="1825420"/>
            <a:ext cx="797538" cy="797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fr-FR" sz="1108" dirty="0"/>
              <a:t>Animation</a:t>
            </a:r>
            <a:endParaRPr lang="fr-FR" sz="1108" dirty="0">
              <a:solidFill>
                <a:schemeClr val="bg1"/>
              </a:solidFill>
            </a:endParaRPr>
          </a:p>
        </p:txBody>
      </p:sp>
      <p:sp>
        <p:nvSpPr>
          <p:cNvPr id="8" name="Rectangle 7"/>
          <p:cNvSpPr/>
          <p:nvPr/>
        </p:nvSpPr>
        <p:spPr>
          <a:xfrm>
            <a:off x="1416267" y="2710519"/>
            <a:ext cx="797538" cy="797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fr-FR" sz="1108" dirty="0">
                <a:solidFill>
                  <a:schemeClr val="bg1"/>
                </a:solidFill>
              </a:rPr>
              <a:t>Formation</a:t>
            </a:r>
          </a:p>
        </p:txBody>
      </p:sp>
      <p:sp>
        <p:nvSpPr>
          <p:cNvPr id="9" name="Rectangle 8"/>
          <p:cNvSpPr/>
          <p:nvPr/>
        </p:nvSpPr>
        <p:spPr>
          <a:xfrm>
            <a:off x="1416267" y="3595617"/>
            <a:ext cx="797538" cy="7975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fr-FR" sz="1108" dirty="0">
                <a:solidFill>
                  <a:schemeClr val="bg1"/>
                </a:solidFill>
              </a:rPr>
              <a:t>Offre</a:t>
            </a:r>
          </a:p>
        </p:txBody>
      </p:sp>
      <p:sp>
        <p:nvSpPr>
          <p:cNvPr id="10" name="Rectangle 9"/>
          <p:cNvSpPr/>
          <p:nvPr/>
        </p:nvSpPr>
        <p:spPr>
          <a:xfrm>
            <a:off x="1416267" y="4480715"/>
            <a:ext cx="797538" cy="7975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fr-FR" sz="1108" dirty="0">
                <a:solidFill>
                  <a:schemeClr val="bg1"/>
                </a:solidFill>
              </a:rPr>
              <a:t>Eminence</a:t>
            </a:r>
          </a:p>
        </p:txBody>
      </p:sp>
      <p:sp>
        <p:nvSpPr>
          <p:cNvPr id="11" name="Freeform 408"/>
          <p:cNvSpPr>
            <a:spLocks noEditPoints="1"/>
          </p:cNvSpPr>
          <p:nvPr/>
        </p:nvSpPr>
        <p:spPr bwMode="auto">
          <a:xfrm>
            <a:off x="528506" y="1944436"/>
            <a:ext cx="664689" cy="544314"/>
          </a:xfrm>
          <a:custGeom>
            <a:avLst/>
            <a:gdLst>
              <a:gd name="T0" fmla="*/ 96 w 127"/>
              <a:gd name="T1" fmla="*/ 62 h 104"/>
              <a:gd name="T2" fmla="*/ 72 w 127"/>
              <a:gd name="T3" fmla="*/ 59 h 104"/>
              <a:gd name="T4" fmla="*/ 74 w 127"/>
              <a:gd name="T5" fmla="*/ 37 h 104"/>
              <a:gd name="T6" fmla="*/ 82 w 127"/>
              <a:gd name="T7" fmla="*/ 20 h 104"/>
              <a:gd name="T8" fmla="*/ 110 w 127"/>
              <a:gd name="T9" fmla="*/ 18 h 104"/>
              <a:gd name="T10" fmla="*/ 116 w 127"/>
              <a:gd name="T11" fmla="*/ 37 h 104"/>
              <a:gd name="T12" fmla="*/ 105 w 127"/>
              <a:gd name="T13" fmla="*/ 59 h 104"/>
              <a:gd name="T14" fmla="*/ 68 w 127"/>
              <a:gd name="T15" fmla="*/ 34 h 104"/>
              <a:gd name="T16" fmla="*/ 66 w 127"/>
              <a:gd name="T17" fmla="*/ 43 h 104"/>
              <a:gd name="T18" fmla="*/ 63 w 127"/>
              <a:gd name="T19" fmla="*/ 48 h 104"/>
              <a:gd name="T20" fmla="*/ 48 w 127"/>
              <a:gd name="T21" fmla="*/ 66 h 104"/>
              <a:gd name="T22" fmla="*/ 26 w 127"/>
              <a:gd name="T23" fmla="*/ 62 h 104"/>
              <a:gd name="T24" fmla="*/ 17 w 127"/>
              <a:gd name="T25" fmla="*/ 48 h 104"/>
              <a:gd name="T26" fmla="*/ 12 w 127"/>
              <a:gd name="T27" fmla="*/ 35 h 104"/>
              <a:gd name="T28" fmla="*/ 14 w 127"/>
              <a:gd name="T29" fmla="*/ 32 h 104"/>
              <a:gd name="T30" fmla="*/ 15 w 127"/>
              <a:gd name="T31" fmla="*/ 11 h 104"/>
              <a:gd name="T32" fmla="*/ 29 w 127"/>
              <a:gd name="T33" fmla="*/ 1 h 104"/>
              <a:gd name="T34" fmla="*/ 59 w 127"/>
              <a:gd name="T35" fmla="*/ 6 h 104"/>
              <a:gd name="T36" fmla="*/ 66 w 127"/>
              <a:gd name="T37" fmla="*/ 23 h 104"/>
              <a:gd name="T38" fmla="*/ 11 w 127"/>
              <a:gd name="T39" fmla="*/ 68 h 104"/>
              <a:gd name="T40" fmla="*/ 29 w 127"/>
              <a:gd name="T41" fmla="*/ 74 h 104"/>
              <a:gd name="T42" fmla="*/ 45 w 127"/>
              <a:gd name="T43" fmla="*/ 76 h 104"/>
              <a:gd name="T44" fmla="*/ 59 w 127"/>
              <a:gd name="T45" fmla="*/ 68 h 104"/>
              <a:gd name="T46" fmla="*/ 77 w 127"/>
              <a:gd name="T47" fmla="*/ 84 h 104"/>
              <a:gd name="T48" fmla="*/ 0 w 127"/>
              <a:gd name="T49" fmla="*/ 104 h 104"/>
              <a:gd name="T50" fmla="*/ 4 w 127"/>
              <a:gd name="T51" fmla="*/ 76 h 104"/>
              <a:gd name="T52" fmla="*/ 63 w 127"/>
              <a:gd name="T53" fmla="*/ 35 h 104"/>
              <a:gd name="T54" fmla="*/ 59 w 127"/>
              <a:gd name="T55" fmla="*/ 31 h 104"/>
              <a:gd name="T56" fmla="*/ 26 w 127"/>
              <a:gd name="T57" fmla="*/ 29 h 104"/>
              <a:gd name="T58" fmla="*/ 17 w 127"/>
              <a:gd name="T59" fmla="*/ 35 h 104"/>
              <a:gd name="T60" fmla="*/ 17 w 127"/>
              <a:gd name="T61" fmla="*/ 37 h 104"/>
              <a:gd name="T62" fmla="*/ 20 w 127"/>
              <a:gd name="T63" fmla="*/ 45 h 104"/>
              <a:gd name="T64" fmla="*/ 29 w 127"/>
              <a:gd name="T65" fmla="*/ 59 h 104"/>
              <a:gd name="T66" fmla="*/ 40 w 127"/>
              <a:gd name="T67" fmla="*/ 63 h 104"/>
              <a:gd name="T68" fmla="*/ 57 w 127"/>
              <a:gd name="T69" fmla="*/ 53 h 104"/>
              <a:gd name="T70" fmla="*/ 60 w 127"/>
              <a:gd name="T71" fmla="*/ 45 h 104"/>
              <a:gd name="T72" fmla="*/ 63 w 127"/>
              <a:gd name="T73" fmla="*/ 37 h 104"/>
              <a:gd name="T74" fmla="*/ 82 w 127"/>
              <a:gd name="T75" fmla="*/ 65 h 104"/>
              <a:gd name="T76" fmla="*/ 80 w 127"/>
              <a:gd name="T77" fmla="*/ 71 h 104"/>
              <a:gd name="T78" fmla="*/ 127 w 127"/>
              <a:gd name="T79" fmla="*/ 90 h 104"/>
              <a:gd name="T80" fmla="*/ 114 w 127"/>
              <a:gd name="T81" fmla="*/ 66 h 104"/>
              <a:gd name="T82" fmla="*/ 96 w 127"/>
              <a:gd name="T83" fmla="*/ 70 h 104"/>
              <a:gd name="T84" fmla="*/ 82 w 127"/>
              <a:gd name="T85" fmla="*/ 65 h 104"/>
              <a:gd name="T86" fmla="*/ 110 w 127"/>
              <a:gd name="T87" fmla="*/ 35 h 104"/>
              <a:gd name="T88" fmla="*/ 82 w 127"/>
              <a:gd name="T89" fmla="*/ 45 h 104"/>
              <a:gd name="T90" fmla="*/ 83 w 127"/>
              <a:gd name="T91" fmla="*/ 51 h 104"/>
              <a:gd name="T92" fmla="*/ 96 w 127"/>
              <a:gd name="T93" fmla="*/ 59 h 104"/>
              <a:gd name="T94" fmla="*/ 110 w 127"/>
              <a:gd name="T95"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04">
                <a:moveTo>
                  <a:pt x="105" y="59"/>
                </a:moveTo>
                <a:lnTo>
                  <a:pt x="105" y="59"/>
                </a:lnTo>
                <a:lnTo>
                  <a:pt x="96" y="62"/>
                </a:lnTo>
                <a:lnTo>
                  <a:pt x="96" y="62"/>
                </a:lnTo>
                <a:lnTo>
                  <a:pt x="96" y="62"/>
                </a:lnTo>
                <a:lnTo>
                  <a:pt x="96" y="62"/>
                </a:lnTo>
                <a:lnTo>
                  <a:pt x="88" y="59"/>
                </a:lnTo>
                <a:lnTo>
                  <a:pt x="72" y="59"/>
                </a:lnTo>
                <a:lnTo>
                  <a:pt x="74" y="45"/>
                </a:lnTo>
                <a:lnTo>
                  <a:pt x="74" y="45"/>
                </a:lnTo>
                <a:lnTo>
                  <a:pt x="74" y="45"/>
                </a:lnTo>
                <a:lnTo>
                  <a:pt x="74" y="37"/>
                </a:lnTo>
                <a:lnTo>
                  <a:pt x="76" y="29"/>
                </a:lnTo>
                <a:lnTo>
                  <a:pt x="79" y="23"/>
                </a:lnTo>
                <a:lnTo>
                  <a:pt x="82" y="20"/>
                </a:lnTo>
                <a:lnTo>
                  <a:pt x="82" y="20"/>
                </a:lnTo>
                <a:lnTo>
                  <a:pt x="88" y="15"/>
                </a:lnTo>
                <a:lnTo>
                  <a:pt x="96" y="15"/>
                </a:lnTo>
                <a:lnTo>
                  <a:pt x="102" y="15"/>
                </a:lnTo>
                <a:lnTo>
                  <a:pt x="110" y="18"/>
                </a:lnTo>
                <a:lnTo>
                  <a:pt x="110" y="18"/>
                </a:lnTo>
                <a:lnTo>
                  <a:pt x="113" y="23"/>
                </a:lnTo>
                <a:lnTo>
                  <a:pt x="114" y="29"/>
                </a:lnTo>
                <a:lnTo>
                  <a:pt x="116" y="37"/>
                </a:lnTo>
                <a:lnTo>
                  <a:pt x="117" y="45"/>
                </a:lnTo>
                <a:lnTo>
                  <a:pt x="117" y="45"/>
                </a:lnTo>
                <a:lnTo>
                  <a:pt x="117" y="59"/>
                </a:lnTo>
                <a:lnTo>
                  <a:pt x="105" y="59"/>
                </a:lnTo>
                <a:lnTo>
                  <a:pt x="105" y="59"/>
                </a:lnTo>
                <a:close/>
                <a:moveTo>
                  <a:pt x="66" y="32"/>
                </a:moveTo>
                <a:lnTo>
                  <a:pt x="66" y="32"/>
                </a:lnTo>
                <a:lnTo>
                  <a:pt x="68" y="34"/>
                </a:lnTo>
                <a:lnTo>
                  <a:pt x="68" y="34"/>
                </a:lnTo>
                <a:lnTo>
                  <a:pt x="68" y="35"/>
                </a:lnTo>
                <a:lnTo>
                  <a:pt x="68" y="35"/>
                </a:lnTo>
                <a:lnTo>
                  <a:pt x="66" y="43"/>
                </a:lnTo>
                <a:lnTo>
                  <a:pt x="66" y="43"/>
                </a:lnTo>
                <a:lnTo>
                  <a:pt x="65" y="46"/>
                </a:lnTo>
                <a:lnTo>
                  <a:pt x="63" y="48"/>
                </a:lnTo>
                <a:lnTo>
                  <a:pt x="63" y="48"/>
                </a:lnTo>
                <a:lnTo>
                  <a:pt x="60" y="56"/>
                </a:lnTo>
                <a:lnTo>
                  <a:pt x="54" y="62"/>
                </a:lnTo>
                <a:lnTo>
                  <a:pt x="54" y="62"/>
                </a:lnTo>
                <a:lnTo>
                  <a:pt x="48" y="66"/>
                </a:lnTo>
                <a:lnTo>
                  <a:pt x="40" y="68"/>
                </a:lnTo>
                <a:lnTo>
                  <a:pt x="40" y="68"/>
                </a:lnTo>
                <a:lnTo>
                  <a:pt x="32" y="66"/>
                </a:lnTo>
                <a:lnTo>
                  <a:pt x="26" y="62"/>
                </a:lnTo>
                <a:lnTo>
                  <a:pt x="26" y="62"/>
                </a:lnTo>
                <a:lnTo>
                  <a:pt x="20" y="56"/>
                </a:lnTo>
                <a:lnTo>
                  <a:pt x="17" y="48"/>
                </a:lnTo>
                <a:lnTo>
                  <a:pt x="17" y="48"/>
                </a:lnTo>
                <a:lnTo>
                  <a:pt x="15" y="46"/>
                </a:lnTo>
                <a:lnTo>
                  <a:pt x="14" y="43"/>
                </a:lnTo>
                <a:lnTo>
                  <a:pt x="14" y="43"/>
                </a:lnTo>
                <a:lnTo>
                  <a:pt x="12" y="35"/>
                </a:lnTo>
                <a:lnTo>
                  <a:pt x="12" y="34"/>
                </a:lnTo>
                <a:lnTo>
                  <a:pt x="12" y="34"/>
                </a:lnTo>
                <a:lnTo>
                  <a:pt x="12" y="34"/>
                </a:lnTo>
                <a:lnTo>
                  <a:pt x="14" y="32"/>
                </a:lnTo>
                <a:lnTo>
                  <a:pt x="14" y="32"/>
                </a:lnTo>
                <a:lnTo>
                  <a:pt x="12" y="23"/>
                </a:lnTo>
                <a:lnTo>
                  <a:pt x="14" y="15"/>
                </a:lnTo>
                <a:lnTo>
                  <a:pt x="15" y="11"/>
                </a:lnTo>
                <a:lnTo>
                  <a:pt x="20" y="6"/>
                </a:lnTo>
                <a:lnTo>
                  <a:pt x="20" y="6"/>
                </a:lnTo>
                <a:lnTo>
                  <a:pt x="23" y="3"/>
                </a:lnTo>
                <a:lnTo>
                  <a:pt x="29" y="1"/>
                </a:lnTo>
                <a:lnTo>
                  <a:pt x="38" y="0"/>
                </a:lnTo>
                <a:lnTo>
                  <a:pt x="49" y="1"/>
                </a:lnTo>
                <a:lnTo>
                  <a:pt x="54" y="3"/>
                </a:lnTo>
                <a:lnTo>
                  <a:pt x="59" y="6"/>
                </a:lnTo>
                <a:lnTo>
                  <a:pt x="59" y="6"/>
                </a:lnTo>
                <a:lnTo>
                  <a:pt x="63" y="9"/>
                </a:lnTo>
                <a:lnTo>
                  <a:pt x="66" y="15"/>
                </a:lnTo>
                <a:lnTo>
                  <a:pt x="66" y="23"/>
                </a:lnTo>
                <a:lnTo>
                  <a:pt x="66" y="32"/>
                </a:lnTo>
                <a:lnTo>
                  <a:pt x="66" y="32"/>
                </a:lnTo>
                <a:close/>
                <a:moveTo>
                  <a:pt x="11" y="68"/>
                </a:moveTo>
                <a:lnTo>
                  <a:pt x="11" y="68"/>
                </a:lnTo>
                <a:lnTo>
                  <a:pt x="21" y="68"/>
                </a:lnTo>
                <a:lnTo>
                  <a:pt x="21" y="68"/>
                </a:lnTo>
                <a:lnTo>
                  <a:pt x="26" y="71"/>
                </a:lnTo>
                <a:lnTo>
                  <a:pt x="29" y="74"/>
                </a:lnTo>
                <a:lnTo>
                  <a:pt x="34" y="76"/>
                </a:lnTo>
                <a:lnTo>
                  <a:pt x="40" y="76"/>
                </a:lnTo>
                <a:lnTo>
                  <a:pt x="40" y="76"/>
                </a:lnTo>
                <a:lnTo>
                  <a:pt x="45" y="76"/>
                </a:lnTo>
                <a:lnTo>
                  <a:pt x="49" y="74"/>
                </a:lnTo>
                <a:lnTo>
                  <a:pt x="54" y="71"/>
                </a:lnTo>
                <a:lnTo>
                  <a:pt x="59" y="68"/>
                </a:lnTo>
                <a:lnTo>
                  <a:pt x="59" y="68"/>
                </a:lnTo>
                <a:lnTo>
                  <a:pt x="69" y="68"/>
                </a:lnTo>
                <a:lnTo>
                  <a:pt x="69" y="68"/>
                </a:lnTo>
                <a:lnTo>
                  <a:pt x="74" y="76"/>
                </a:lnTo>
                <a:lnTo>
                  <a:pt x="77" y="84"/>
                </a:lnTo>
                <a:lnTo>
                  <a:pt x="80" y="94"/>
                </a:lnTo>
                <a:lnTo>
                  <a:pt x="80" y="104"/>
                </a:lnTo>
                <a:lnTo>
                  <a:pt x="80" y="104"/>
                </a:lnTo>
                <a:lnTo>
                  <a:pt x="0" y="104"/>
                </a:lnTo>
                <a:lnTo>
                  <a:pt x="0" y="104"/>
                </a:lnTo>
                <a:lnTo>
                  <a:pt x="0" y="94"/>
                </a:lnTo>
                <a:lnTo>
                  <a:pt x="1" y="85"/>
                </a:lnTo>
                <a:lnTo>
                  <a:pt x="4" y="76"/>
                </a:lnTo>
                <a:lnTo>
                  <a:pt x="11" y="68"/>
                </a:lnTo>
                <a:lnTo>
                  <a:pt x="11" y="68"/>
                </a:lnTo>
                <a:close/>
                <a:moveTo>
                  <a:pt x="63" y="35"/>
                </a:moveTo>
                <a:lnTo>
                  <a:pt x="63" y="35"/>
                </a:lnTo>
                <a:lnTo>
                  <a:pt x="60" y="37"/>
                </a:lnTo>
                <a:lnTo>
                  <a:pt x="60" y="37"/>
                </a:lnTo>
                <a:lnTo>
                  <a:pt x="59" y="31"/>
                </a:lnTo>
                <a:lnTo>
                  <a:pt x="59" y="31"/>
                </a:lnTo>
                <a:lnTo>
                  <a:pt x="43" y="32"/>
                </a:lnTo>
                <a:lnTo>
                  <a:pt x="35" y="32"/>
                </a:lnTo>
                <a:lnTo>
                  <a:pt x="26" y="29"/>
                </a:lnTo>
                <a:lnTo>
                  <a:pt x="26" y="29"/>
                </a:lnTo>
                <a:lnTo>
                  <a:pt x="21" y="37"/>
                </a:lnTo>
                <a:lnTo>
                  <a:pt x="21" y="37"/>
                </a:lnTo>
                <a:lnTo>
                  <a:pt x="17" y="35"/>
                </a:lnTo>
                <a:lnTo>
                  <a:pt x="17" y="35"/>
                </a:lnTo>
                <a:lnTo>
                  <a:pt x="17" y="35"/>
                </a:lnTo>
                <a:lnTo>
                  <a:pt x="17" y="35"/>
                </a:lnTo>
                <a:lnTo>
                  <a:pt x="17" y="37"/>
                </a:lnTo>
                <a:lnTo>
                  <a:pt x="17" y="37"/>
                </a:lnTo>
                <a:lnTo>
                  <a:pt x="17" y="42"/>
                </a:lnTo>
                <a:lnTo>
                  <a:pt x="17" y="42"/>
                </a:lnTo>
                <a:lnTo>
                  <a:pt x="20" y="45"/>
                </a:lnTo>
                <a:lnTo>
                  <a:pt x="20" y="45"/>
                </a:lnTo>
                <a:lnTo>
                  <a:pt x="21" y="46"/>
                </a:lnTo>
                <a:lnTo>
                  <a:pt x="21" y="46"/>
                </a:lnTo>
                <a:lnTo>
                  <a:pt x="24" y="53"/>
                </a:lnTo>
                <a:lnTo>
                  <a:pt x="29" y="59"/>
                </a:lnTo>
                <a:lnTo>
                  <a:pt x="29" y="59"/>
                </a:lnTo>
                <a:lnTo>
                  <a:pt x="34" y="62"/>
                </a:lnTo>
                <a:lnTo>
                  <a:pt x="40" y="63"/>
                </a:lnTo>
                <a:lnTo>
                  <a:pt x="40" y="63"/>
                </a:lnTo>
                <a:lnTo>
                  <a:pt x="46" y="62"/>
                </a:lnTo>
                <a:lnTo>
                  <a:pt x="52" y="59"/>
                </a:lnTo>
                <a:lnTo>
                  <a:pt x="52" y="59"/>
                </a:lnTo>
                <a:lnTo>
                  <a:pt x="57" y="53"/>
                </a:lnTo>
                <a:lnTo>
                  <a:pt x="60" y="46"/>
                </a:lnTo>
                <a:lnTo>
                  <a:pt x="60" y="45"/>
                </a:lnTo>
                <a:lnTo>
                  <a:pt x="60" y="45"/>
                </a:lnTo>
                <a:lnTo>
                  <a:pt x="60" y="45"/>
                </a:lnTo>
                <a:lnTo>
                  <a:pt x="63" y="42"/>
                </a:lnTo>
                <a:lnTo>
                  <a:pt x="63" y="42"/>
                </a:lnTo>
                <a:lnTo>
                  <a:pt x="63" y="37"/>
                </a:lnTo>
                <a:lnTo>
                  <a:pt x="63" y="37"/>
                </a:lnTo>
                <a:lnTo>
                  <a:pt x="63" y="35"/>
                </a:lnTo>
                <a:lnTo>
                  <a:pt x="63" y="35"/>
                </a:lnTo>
                <a:lnTo>
                  <a:pt x="63" y="35"/>
                </a:lnTo>
                <a:close/>
                <a:moveTo>
                  <a:pt x="82" y="65"/>
                </a:moveTo>
                <a:lnTo>
                  <a:pt x="82" y="65"/>
                </a:lnTo>
                <a:lnTo>
                  <a:pt x="77" y="66"/>
                </a:lnTo>
                <a:lnTo>
                  <a:pt x="77" y="66"/>
                </a:lnTo>
                <a:lnTo>
                  <a:pt x="80" y="71"/>
                </a:lnTo>
                <a:lnTo>
                  <a:pt x="82" y="77"/>
                </a:lnTo>
                <a:lnTo>
                  <a:pt x="85" y="90"/>
                </a:lnTo>
                <a:lnTo>
                  <a:pt x="127" y="90"/>
                </a:lnTo>
                <a:lnTo>
                  <a:pt x="127" y="90"/>
                </a:lnTo>
                <a:lnTo>
                  <a:pt x="127" y="84"/>
                </a:lnTo>
                <a:lnTo>
                  <a:pt x="124" y="76"/>
                </a:lnTo>
                <a:lnTo>
                  <a:pt x="117" y="70"/>
                </a:lnTo>
                <a:lnTo>
                  <a:pt x="114" y="66"/>
                </a:lnTo>
                <a:lnTo>
                  <a:pt x="110" y="63"/>
                </a:lnTo>
                <a:lnTo>
                  <a:pt x="110" y="63"/>
                </a:lnTo>
                <a:lnTo>
                  <a:pt x="103" y="68"/>
                </a:lnTo>
                <a:lnTo>
                  <a:pt x="96" y="70"/>
                </a:lnTo>
                <a:lnTo>
                  <a:pt x="96" y="70"/>
                </a:lnTo>
                <a:lnTo>
                  <a:pt x="88" y="68"/>
                </a:lnTo>
                <a:lnTo>
                  <a:pt x="82" y="65"/>
                </a:lnTo>
                <a:lnTo>
                  <a:pt x="82" y="65"/>
                </a:lnTo>
                <a:close/>
                <a:moveTo>
                  <a:pt x="110" y="48"/>
                </a:moveTo>
                <a:lnTo>
                  <a:pt x="110" y="48"/>
                </a:lnTo>
                <a:lnTo>
                  <a:pt x="110" y="35"/>
                </a:lnTo>
                <a:lnTo>
                  <a:pt x="110" y="35"/>
                </a:lnTo>
                <a:lnTo>
                  <a:pt x="97" y="37"/>
                </a:lnTo>
                <a:lnTo>
                  <a:pt x="90" y="37"/>
                </a:lnTo>
                <a:lnTo>
                  <a:pt x="82" y="35"/>
                </a:lnTo>
                <a:lnTo>
                  <a:pt x="82" y="45"/>
                </a:lnTo>
                <a:lnTo>
                  <a:pt x="82" y="45"/>
                </a:lnTo>
                <a:lnTo>
                  <a:pt x="82" y="46"/>
                </a:lnTo>
                <a:lnTo>
                  <a:pt x="82" y="46"/>
                </a:lnTo>
                <a:lnTo>
                  <a:pt x="83" y="51"/>
                </a:lnTo>
                <a:lnTo>
                  <a:pt x="86" y="54"/>
                </a:lnTo>
                <a:lnTo>
                  <a:pt x="91" y="57"/>
                </a:lnTo>
                <a:lnTo>
                  <a:pt x="96" y="59"/>
                </a:lnTo>
                <a:lnTo>
                  <a:pt x="96" y="59"/>
                </a:lnTo>
                <a:lnTo>
                  <a:pt x="100" y="57"/>
                </a:lnTo>
                <a:lnTo>
                  <a:pt x="105" y="56"/>
                </a:lnTo>
                <a:lnTo>
                  <a:pt x="108" y="51"/>
                </a:lnTo>
                <a:lnTo>
                  <a:pt x="110" y="48"/>
                </a:lnTo>
                <a:lnTo>
                  <a:pt x="110" y="48"/>
                </a:lnTo>
                <a:close/>
              </a:path>
            </a:pathLst>
          </a:custGeom>
          <a:solidFill>
            <a:schemeClr val="accent3"/>
          </a:solidFill>
          <a:ln>
            <a:noFill/>
          </a:ln>
          <a:extLst/>
        </p:spPr>
        <p:txBody>
          <a:bodyPr vert="horz" wrap="square" lIns="84406" tIns="42203" rIns="84406" bIns="42203" numCol="1" anchor="t" anchorCtr="0" compatLnSpc="1">
            <a:prstTxWarp prst="textNoShape">
              <a:avLst/>
            </a:prstTxWarp>
          </a:bodyPr>
          <a:lstStyle/>
          <a:p>
            <a:endParaRPr lang="en-US"/>
          </a:p>
        </p:txBody>
      </p:sp>
      <p:sp>
        <p:nvSpPr>
          <p:cNvPr id="12" name="Rectangle 11"/>
          <p:cNvSpPr/>
          <p:nvPr/>
        </p:nvSpPr>
        <p:spPr>
          <a:xfrm>
            <a:off x="1416267" y="5375351"/>
            <a:ext cx="797538" cy="797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fr-FR" sz="1108" dirty="0">
                <a:solidFill>
                  <a:schemeClr val="bg1"/>
                </a:solidFill>
              </a:rPr>
              <a:t>KM &amp;</a:t>
            </a:r>
          </a:p>
          <a:p>
            <a:pPr algn="ctr"/>
            <a:r>
              <a:rPr lang="fr-FR" sz="1108" dirty="0">
                <a:solidFill>
                  <a:schemeClr val="bg1"/>
                </a:solidFill>
              </a:rPr>
              <a:t>Sales</a:t>
            </a:r>
          </a:p>
        </p:txBody>
      </p:sp>
      <p:sp>
        <p:nvSpPr>
          <p:cNvPr id="13" name="Freeform 130"/>
          <p:cNvSpPr>
            <a:spLocks noEditPoints="1"/>
          </p:cNvSpPr>
          <p:nvPr/>
        </p:nvSpPr>
        <p:spPr bwMode="auto">
          <a:xfrm>
            <a:off x="569250" y="3648906"/>
            <a:ext cx="583200" cy="654482"/>
          </a:xfrm>
          <a:custGeom>
            <a:avLst/>
            <a:gdLst>
              <a:gd name="T0" fmla="*/ 12 w 90"/>
              <a:gd name="T1" fmla="*/ 101 h 101"/>
              <a:gd name="T2" fmla="*/ 0 w 90"/>
              <a:gd name="T3" fmla="*/ 54 h 101"/>
              <a:gd name="T4" fmla="*/ 37 w 90"/>
              <a:gd name="T5" fmla="*/ 33 h 101"/>
              <a:gd name="T6" fmla="*/ 37 w 90"/>
              <a:gd name="T7" fmla="*/ 101 h 101"/>
              <a:gd name="T8" fmla="*/ 18 w 90"/>
              <a:gd name="T9" fmla="*/ 22 h 101"/>
              <a:gd name="T10" fmla="*/ 21 w 90"/>
              <a:gd name="T11" fmla="*/ 23 h 101"/>
              <a:gd name="T12" fmla="*/ 26 w 90"/>
              <a:gd name="T13" fmla="*/ 25 h 101"/>
              <a:gd name="T14" fmla="*/ 37 w 90"/>
              <a:gd name="T15" fmla="*/ 25 h 101"/>
              <a:gd name="T16" fmla="*/ 37 w 90"/>
              <a:gd name="T17" fmla="*/ 28 h 101"/>
              <a:gd name="T18" fmla="*/ 37 w 90"/>
              <a:gd name="T19" fmla="*/ 28 h 101"/>
              <a:gd name="T20" fmla="*/ 24 w 90"/>
              <a:gd name="T21" fmla="*/ 28 h 101"/>
              <a:gd name="T22" fmla="*/ 18 w 90"/>
              <a:gd name="T23" fmla="*/ 26 h 101"/>
              <a:gd name="T24" fmla="*/ 14 w 90"/>
              <a:gd name="T25" fmla="*/ 17 h 101"/>
              <a:gd name="T26" fmla="*/ 14 w 90"/>
              <a:gd name="T27" fmla="*/ 11 h 101"/>
              <a:gd name="T28" fmla="*/ 15 w 90"/>
              <a:gd name="T29" fmla="*/ 0 h 101"/>
              <a:gd name="T30" fmla="*/ 23 w 90"/>
              <a:gd name="T31" fmla="*/ 0 h 101"/>
              <a:gd name="T32" fmla="*/ 34 w 90"/>
              <a:gd name="T33" fmla="*/ 6 h 101"/>
              <a:gd name="T34" fmla="*/ 40 w 90"/>
              <a:gd name="T35" fmla="*/ 11 h 101"/>
              <a:gd name="T36" fmla="*/ 37 w 90"/>
              <a:gd name="T37" fmla="*/ 16 h 101"/>
              <a:gd name="T38" fmla="*/ 37 w 90"/>
              <a:gd name="T39" fmla="*/ 22 h 101"/>
              <a:gd name="T40" fmla="*/ 18 w 90"/>
              <a:gd name="T41" fmla="*/ 22 h 101"/>
              <a:gd name="T42" fmla="*/ 40 w 90"/>
              <a:gd name="T43" fmla="*/ 26 h 101"/>
              <a:gd name="T44" fmla="*/ 40 w 90"/>
              <a:gd name="T45" fmla="*/ 26 h 101"/>
              <a:gd name="T46" fmla="*/ 48 w 90"/>
              <a:gd name="T47" fmla="*/ 26 h 101"/>
              <a:gd name="T48" fmla="*/ 48 w 90"/>
              <a:gd name="T49" fmla="*/ 26 h 101"/>
              <a:gd name="T50" fmla="*/ 46 w 90"/>
              <a:gd name="T51" fmla="*/ 12 h 101"/>
              <a:gd name="T52" fmla="*/ 46 w 90"/>
              <a:gd name="T53" fmla="*/ 12 h 101"/>
              <a:gd name="T54" fmla="*/ 46 w 90"/>
              <a:gd name="T55" fmla="*/ 12 h 101"/>
              <a:gd name="T56" fmla="*/ 42 w 90"/>
              <a:gd name="T57" fmla="*/ 12 h 101"/>
              <a:gd name="T58" fmla="*/ 42 w 90"/>
              <a:gd name="T59" fmla="*/ 12 h 101"/>
              <a:gd name="T60" fmla="*/ 42 w 90"/>
              <a:gd name="T61" fmla="*/ 12 h 101"/>
              <a:gd name="T62" fmla="*/ 40 w 90"/>
              <a:gd name="T63" fmla="*/ 26 h 101"/>
              <a:gd name="T64" fmla="*/ 51 w 90"/>
              <a:gd name="T65" fmla="*/ 25 h 101"/>
              <a:gd name="T66" fmla="*/ 62 w 90"/>
              <a:gd name="T67" fmla="*/ 25 h 101"/>
              <a:gd name="T68" fmla="*/ 66 w 90"/>
              <a:gd name="T69" fmla="*/ 23 h 101"/>
              <a:gd name="T70" fmla="*/ 69 w 90"/>
              <a:gd name="T71" fmla="*/ 22 h 101"/>
              <a:gd name="T72" fmla="*/ 51 w 90"/>
              <a:gd name="T73" fmla="*/ 22 h 101"/>
              <a:gd name="T74" fmla="*/ 51 w 90"/>
              <a:gd name="T75" fmla="*/ 19 h 101"/>
              <a:gd name="T76" fmla="*/ 49 w 90"/>
              <a:gd name="T77" fmla="*/ 14 h 101"/>
              <a:gd name="T78" fmla="*/ 48 w 90"/>
              <a:gd name="T79" fmla="*/ 9 h 101"/>
              <a:gd name="T80" fmla="*/ 59 w 90"/>
              <a:gd name="T81" fmla="*/ 3 h 101"/>
              <a:gd name="T82" fmla="*/ 72 w 90"/>
              <a:gd name="T83" fmla="*/ 0 h 101"/>
              <a:gd name="T84" fmla="*/ 74 w 90"/>
              <a:gd name="T85" fmla="*/ 5 h 101"/>
              <a:gd name="T86" fmla="*/ 74 w 90"/>
              <a:gd name="T87" fmla="*/ 11 h 101"/>
              <a:gd name="T88" fmla="*/ 72 w 90"/>
              <a:gd name="T89" fmla="*/ 23 h 101"/>
              <a:gd name="T90" fmla="*/ 62 w 90"/>
              <a:gd name="T91" fmla="*/ 28 h 101"/>
              <a:gd name="T92" fmla="*/ 51 w 90"/>
              <a:gd name="T93" fmla="*/ 28 h 101"/>
              <a:gd name="T94" fmla="*/ 51 w 90"/>
              <a:gd name="T95" fmla="*/ 28 h 101"/>
              <a:gd name="T96" fmla="*/ 51 w 90"/>
              <a:gd name="T97" fmla="*/ 25 h 101"/>
              <a:gd name="T98" fmla="*/ 90 w 90"/>
              <a:gd name="T99" fmla="*/ 33 h 101"/>
              <a:gd name="T100" fmla="*/ 77 w 90"/>
              <a:gd name="T101" fmla="*/ 54 h 101"/>
              <a:gd name="T102" fmla="*/ 51 w 90"/>
              <a:gd name="T103" fmla="*/ 101 h 101"/>
              <a:gd name="T104" fmla="*/ 51 w 90"/>
              <a:gd name="T105" fmla="*/ 3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101">
                <a:moveTo>
                  <a:pt x="37" y="101"/>
                </a:moveTo>
                <a:lnTo>
                  <a:pt x="12" y="101"/>
                </a:lnTo>
                <a:lnTo>
                  <a:pt x="12" y="54"/>
                </a:lnTo>
                <a:lnTo>
                  <a:pt x="0" y="54"/>
                </a:lnTo>
                <a:lnTo>
                  <a:pt x="0" y="33"/>
                </a:lnTo>
                <a:lnTo>
                  <a:pt x="37" y="33"/>
                </a:lnTo>
                <a:lnTo>
                  <a:pt x="37" y="33"/>
                </a:lnTo>
                <a:lnTo>
                  <a:pt x="37" y="101"/>
                </a:lnTo>
                <a:lnTo>
                  <a:pt x="37" y="101"/>
                </a:lnTo>
                <a:close/>
                <a:moveTo>
                  <a:pt x="18" y="22"/>
                </a:moveTo>
                <a:lnTo>
                  <a:pt x="18" y="22"/>
                </a:lnTo>
                <a:lnTo>
                  <a:pt x="21" y="23"/>
                </a:lnTo>
                <a:lnTo>
                  <a:pt x="26" y="25"/>
                </a:lnTo>
                <a:lnTo>
                  <a:pt x="26" y="25"/>
                </a:lnTo>
                <a:lnTo>
                  <a:pt x="37" y="25"/>
                </a:lnTo>
                <a:lnTo>
                  <a:pt x="37" y="25"/>
                </a:lnTo>
                <a:lnTo>
                  <a:pt x="37" y="28"/>
                </a:lnTo>
                <a:lnTo>
                  <a:pt x="37" y="28"/>
                </a:lnTo>
                <a:lnTo>
                  <a:pt x="37" y="28"/>
                </a:lnTo>
                <a:lnTo>
                  <a:pt x="37" y="28"/>
                </a:lnTo>
                <a:lnTo>
                  <a:pt x="37" y="28"/>
                </a:lnTo>
                <a:lnTo>
                  <a:pt x="24" y="28"/>
                </a:lnTo>
                <a:lnTo>
                  <a:pt x="24" y="28"/>
                </a:lnTo>
                <a:lnTo>
                  <a:pt x="18" y="26"/>
                </a:lnTo>
                <a:lnTo>
                  <a:pt x="15" y="23"/>
                </a:lnTo>
                <a:lnTo>
                  <a:pt x="14" y="17"/>
                </a:lnTo>
                <a:lnTo>
                  <a:pt x="14" y="11"/>
                </a:lnTo>
                <a:lnTo>
                  <a:pt x="14" y="11"/>
                </a:lnTo>
                <a:lnTo>
                  <a:pt x="14" y="5"/>
                </a:lnTo>
                <a:lnTo>
                  <a:pt x="15" y="0"/>
                </a:lnTo>
                <a:lnTo>
                  <a:pt x="15" y="0"/>
                </a:lnTo>
                <a:lnTo>
                  <a:pt x="23" y="0"/>
                </a:lnTo>
                <a:lnTo>
                  <a:pt x="29" y="3"/>
                </a:lnTo>
                <a:lnTo>
                  <a:pt x="34" y="6"/>
                </a:lnTo>
                <a:lnTo>
                  <a:pt x="40" y="11"/>
                </a:lnTo>
                <a:lnTo>
                  <a:pt x="40" y="11"/>
                </a:lnTo>
                <a:lnTo>
                  <a:pt x="40" y="11"/>
                </a:lnTo>
                <a:lnTo>
                  <a:pt x="37" y="16"/>
                </a:lnTo>
                <a:lnTo>
                  <a:pt x="37" y="22"/>
                </a:lnTo>
                <a:lnTo>
                  <a:pt x="37" y="22"/>
                </a:lnTo>
                <a:lnTo>
                  <a:pt x="28" y="22"/>
                </a:lnTo>
                <a:lnTo>
                  <a:pt x="18" y="22"/>
                </a:lnTo>
                <a:lnTo>
                  <a:pt x="18" y="22"/>
                </a:lnTo>
                <a:close/>
                <a:moveTo>
                  <a:pt x="40" y="26"/>
                </a:moveTo>
                <a:lnTo>
                  <a:pt x="40" y="26"/>
                </a:lnTo>
                <a:lnTo>
                  <a:pt x="40" y="26"/>
                </a:lnTo>
                <a:lnTo>
                  <a:pt x="48" y="26"/>
                </a:lnTo>
                <a:lnTo>
                  <a:pt x="48" y="26"/>
                </a:lnTo>
                <a:lnTo>
                  <a:pt x="48" y="26"/>
                </a:lnTo>
                <a:lnTo>
                  <a:pt x="48" y="26"/>
                </a:lnTo>
                <a:lnTo>
                  <a:pt x="48" y="19"/>
                </a:lnTo>
                <a:lnTo>
                  <a:pt x="46" y="12"/>
                </a:lnTo>
                <a:lnTo>
                  <a:pt x="46" y="12"/>
                </a:lnTo>
                <a:lnTo>
                  <a:pt x="46" y="12"/>
                </a:lnTo>
                <a:lnTo>
                  <a:pt x="46" y="12"/>
                </a:lnTo>
                <a:lnTo>
                  <a:pt x="46" y="12"/>
                </a:lnTo>
                <a:lnTo>
                  <a:pt x="42" y="12"/>
                </a:lnTo>
                <a:lnTo>
                  <a:pt x="42" y="12"/>
                </a:lnTo>
                <a:lnTo>
                  <a:pt x="42" y="12"/>
                </a:lnTo>
                <a:lnTo>
                  <a:pt x="42" y="12"/>
                </a:lnTo>
                <a:lnTo>
                  <a:pt x="42" y="12"/>
                </a:lnTo>
                <a:lnTo>
                  <a:pt x="42" y="12"/>
                </a:lnTo>
                <a:lnTo>
                  <a:pt x="40" y="19"/>
                </a:lnTo>
                <a:lnTo>
                  <a:pt x="40" y="26"/>
                </a:lnTo>
                <a:lnTo>
                  <a:pt x="40" y="26"/>
                </a:lnTo>
                <a:close/>
                <a:moveTo>
                  <a:pt x="51" y="25"/>
                </a:moveTo>
                <a:lnTo>
                  <a:pt x="51" y="25"/>
                </a:lnTo>
                <a:lnTo>
                  <a:pt x="62" y="25"/>
                </a:lnTo>
                <a:lnTo>
                  <a:pt x="62" y="25"/>
                </a:lnTo>
                <a:lnTo>
                  <a:pt x="66" y="23"/>
                </a:lnTo>
                <a:lnTo>
                  <a:pt x="69" y="22"/>
                </a:lnTo>
                <a:lnTo>
                  <a:pt x="69" y="22"/>
                </a:lnTo>
                <a:lnTo>
                  <a:pt x="60" y="22"/>
                </a:lnTo>
                <a:lnTo>
                  <a:pt x="51" y="22"/>
                </a:lnTo>
                <a:lnTo>
                  <a:pt x="51" y="22"/>
                </a:lnTo>
                <a:lnTo>
                  <a:pt x="51" y="19"/>
                </a:lnTo>
                <a:lnTo>
                  <a:pt x="51" y="19"/>
                </a:lnTo>
                <a:lnTo>
                  <a:pt x="49" y="14"/>
                </a:lnTo>
                <a:lnTo>
                  <a:pt x="48" y="9"/>
                </a:lnTo>
                <a:lnTo>
                  <a:pt x="48" y="9"/>
                </a:lnTo>
                <a:lnTo>
                  <a:pt x="54" y="6"/>
                </a:lnTo>
                <a:lnTo>
                  <a:pt x="59" y="3"/>
                </a:lnTo>
                <a:lnTo>
                  <a:pt x="65" y="0"/>
                </a:lnTo>
                <a:lnTo>
                  <a:pt x="72" y="0"/>
                </a:lnTo>
                <a:lnTo>
                  <a:pt x="72" y="0"/>
                </a:lnTo>
                <a:lnTo>
                  <a:pt x="74" y="5"/>
                </a:lnTo>
                <a:lnTo>
                  <a:pt x="74" y="11"/>
                </a:lnTo>
                <a:lnTo>
                  <a:pt x="74" y="11"/>
                </a:lnTo>
                <a:lnTo>
                  <a:pt x="74" y="17"/>
                </a:lnTo>
                <a:lnTo>
                  <a:pt x="72" y="23"/>
                </a:lnTo>
                <a:lnTo>
                  <a:pt x="69" y="26"/>
                </a:lnTo>
                <a:lnTo>
                  <a:pt x="62" y="28"/>
                </a:lnTo>
                <a:lnTo>
                  <a:pt x="62" y="28"/>
                </a:lnTo>
                <a:lnTo>
                  <a:pt x="51" y="28"/>
                </a:lnTo>
                <a:lnTo>
                  <a:pt x="51" y="28"/>
                </a:lnTo>
                <a:lnTo>
                  <a:pt x="51" y="28"/>
                </a:lnTo>
                <a:lnTo>
                  <a:pt x="51" y="25"/>
                </a:lnTo>
                <a:lnTo>
                  <a:pt x="51" y="25"/>
                </a:lnTo>
                <a:close/>
                <a:moveTo>
                  <a:pt x="51" y="33"/>
                </a:moveTo>
                <a:lnTo>
                  <a:pt x="90" y="33"/>
                </a:lnTo>
                <a:lnTo>
                  <a:pt x="90" y="54"/>
                </a:lnTo>
                <a:lnTo>
                  <a:pt x="77" y="54"/>
                </a:lnTo>
                <a:lnTo>
                  <a:pt x="77" y="101"/>
                </a:lnTo>
                <a:lnTo>
                  <a:pt x="51" y="101"/>
                </a:lnTo>
                <a:lnTo>
                  <a:pt x="51" y="101"/>
                </a:lnTo>
                <a:lnTo>
                  <a:pt x="51" y="33"/>
                </a:lnTo>
                <a:lnTo>
                  <a:pt x="51" y="33"/>
                </a:lnTo>
                <a:close/>
              </a:path>
            </a:pathLst>
          </a:custGeom>
          <a:solidFill>
            <a:schemeClr val="accent2"/>
          </a:solidFill>
          <a:ln>
            <a:noFill/>
          </a:ln>
          <a:extLst/>
        </p:spPr>
        <p:txBody>
          <a:bodyPr vert="horz" wrap="square" lIns="84406" tIns="42203" rIns="84406" bIns="42203" numCol="1" anchor="t" anchorCtr="0" compatLnSpc="1">
            <a:prstTxWarp prst="textNoShape">
              <a:avLst/>
            </a:prstTxWarp>
          </a:bodyPr>
          <a:lstStyle/>
          <a:p>
            <a:endParaRPr lang="en-US"/>
          </a:p>
        </p:txBody>
      </p:sp>
      <p:sp>
        <p:nvSpPr>
          <p:cNvPr id="14" name="Freeform 381"/>
          <p:cNvSpPr>
            <a:spLocks noEditPoints="1"/>
          </p:cNvSpPr>
          <p:nvPr/>
        </p:nvSpPr>
        <p:spPr bwMode="auto">
          <a:xfrm>
            <a:off x="556785" y="2733969"/>
            <a:ext cx="608133" cy="687990"/>
          </a:xfrm>
          <a:custGeom>
            <a:avLst/>
            <a:gdLst>
              <a:gd name="T0" fmla="*/ 64 w 99"/>
              <a:gd name="T1" fmla="*/ 62 h 112"/>
              <a:gd name="T2" fmla="*/ 56 w 99"/>
              <a:gd name="T3" fmla="*/ 84 h 112"/>
              <a:gd name="T4" fmla="*/ 58 w 99"/>
              <a:gd name="T5" fmla="*/ 106 h 112"/>
              <a:gd name="T6" fmla="*/ 42 w 99"/>
              <a:gd name="T7" fmla="*/ 112 h 112"/>
              <a:gd name="T8" fmla="*/ 44 w 99"/>
              <a:gd name="T9" fmla="*/ 70 h 112"/>
              <a:gd name="T10" fmla="*/ 45 w 99"/>
              <a:gd name="T11" fmla="*/ 59 h 112"/>
              <a:gd name="T12" fmla="*/ 58 w 99"/>
              <a:gd name="T13" fmla="*/ 64 h 112"/>
              <a:gd name="T14" fmla="*/ 64 w 99"/>
              <a:gd name="T15" fmla="*/ 56 h 112"/>
              <a:gd name="T16" fmla="*/ 39 w 99"/>
              <a:gd name="T17" fmla="*/ 2 h 112"/>
              <a:gd name="T18" fmla="*/ 14 w 99"/>
              <a:gd name="T19" fmla="*/ 14 h 112"/>
              <a:gd name="T20" fmla="*/ 0 w 99"/>
              <a:gd name="T21" fmla="*/ 39 h 112"/>
              <a:gd name="T22" fmla="*/ 2 w 99"/>
              <a:gd name="T23" fmla="*/ 59 h 112"/>
              <a:gd name="T24" fmla="*/ 22 w 99"/>
              <a:gd name="T25" fmla="*/ 87 h 112"/>
              <a:gd name="T26" fmla="*/ 17 w 99"/>
              <a:gd name="T27" fmla="*/ 78 h 112"/>
              <a:gd name="T28" fmla="*/ 8 w 99"/>
              <a:gd name="T29" fmla="*/ 53 h 112"/>
              <a:gd name="T30" fmla="*/ 13 w 99"/>
              <a:gd name="T31" fmla="*/ 36 h 112"/>
              <a:gd name="T32" fmla="*/ 27 w 99"/>
              <a:gd name="T33" fmla="*/ 17 h 112"/>
              <a:gd name="T34" fmla="*/ 50 w 99"/>
              <a:gd name="T35" fmla="*/ 10 h 112"/>
              <a:gd name="T36" fmla="*/ 65 w 99"/>
              <a:gd name="T37" fmla="*/ 13 h 112"/>
              <a:gd name="T38" fmla="*/ 84 w 99"/>
              <a:gd name="T39" fmla="*/ 28 h 112"/>
              <a:gd name="T40" fmla="*/ 90 w 99"/>
              <a:gd name="T41" fmla="*/ 53 h 112"/>
              <a:gd name="T42" fmla="*/ 87 w 99"/>
              <a:gd name="T43" fmla="*/ 70 h 112"/>
              <a:gd name="T44" fmla="*/ 79 w 99"/>
              <a:gd name="T45" fmla="*/ 85 h 112"/>
              <a:gd name="T46" fmla="*/ 93 w 99"/>
              <a:gd name="T47" fmla="*/ 70 h 112"/>
              <a:gd name="T48" fmla="*/ 99 w 99"/>
              <a:gd name="T49" fmla="*/ 48 h 112"/>
              <a:gd name="T50" fmla="*/ 90 w 99"/>
              <a:gd name="T51" fmla="*/ 22 h 112"/>
              <a:gd name="T52" fmla="*/ 68 w 99"/>
              <a:gd name="T53" fmla="*/ 5 h 112"/>
              <a:gd name="T54" fmla="*/ 50 w 99"/>
              <a:gd name="T55" fmla="*/ 0 h 112"/>
              <a:gd name="T56" fmla="*/ 64 w 99"/>
              <a:gd name="T57" fmla="*/ 47 h 112"/>
              <a:gd name="T58" fmla="*/ 68 w 99"/>
              <a:gd name="T59" fmla="*/ 39 h 112"/>
              <a:gd name="T60" fmla="*/ 78 w 99"/>
              <a:gd name="T61" fmla="*/ 34 h 112"/>
              <a:gd name="T62" fmla="*/ 76 w 99"/>
              <a:gd name="T63" fmla="*/ 45 h 112"/>
              <a:gd name="T64" fmla="*/ 65 w 99"/>
              <a:gd name="T65" fmla="*/ 51 h 112"/>
              <a:gd name="T66" fmla="*/ 65 w 99"/>
              <a:gd name="T67" fmla="*/ 65 h 112"/>
              <a:gd name="T68" fmla="*/ 73 w 99"/>
              <a:gd name="T69" fmla="*/ 53 h 112"/>
              <a:gd name="T70" fmla="*/ 82 w 99"/>
              <a:gd name="T71" fmla="*/ 51 h 112"/>
              <a:gd name="T72" fmla="*/ 85 w 99"/>
              <a:gd name="T73" fmla="*/ 54 h 112"/>
              <a:gd name="T74" fmla="*/ 81 w 99"/>
              <a:gd name="T75" fmla="*/ 61 h 112"/>
              <a:gd name="T76" fmla="*/ 65 w 99"/>
              <a:gd name="T77" fmla="*/ 65 h 112"/>
              <a:gd name="T78" fmla="*/ 41 w 99"/>
              <a:gd name="T79" fmla="*/ 72 h 112"/>
              <a:gd name="T80" fmla="*/ 25 w 99"/>
              <a:gd name="T81" fmla="*/ 70 h 112"/>
              <a:gd name="T82" fmla="*/ 20 w 99"/>
              <a:gd name="T83" fmla="*/ 65 h 112"/>
              <a:gd name="T84" fmla="*/ 14 w 99"/>
              <a:gd name="T85" fmla="*/ 47 h 112"/>
              <a:gd name="T86" fmla="*/ 23 w 99"/>
              <a:gd name="T87" fmla="*/ 48 h 112"/>
              <a:gd name="T88" fmla="*/ 34 w 99"/>
              <a:gd name="T89" fmla="*/ 56 h 112"/>
              <a:gd name="T90" fmla="*/ 41 w 99"/>
              <a:gd name="T91" fmla="*/ 72 h 112"/>
              <a:gd name="T92" fmla="*/ 58 w 99"/>
              <a:gd name="T93" fmla="*/ 51 h 112"/>
              <a:gd name="T94" fmla="*/ 53 w 99"/>
              <a:gd name="T95" fmla="*/ 47 h 112"/>
              <a:gd name="T96" fmla="*/ 53 w 99"/>
              <a:gd name="T97" fmla="*/ 36 h 112"/>
              <a:gd name="T98" fmla="*/ 59 w 99"/>
              <a:gd name="T99" fmla="*/ 42 h 112"/>
              <a:gd name="T100" fmla="*/ 61 w 99"/>
              <a:gd name="T101" fmla="*/ 53 h 112"/>
              <a:gd name="T102" fmla="*/ 42 w 99"/>
              <a:gd name="T103" fmla="*/ 54 h 112"/>
              <a:gd name="T104" fmla="*/ 30 w 99"/>
              <a:gd name="T105" fmla="*/ 48 h 112"/>
              <a:gd name="T106" fmla="*/ 27 w 99"/>
              <a:gd name="T107" fmla="*/ 41 h 112"/>
              <a:gd name="T108" fmla="*/ 28 w 99"/>
              <a:gd name="T109" fmla="*/ 22 h 112"/>
              <a:gd name="T110" fmla="*/ 37 w 99"/>
              <a:gd name="T111" fmla="*/ 27 h 112"/>
              <a:gd name="T112" fmla="*/ 42 w 99"/>
              <a:gd name="T113" fmla="*/ 37 h 112"/>
              <a:gd name="T114" fmla="*/ 42 w 99"/>
              <a:gd name="T115" fmla="*/ 5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112">
                <a:moveTo>
                  <a:pt x="64" y="56"/>
                </a:moveTo>
                <a:lnTo>
                  <a:pt x="64" y="56"/>
                </a:lnTo>
                <a:lnTo>
                  <a:pt x="64" y="62"/>
                </a:lnTo>
                <a:lnTo>
                  <a:pt x="62" y="68"/>
                </a:lnTo>
                <a:lnTo>
                  <a:pt x="61" y="76"/>
                </a:lnTo>
                <a:lnTo>
                  <a:pt x="56" y="84"/>
                </a:lnTo>
                <a:lnTo>
                  <a:pt x="56" y="84"/>
                </a:lnTo>
                <a:lnTo>
                  <a:pt x="58" y="98"/>
                </a:lnTo>
                <a:lnTo>
                  <a:pt x="58" y="106"/>
                </a:lnTo>
                <a:lnTo>
                  <a:pt x="58" y="112"/>
                </a:lnTo>
                <a:lnTo>
                  <a:pt x="42" y="112"/>
                </a:lnTo>
                <a:lnTo>
                  <a:pt x="42" y="112"/>
                </a:lnTo>
                <a:lnTo>
                  <a:pt x="44" y="101"/>
                </a:lnTo>
                <a:lnTo>
                  <a:pt x="45" y="85"/>
                </a:lnTo>
                <a:lnTo>
                  <a:pt x="44" y="70"/>
                </a:lnTo>
                <a:lnTo>
                  <a:pt x="41" y="59"/>
                </a:lnTo>
                <a:lnTo>
                  <a:pt x="45" y="59"/>
                </a:lnTo>
                <a:lnTo>
                  <a:pt x="45" y="59"/>
                </a:lnTo>
                <a:lnTo>
                  <a:pt x="53" y="75"/>
                </a:lnTo>
                <a:lnTo>
                  <a:pt x="53" y="75"/>
                </a:lnTo>
                <a:lnTo>
                  <a:pt x="58" y="64"/>
                </a:lnTo>
                <a:lnTo>
                  <a:pt x="61" y="54"/>
                </a:lnTo>
                <a:lnTo>
                  <a:pt x="64" y="56"/>
                </a:lnTo>
                <a:lnTo>
                  <a:pt x="64" y="56"/>
                </a:lnTo>
                <a:close/>
                <a:moveTo>
                  <a:pt x="50" y="0"/>
                </a:moveTo>
                <a:lnTo>
                  <a:pt x="50" y="0"/>
                </a:lnTo>
                <a:lnTo>
                  <a:pt x="39" y="2"/>
                </a:lnTo>
                <a:lnTo>
                  <a:pt x="30" y="5"/>
                </a:lnTo>
                <a:lnTo>
                  <a:pt x="22" y="8"/>
                </a:lnTo>
                <a:lnTo>
                  <a:pt x="14" y="14"/>
                </a:lnTo>
                <a:lnTo>
                  <a:pt x="8" y="22"/>
                </a:lnTo>
                <a:lnTo>
                  <a:pt x="3" y="30"/>
                </a:lnTo>
                <a:lnTo>
                  <a:pt x="0" y="39"/>
                </a:lnTo>
                <a:lnTo>
                  <a:pt x="0" y="48"/>
                </a:lnTo>
                <a:lnTo>
                  <a:pt x="0" y="48"/>
                </a:lnTo>
                <a:lnTo>
                  <a:pt x="2" y="59"/>
                </a:lnTo>
                <a:lnTo>
                  <a:pt x="6" y="70"/>
                </a:lnTo>
                <a:lnTo>
                  <a:pt x="13" y="79"/>
                </a:lnTo>
                <a:lnTo>
                  <a:pt x="22" y="87"/>
                </a:lnTo>
                <a:lnTo>
                  <a:pt x="22" y="85"/>
                </a:lnTo>
                <a:lnTo>
                  <a:pt x="22" y="85"/>
                </a:lnTo>
                <a:lnTo>
                  <a:pt x="17" y="78"/>
                </a:lnTo>
                <a:lnTo>
                  <a:pt x="13" y="70"/>
                </a:lnTo>
                <a:lnTo>
                  <a:pt x="10" y="62"/>
                </a:lnTo>
                <a:lnTo>
                  <a:pt x="8" y="53"/>
                </a:lnTo>
                <a:lnTo>
                  <a:pt x="8" y="53"/>
                </a:lnTo>
                <a:lnTo>
                  <a:pt x="10" y="44"/>
                </a:lnTo>
                <a:lnTo>
                  <a:pt x="13" y="36"/>
                </a:lnTo>
                <a:lnTo>
                  <a:pt x="16" y="28"/>
                </a:lnTo>
                <a:lnTo>
                  <a:pt x="20" y="22"/>
                </a:lnTo>
                <a:lnTo>
                  <a:pt x="27" y="17"/>
                </a:lnTo>
                <a:lnTo>
                  <a:pt x="34" y="13"/>
                </a:lnTo>
                <a:lnTo>
                  <a:pt x="42" y="11"/>
                </a:lnTo>
                <a:lnTo>
                  <a:pt x="50" y="10"/>
                </a:lnTo>
                <a:lnTo>
                  <a:pt x="50" y="10"/>
                </a:lnTo>
                <a:lnTo>
                  <a:pt x="58" y="11"/>
                </a:lnTo>
                <a:lnTo>
                  <a:pt x="65" y="13"/>
                </a:lnTo>
                <a:lnTo>
                  <a:pt x="73" y="17"/>
                </a:lnTo>
                <a:lnTo>
                  <a:pt x="79" y="22"/>
                </a:lnTo>
                <a:lnTo>
                  <a:pt x="84" y="28"/>
                </a:lnTo>
                <a:lnTo>
                  <a:pt x="87" y="36"/>
                </a:lnTo>
                <a:lnTo>
                  <a:pt x="90" y="44"/>
                </a:lnTo>
                <a:lnTo>
                  <a:pt x="90" y="53"/>
                </a:lnTo>
                <a:lnTo>
                  <a:pt x="90" y="53"/>
                </a:lnTo>
                <a:lnTo>
                  <a:pt x="90" y="62"/>
                </a:lnTo>
                <a:lnTo>
                  <a:pt x="87" y="70"/>
                </a:lnTo>
                <a:lnTo>
                  <a:pt x="84" y="78"/>
                </a:lnTo>
                <a:lnTo>
                  <a:pt x="78" y="84"/>
                </a:lnTo>
                <a:lnTo>
                  <a:pt x="79" y="85"/>
                </a:lnTo>
                <a:lnTo>
                  <a:pt x="79" y="85"/>
                </a:lnTo>
                <a:lnTo>
                  <a:pt x="87" y="78"/>
                </a:lnTo>
                <a:lnTo>
                  <a:pt x="93" y="70"/>
                </a:lnTo>
                <a:lnTo>
                  <a:pt x="98" y="59"/>
                </a:lnTo>
                <a:lnTo>
                  <a:pt x="99" y="48"/>
                </a:lnTo>
                <a:lnTo>
                  <a:pt x="99" y="48"/>
                </a:lnTo>
                <a:lnTo>
                  <a:pt x="98" y="39"/>
                </a:lnTo>
                <a:lnTo>
                  <a:pt x="95" y="30"/>
                </a:lnTo>
                <a:lnTo>
                  <a:pt x="90" y="22"/>
                </a:lnTo>
                <a:lnTo>
                  <a:pt x="85" y="14"/>
                </a:lnTo>
                <a:lnTo>
                  <a:pt x="78" y="8"/>
                </a:lnTo>
                <a:lnTo>
                  <a:pt x="68" y="5"/>
                </a:lnTo>
                <a:lnTo>
                  <a:pt x="59" y="2"/>
                </a:lnTo>
                <a:lnTo>
                  <a:pt x="50" y="0"/>
                </a:lnTo>
                <a:lnTo>
                  <a:pt x="50" y="0"/>
                </a:lnTo>
                <a:close/>
                <a:moveTo>
                  <a:pt x="65" y="51"/>
                </a:moveTo>
                <a:lnTo>
                  <a:pt x="65" y="51"/>
                </a:lnTo>
                <a:lnTo>
                  <a:pt x="64" y="47"/>
                </a:lnTo>
                <a:lnTo>
                  <a:pt x="65" y="44"/>
                </a:lnTo>
                <a:lnTo>
                  <a:pt x="68" y="39"/>
                </a:lnTo>
                <a:lnTo>
                  <a:pt x="68" y="39"/>
                </a:lnTo>
                <a:lnTo>
                  <a:pt x="75" y="36"/>
                </a:lnTo>
                <a:lnTo>
                  <a:pt x="78" y="34"/>
                </a:lnTo>
                <a:lnTo>
                  <a:pt x="78" y="34"/>
                </a:lnTo>
                <a:lnTo>
                  <a:pt x="78" y="39"/>
                </a:lnTo>
                <a:lnTo>
                  <a:pt x="76" y="45"/>
                </a:lnTo>
                <a:lnTo>
                  <a:pt x="76" y="45"/>
                </a:lnTo>
                <a:lnTo>
                  <a:pt x="73" y="47"/>
                </a:lnTo>
                <a:lnTo>
                  <a:pt x="70" y="50"/>
                </a:lnTo>
                <a:lnTo>
                  <a:pt x="65" y="51"/>
                </a:lnTo>
                <a:lnTo>
                  <a:pt x="65" y="51"/>
                </a:lnTo>
                <a:close/>
                <a:moveTo>
                  <a:pt x="65" y="65"/>
                </a:moveTo>
                <a:lnTo>
                  <a:pt x="65" y="65"/>
                </a:lnTo>
                <a:lnTo>
                  <a:pt x="65" y="61"/>
                </a:lnTo>
                <a:lnTo>
                  <a:pt x="68" y="56"/>
                </a:lnTo>
                <a:lnTo>
                  <a:pt x="73" y="53"/>
                </a:lnTo>
                <a:lnTo>
                  <a:pt x="73" y="53"/>
                </a:lnTo>
                <a:lnTo>
                  <a:pt x="78" y="51"/>
                </a:lnTo>
                <a:lnTo>
                  <a:pt x="82" y="51"/>
                </a:lnTo>
                <a:lnTo>
                  <a:pt x="85" y="51"/>
                </a:lnTo>
                <a:lnTo>
                  <a:pt x="85" y="51"/>
                </a:lnTo>
                <a:lnTo>
                  <a:pt x="85" y="54"/>
                </a:lnTo>
                <a:lnTo>
                  <a:pt x="84" y="58"/>
                </a:lnTo>
                <a:lnTo>
                  <a:pt x="81" y="61"/>
                </a:lnTo>
                <a:lnTo>
                  <a:pt x="81" y="61"/>
                </a:lnTo>
                <a:lnTo>
                  <a:pt x="76" y="64"/>
                </a:lnTo>
                <a:lnTo>
                  <a:pt x="71" y="65"/>
                </a:lnTo>
                <a:lnTo>
                  <a:pt x="65" y="65"/>
                </a:lnTo>
                <a:lnTo>
                  <a:pt x="65" y="65"/>
                </a:lnTo>
                <a:close/>
                <a:moveTo>
                  <a:pt x="41" y="72"/>
                </a:moveTo>
                <a:lnTo>
                  <a:pt x="41" y="72"/>
                </a:lnTo>
                <a:lnTo>
                  <a:pt x="37" y="72"/>
                </a:lnTo>
                <a:lnTo>
                  <a:pt x="33" y="73"/>
                </a:lnTo>
                <a:lnTo>
                  <a:pt x="25" y="70"/>
                </a:lnTo>
                <a:lnTo>
                  <a:pt x="22" y="68"/>
                </a:lnTo>
                <a:lnTo>
                  <a:pt x="20" y="65"/>
                </a:lnTo>
                <a:lnTo>
                  <a:pt x="20" y="65"/>
                </a:lnTo>
                <a:lnTo>
                  <a:pt x="16" y="58"/>
                </a:lnTo>
                <a:lnTo>
                  <a:pt x="14" y="51"/>
                </a:lnTo>
                <a:lnTo>
                  <a:pt x="14" y="47"/>
                </a:lnTo>
                <a:lnTo>
                  <a:pt x="14" y="47"/>
                </a:lnTo>
                <a:lnTo>
                  <a:pt x="19" y="47"/>
                </a:lnTo>
                <a:lnTo>
                  <a:pt x="23" y="48"/>
                </a:lnTo>
                <a:lnTo>
                  <a:pt x="30" y="51"/>
                </a:lnTo>
                <a:lnTo>
                  <a:pt x="30" y="51"/>
                </a:lnTo>
                <a:lnTo>
                  <a:pt x="34" y="56"/>
                </a:lnTo>
                <a:lnTo>
                  <a:pt x="37" y="64"/>
                </a:lnTo>
                <a:lnTo>
                  <a:pt x="41" y="72"/>
                </a:lnTo>
                <a:lnTo>
                  <a:pt x="41" y="72"/>
                </a:lnTo>
                <a:close/>
                <a:moveTo>
                  <a:pt x="61" y="53"/>
                </a:moveTo>
                <a:lnTo>
                  <a:pt x="61" y="53"/>
                </a:lnTo>
                <a:lnTo>
                  <a:pt x="58" y="51"/>
                </a:lnTo>
                <a:lnTo>
                  <a:pt x="54" y="50"/>
                </a:lnTo>
                <a:lnTo>
                  <a:pt x="53" y="47"/>
                </a:lnTo>
                <a:lnTo>
                  <a:pt x="53" y="47"/>
                </a:lnTo>
                <a:lnTo>
                  <a:pt x="53" y="39"/>
                </a:lnTo>
                <a:lnTo>
                  <a:pt x="53" y="36"/>
                </a:lnTo>
                <a:lnTo>
                  <a:pt x="53" y="36"/>
                </a:lnTo>
                <a:lnTo>
                  <a:pt x="56" y="37"/>
                </a:lnTo>
                <a:lnTo>
                  <a:pt x="59" y="42"/>
                </a:lnTo>
                <a:lnTo>
                  <a:pt x="59" y="42"/>
                </a:lnTo>
                <a:lnTo>
                  <a:pt x="61" y="45"/>
                </a:lnTo>
                <a:lnTo>
                  <a:pt x="61" y="48"/>
                </a:lnTo>
                <a:lnTo>
                  <a:pt x="61" y="53"/>
                </a:lnTo>
                <a:lnTo>
                  <a:pt x="61" y="53"/>
                </a:lnTo>
                <a:close/>
                <a:moveTo>
                  <a:pt x="42" y="54"/>
                </a:moveTo>
                <a:lnTo>
                  <a:pt x="42" y="54"/>
                </a:lnTo>
                <a:lnTo>
                  <a:pt x="41" y="54"/>
                </a:lnTo>
                <a:lnTo>
                  <a:pt x="36" y="51"/>
                </a:lnTo>
                <a:lnTo>
                  <a:pt x="30" y="48"/>
                </a:lnTo>
                <a:lnTo>
                  <a:pt x="28" y="45"/>
                </a:lnTo>
                <a:lnTo>
                  <a:pt x="27" y="41"/>
                </a:lnTo>
                <a:lnTo>
                  <a:pt x="27" y="41"/>
                </a:lnTo>
                <a:lnTo>
                  <a:pt x="27" y="33"/>
                </a:lnTo>
                <a:lnTo>
                  <a:pt x="27" y="27"/>
                </a:lnTo>
                <a:lnTo>
                  <a:pt x="28" y="22"/>
                </a:lnTo>
                <a:lnTo>
                  <a:pt x="28" y="22"/>
                </a:lnTo>
                <a:lnTo>
                  <a:pt x="33" y="24"/>
                </a:lnTo>
                <a:lnTo>
                  <a:pt x="37" y="27"/>
                </a:lnTo>
                <a:lnTo>
                  <a:pt x="41" y="31"/>
                </a:lnTo>
                <a:lnTo>
                  <a:pt x="41" y="31"/>
                </a:lnTo>
                <a:lnTo>
                  <a:pt x="42" y="37"/>
                </a:lnTo>
                <a:lnTo>
                  <a:pt x="44" y="45"/>
                </a:lnTo>
                <a:lnTo>
                  <a:pt x="42" y="54"/>
                </a:lnTo>
                <a:lnTo>
                  <a:pt x="42" y="54"/>
                </a:lnTo>
                <a:close/>
              </a:path>
            </a:pathLst>
          </a:custGeom>
          <a:solidFill>
            <a:schemeClr val="accent6"/>
          </a:solidFill>
          <a:ln>
            <a:noFill/>
          </a:ln>
          <a:extLst/>
        </p:spPr>
        <p:txBody>
          <a:bodyPr vert="horz" wrap="square" lIns="84406" tIns="42203" rIns="84406" bIns="42203" numCol="1" anchor="t" anchorCtr="0" compatLnSpc="1">
            <a:prstTxWarp prst="textNoShape">
              <a:avLst/>
            </a:prstTxWarp>
          </a:bodyPr>
          <a:lstStyle/>
          <a:p>
            <a:endParaRPr lang="en-US" u="sng"/>
          </a:p>
        </p:txBody>
      </p:sp>
      <p:sp>
        <p:nvSpPr>
          <p:cNvPr id="15" name="Freeform 71"/>
          <p:cNvSpPr>
            <a:spLocks noEditPoints="1"/>
          </p:cNvSpPr>
          <p:nvPr/>
        </p:nvSpPr>
        <p:spPr bwMode="auto">
          <a:xfrm>
            <a:off x="558695" y="4531090"/>
            <a:ext cx="604311" cy="658757"/>
          </a:xfrm>
          <a:custGeom>
            <a:avLst/>
            <a:gdLst>
              <a:gd name="T0" fmla="*/ 67 w 111"/>
              <a:gd name="T1" fmla="*/ 0 h 121"/>
              <a:gd name="T2" fmla="*/ 94 w 111"/>
              <a:gd name="T3" fmla="*/ 16 h 121"/>
              <a:gd name="T4" fmla="*/ 110 w 111"/>
              <a:gd name="T5" fmla="*/ 44 h 121"/>
              <a:gd name="T6" fmla="*/ 110 w 111"/>
              <a:gd name="T7" fmla="*/ 67 h 121"/>
              <a:gd name="T8" fmla="*/ 93 w 111"/>
              <a:gd name="T9" fmla="*/ 96 h 121"/>
              <a:gd name="T10" fmla="*/ 102 w 111"/>
              <a:gd name="T11" fmla="*/ 81 h 121"/>
              <a:gd name="T12" fmla="*/ 105 w 111"/>
              <a:gd name="T13" fmla="*/ 64 h 121"/>
              <a:gd name="T14" fmla="*/ 97 w 111"/>
              <a:gd name="T15" fmla="*/ 36 h 121"/>
              <a:gd name="T16" fmla="*/ 74 w 111"/>
              <a:gd name="T17" fmla="*/ 17 h 121"/>
              <a:gd name="T18" fmla="*/ 56 w 111"/>
              <a:gd name="T19" fmla="*/ 14 h 121"/>
              <a:gd name="T20" fmla="*/ 28 w 111"/>
              <a:gd name="T21" fmla="*/ 22 h 121"/>
              <a:gd name="T22" fmla="*/ 9 w 111"/>
              <a:gd name="T23" fmla="*/ 45 h 121"/>
              <a:gd name="T24" fmla="*/ 6 w 111"/>
              <a:gd name="T25" fmla="*/ 64 h 121"/>
              <a:gd name="T26" fmla="*/ 12 w 111"/>
              <a:gd name="T27" fmla="*/ 89 h 121"/>
              <a:gd name="T28" fmla="*/ 11 w 111"/>
              <a:gd name="T29" fmla="*/ 89 h 121"/>
              <a:gd name="T30" fmla="*/ 0 w 111"/>
              <a:gd name="T31" fmla="*/ 56 h 121"/>
              <a:gd name="T32" fmla="*/ 5 w 111"/>
              <a:gd name="T33" fmla="*/ 34 h 121"/>
              <a:gd name="T34" fmla="*/ 25 w 111"/>
              <a:gd name="T35" fmla="*/ 10 h 121"/>
              <a:gd name="T36" fmla="*/ 56 w 111"/>
              <a:gd name="T37" fmla="*/ 0 h 121"/>
              <a:gd name="T38" fmla="*/ 67 w 111"/>
              <a:gd name="T39" fmla="*/ 89 h 121"/>
              <a:gd name="T40" fmla="*/ 76 w 111"/>
              <a:gd name="T41" fmla="*/ 76 h 121"/>
              <a:gd name="T42" fmla="*/ 76 w 111"/>
              <a:gd name="T43" fmla="*/ 62 h 121"/>
              <a:gd name="T44" fmla="*/ 56 w 111"/>
              <a:gd name="T45" fmla="*/ 48 h 121"/>
              <a:gd name="T46" fmla="*/ 40 w 111"/>
              <a:gd name="T47" fmla="*/ 54 h 121"/>
              <a:gd name="T48" fmla="*/ 34 w 111"/>
              <a:gd name="T49" fmla="*/ 70 h 121"/>
              <a:gd name="T50" fmla="*/ 40 w 111"/>
              <a:gd name="T51" fmla="*/ 85 h 121"/>
              <a:gd name="T52" fmla="*/ 67 w 111"/>
              <a:gd name="T53" fmla="*/ 121 h 121"/>
              <a:gd name="T54" fmla="*/ 56 w 111"/>
              <a:gd name="T55" fmla="*/ 27 h 121"/>
              <a:gd name="T56" fmla="*/ 40 w 111"/>
              <a:gd name="T57" fmla="*/ 30 h 121"/>
              <a:gd name="T58" fmla="*/ 23 w 111"/>
              <a:gd name="T59" fmla="*/ 44 h 121"/>
              <a:gd name="T60" fmla="*/ 17 w 111"/>
              <a:gd name="T61" fmla="*/ 65 h 121"/>
              <a:gd name="T62" fmla="*/ 22 w 111"/>
              <a:gd name="T63" fmla="*/ 82 h 121"/>
              <a:gd name="T64" fmla="*/ 34 w 111"/>
              <a:gd name="T65" fmla="*/ 96 h 121"/>
              <a:gd name="T66" fmla="*/ 23 w 111"/>
              <a:gd name="T67" fmla="*/ 78 h 121"/>
              <a:gd name="T68" fmla="*/ 23 w 111"/>
              <a:gd name="T69" fmla="*/ 64 h 121"/>
              <a:gd name="T70" fmla="*/ 32 w 111"/>
              <a:gd name="T71" fmla="*/ 47 h 121"/>
              <a:gd name="T72" fmla="*/ 49 w 111"/>
              <a:gd name="T73" fmla="*/ 37 h 121"/>
              <a:gd name="T74" fmla="*/ 62 w 111"/>
              <a:gd name="T75" fmla="*/ 37 h 121"/>
              <a:gd name="T76" fmla="*/ 79 w 111"/>
              <a:gd name="T77" fmla="*/ 47 h 121"/>
              <a:gd name="T78" fmla="*/ 88 w 111"/>
              <a:gd name="T79" fmla="*/ 64 h 121"/>
              <a:gd name="T80" fmla="*/ 88 w 111"/>
              <a:gd name="T81" fmla="*/ 78 h 121"/>
              <a:gd name="T82" fmla="*/ 77 w 111"/>
              <a:gd name="T83" fmla="*/ 96 h 121"/>
              <a:gd name="T84" fmla="*/ 90 w 111"/>
              <a:gd name="T85" fmla="*/ 82 h 121"/>
              <a:gd name="T86" fmla="*/ 94 w 111"/>
              <a:gd name="T87" fmla="*/ 65 h 121"/>
              <a:gd name="T88" fmla="*/ 87 w 111"/>
              <a:gd name="T89" fmla="*/ 44 h 121"/>
              <a:gd name="T90" fmla="*/ 71 w 111"/>
              <a:gd name="T91" fmla="*/ 30 h 121"/>
              <a:gd name="T92" fmla="*/ 56 w 111"/>
              <a:gd name="T93" fmla="*/ 2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 h="121">
                <a:moveTo>
                  <a:pt x="56" y="0"/>
                </a:moveTo>
                <a:lnTo>
                  <a:pt x="56" y="0"/>
                </a:lnTo>
                <a:lnTo>
                  <a:pt x="67" y="0"/>
                </a:lnTo>
                <a:lnTo>
                  <a:pt x="77" y="5"/>
                </a:lnTo>
                <a:lnTo>
                  <a:pt x="87" y="10"/>
                </a:lnTo>
                <a:lnTo>
                  <a:pt x="94" y="16"/>
                </a:lnTo>
                <a:lnTo>
                  <a:pt x="102" y="25"/>
                </a:lnTo>
                <a:lnTo>
                  <a:pt x="107" y="34"/>
                </a:lnTo>
                <a:lnTo>
                  <a:pt x="110" y="44"/>
                </a:lnTo>
                <a:lnTo>
                  <a:pt x="111" y="56"/>
                </a:lnTo>
                <a:lnTo>
                  <a:pt x="111" y="56"/>
                </a:lnTo>
                <a:lnTo>
                  <a:pt x="110" y="67"/>
                </a:lnTo>
                <a:lnTo>
                  <a:pt x="107" y="78"/>
                </a:lnTo>
                <a:lnTo>
                  <a:pt x="101" y="89"/>
                </a:lnTo>
                <a:lnTo>
                  <a:pt x="93" y="96"/>
                </a:lnTo>
                <a:lnTo>
                  <a:pt x="93" y="96"/>
                </a:lnTo>
                <a:lnTo>
                  <a:pt x="99" y="89"/>
                </a:lnTo>
                <a:lnTo>
                  <a:pt x="102" y="81"/>
                </a:lnTo>
                <a:lnTo>
                  <a:pt x="105" y="73"/>
                </a:lnTo>
                <a:lnTo>
                  <a:pt x="105" y="64"/>
                </a:lnTo>
                <a:lnTo>
                  <a:pt x="105" y="64"/>
                </a:lnTo>
                <a:lnTo>
                  <a:pt x="104" y="54"/>
                </a:lnTo>
                <a:lnTo>
                  <a:pt x="102" y="45"/>
                </a:lnTo>
                <a:lnTo>
                  <a:pt x="97" y="36"/>
                </a:lnTo>
                <a:lnTo>
                  <a:pt x="91" y="28"/>
                </a:lnTo>
                <a:lnTo>
                  <a:pt x="84" y="22"/>
                </a:lnTo>
                <a:lnTo>
                  <a:pt x="74" y="17"/>
                </a:lnTo>
                <a:lnTo>
                  <a:pt x="65" y="14"/>
                </a:lnTo>
                <a:lnTo>
                  <a:pt x="56" y="14"/>
                </a:lnTo>
                <a:lnTo>
                  <a:pt x="56" y="14"/>
                </a:lnTo>
                <a:lnTo>
                  <a:pt x="45" y="14"/>
                </a:lnTo>
                <a:lnTo>
                  <a:pt x="36" y="17"/>
                </a:lnTo>
                <a:lnTo>
                  <a:pt x="28" y="22"/>
                </a:lnTo>
                <a:lnTo>
                  <a:pt x="20" y="28"/>
                </a:lnTo>
                <a:lnTo>
                  <a:pt x="14" y="36"/>
                </a:lnTo>
                <a:lnTo>
                  <a:pt x="9" y="45"/>
                </a:lnTo>
                <a:lnTo>
                  <a:pt x="6" y="54"/>
                </a:lnTo>
                <a:lnTo>
                  <a:pt x="6" y="64"/>
                </a:lnTo>
                <a:lnTo>
                  <a:pt x="6" y="64"/>
                </a:lnTo>
                <a:lnTo>
                  <a:pt x="6" y="73"/>
                </a:lnTo>
                <a:lnTo>
                  <a:pt x="9" y="81"/>
                </a:lnTo>
                <a:lnTo>
                  <a:pt x="12" y="89"/>
                </a:lnTo>
                <a:lnTo>
                  <a:pt x="19" y="96"/>
                </a:lnTo>
                <a:lnTo>
                  <a:pt x="19" y="96"/>
                </a:lnTo>
                <a:lnTo>
                  <a:pt x="11" y="89"/>
                </a:lnTo>
                <a:lnTo>
                  <a:pt x="5" y="78"/>
                </a:lnTo>
                <a:lnTo>
                  <a:pt x="1" y="67"/>
                </a:lnTo>
                <a:lnTo>
                  <a:pt x="0" y="56"/>
                </a:lnTo>
                <a:lnTo>
                  <a:pt x="0" y="56"/>
                </a:lnTo>
                <a:lnTo>
                  <a:pt x="1" y="44"/>
                </a:lnTo>
                <a:lnTo>
                  <a:pt x="5" y="34"/>
                </a:lnTo>
                <a:lnTo>
                  <a:pt x="9" y="25"/>
                </a:lnTo>
                <a:lnTo>
                  <a:pt x="17" y="16"/>
                </a:lnTo>
                <a:lnTo>
                  <a:pt x="25" y="10"/>
                </a:lnTo>
                <a:lnTo>
                  <a:pt x="34" y="5"/>
                </a:lnTo>
                <a:lnTo>
                  <a:pt x="45" y="0"/>
                </a:lnTo>
                <a:lnTo>
                  <a:pt x="56" y="0"/>
                </a:lnTo>
                <a:lnTo>
                  <a:pt x="56" y="0"/>
                </a:lnTo>
                <a:close/>
                <a:moveTo>
                  <a:pt x="67" y="89"/>
                </a:moveTo>
                <a:lnTo>
                  <a:pt x="67" y="89"/>
                </a:lnTo>
                <a:lnTo>
                  <a:pt x="71" y="85"/>
                </a:lnTo>
                <a:lnTo>
                  <a:pt x="74" y="81"/>
                </a:lnTo>
                <a:lnTo>
                  <a:pt x="76" y="76"/>
                </a:lnTo>
                <a:lnTo>
                  <a:pt x="77" y="70"/>
                </a:lnTo>
                <a:lnTo>
                  <a:pt x="77" y="70"/>
                </a:lnTo>
                <a:lnTo>
                  <a:pt x="76" y="62"/>
                </a:lnTo>
                <a:lnTo>
                  <a:pt x="71" y="54"/>
                </a:lnTo>
                <a:lnTo>
                  <a:pt x="63" y="50"/>
                </a:lnTo>
                <a:lnTo>
                  <a:pt x="56" y="48"/>
                </a:lnTo>
                <a:lnTo>
                  <a:pt x="56" y="48"/>
                </a:lnTo>
                <a:lnTo>
                  <a:pt x="46" y="50"/>
                </a:lnTo>
                <a:lnTo>
                  <a:pt x="40" y="54"/>
                </a:lnTo>
                <a:lnTo>
                  <a:pt x="36" y="62"/>
                </a:lnTo>
                <a:lnTo>
                  <a:pt x="34" y="70"/>
                </a:lnTo>
                <a:lnTo>
                  <a:pt x="34" y="70"/>
                </a:lnTo>
                <a:lnTo>
                  <a:pt x="34" y="76"/>
                </a:lnTo>
                <a:lnTo>
                  <a:pt x="37" y="81"/>
                </a:lnTo>
                <a:lnTo>
                  <a:pt x="40" y="85"/>
                </a:lnTo>
                <a:lnTo>
                  <a:pt x="45" y="89"/>
                </a:lnTo>
                <a:lnTo>
                  <a:pt x="45" y="121"/>
                </a:lnTo>
                <a:lnTo>
                  <a:pt x="67" y="121"/>
                </a:lnTo>
                <a:lnTo>
                  <a:pt x="67" y="89"/>
                </a:lnTo>
                <a:lnTo>
                  <a:pt x="67" y="89"/>
                </a:lnTo>
                <a:close/>
                <a:moveTo>
                  <a:pt x="56" y="27"/>
                </a:moveTo>
                <a:lnTo>
                  <a:pt x="56" y="27"/>
                </a:lnTo>
                <a:lnTo>
                  <a:pt x="48" y="27"/>
                </a:lnTo>
                <a:lnTo>
                  <a:pt x="40" y="30"/>
                </a:lnTo>
                <a:lnTo>
                  <a:pt x="34" y="33"/>
                </a:lnTo>
                <a:lnTo>
                  <a:pt x="28" y="37"/>
                </a:lnTo>
                <a:lnTo>
                  <a:pt x="23" y="44"/>
                </a:lnTo>
                <a:lnTo>
                  <a:pt x="20" y="50"/>
                </a:lnTo>
                <a:lnTo>
                  <a:pt x="19" y="58"/>
                </a:lnTo>
                <a:lnTo>
                  <a:pt x="17" y="65"/>
                </a:lnTo>
                <a:lnTo>
                  <a:pt x="17" y="65"/>
                </a:lnTo>
                <a:lnTo>
                  <a:pt x="19" y="75"/>
                </a:lnTo>
                <a:lnTo>
                  <a:pt x="22" y="82"/>
                </a:lnTo>
                <a:lnTo>
                  <a:pt x="28" y="90"/>
                </a:lnTo>
                <a:lnTo>
                  <a:pt x="34" y="96"/>
                </a:lnTo>
                <a:lnTo>
                  <a:pt x="34" y="96"/>
                </a:lnTo>
                <a:lnTo>
                  <a:pt x="29" y="92"/>
                </a:lnTo>
                <a:lnTo>
                  <a:pt x="25" y="85"/>
                </a:lnTo>
                <a:lnTo>
                  <a:pt x="23" y="78"/>
                </a:lnTo>
                <a:lnTo>
                  <a:pt x="22" y="70"/>
                </a:lnTo>
                <a:lnTo>
                  <a:pt x="22" y="70"/>
                </a:lnTo>
                <a:lnTo>
                  <a:pt x="23" y="64"/>
                </a:lnTo>
                <a:lnTo>
                  <a:pt x="25" y="58"/>
                </a:lnTo>
                <a:lnTo>
                  <a:pt x="28" y="51"/>
                </a:lnTo>
                <a:lnTo>
                  <a:pt x="32" y="47"/>
                </a:lnTo>
                <a:lnTo>
                  <a:pt x="37" y="42"/>
                </a:lnTo>
                <a:lnTo>
                  <a:pt x="43" y="39"/>
                </a:lnTo>
                <a:lnTo>
                  <a:pt x="49" y="37"/>
                </a:lnTo>
                <a:lnTo>
                  <a:pt x="56" y="37"/>
                </a:lnTo>
                <a:lnTo>
                  <a:pt x="56" y="37"/>
                </a:lnTo>
                <a:lnTo>
                  <a:pt x="62" y="37"/>
                </a:lnTo>
                <a:lnTo>
                  <a:pt x="68" y="39"/>
                </a:lnTo>
                <a:lnTo>
                  <a:pt x="74" y="42"/>
                </a:lnTo>
                <a:lnTo>
                  <a:pt x="79" y="47"/>
                </a:lnTo>
                <a:lnTo>
                  <a:pt x="84" y="51"/>
                </a:lnTo>
                <a:lnTo>
                  <a:pt x="87" y="58"/>
                </a:lnTo>
                <a:lnTo>
                  <a:pt x="88" y="64"/>
                </a:lnTo>
                <a:lnTo>
                  <a:pt x="90" y="70"/>
                </a:lnTo>
                <a:lnTo>
                  <a:pt x="90" y="70"/>
                </a:lnTo>
                <a:lnTo>
                  <a:pt x="88" y="78"/>
                </a:lnTo>
                <a:lnTo>
                  <a:pt x="85" y="85"/>
                </a:lnTo>
                <a:lnTo>
                  <a:pt x="82" y="92"/>
                </a:lnTo>
                <a:lnTo>
                  <a:pt x="77" y="96"/>
                </a:lnTo>
                <a:lnTo>
                  <a:pt x="77" y="96"/>
                </a:lnTo>
                <a:lnTo>
                  <a:pt x="84" y="90"/>
                </a:lnTo>
                <a:lnTo>
                  <a:pt x="90" y="82"/>
                </a:lnTo>
                <a:lnTo>
                  <a:pt x="93" y="75"/>
                </a:lnTo>
                <a:lnTo>
                  <a:pt x="94" y="65"/>
                </a:lnTo>
                <a:lnTo>
                  <a:pt x="94" y="65"/>
                </a:lnTo>
                <a:lnTo>
                  <a:pt x="93" y="58"/>
                </a:lnTo>
                <a:lnTo>
                  <a:pt x="91" y="50"/>
                </a:lnTo>
                <a:lnTo>
                  <a:pt x="87" y="44"/>
                </a:lnTo>
                <a:lnTo>
                  <a:pt x="82" y="37"/>
                </a:lnTo>
                <a:lnTo>
                  <a:pt x="77" y="33"/>
                </a:lnTo>
                <a:lnTo>
                  <a:pt x="71" y="30"/>
                </a:lnTo>
                <a:lnTo>
                  <a:pt x="63" y="27"/>
                </a:lnTo>
                <a:lnTo>
                  <a:pt x="56" y="27"/>
                </a:lnTo>
                <a:lnTo>
                  <a:pt x="56" y="27"/>
                </a:lnTo>
                <a:close/>
              </a:path>
            </a:pathLst>
          </a:custGeom>
          <a:solidFill>
            <a:srgbClr val="00B050"/>
          </a:solidFill>
          <a:ln>
            <a:noFill/>
          </a:ln>
          <a:extLst/>
        </p:spPr>
        <p:txBody>
          <a:bodyPr vert="horz" wrap="square" lIns="84406" tIns="42203" rIns="84406" bIns="42203" numCol="1" anchor="t" anchorCtr="0" compatLnSpc="1">
            <a:prstTxWarp prst="textNoShape">
              <a:avLst/>
            </a:prstTxWarp>
          </a:bodyPr>
          <a:lstStyle/>
          <a:p>
            <a:endParaRPr lang="en-US"/>
          </a:p>
        </p:txBody>
      </p:sp>
      <p:sp>
        <p:nvSpPr>
          <p:cNvPr id="16" name="Freeform 337"/>
          <p:cNvSpPr>
            <a:spLocks noEditPoints="1"/>
          </p:cNvSpPr>
          <p:nvPr/>
        </p:nvSpPr>
        <p:spPr bwMode="auto">
          <a:xfrm>
            <a:off x="498382" y="5476137"/>
            <a:ext cx="724939" cy="584826"/>
          </a:xfrm>
          <a:custGeom>
            <a:avLst/>
            <a:gdLst>
              <a:gd name="T0" fmla="*/ 28 w 119"/>
              <a:gd name="T1" fmla="*/ 2 h 96"/>
              <a:gd name="T2" fmla="*/ 0 w 119"/>
              <a:gd name="T3" fmla="*/ 93 h 96"/>
              <a:gd name="T4" fmla="*/ 0 w 119"/>
              <a:gd name="T5" fmla="*/ 2 h 96"/>
              <a:gd name="T6" fmla="*/ 90 w 119"/>
              <a:gd name="T7" fmla="*/ 0 h 96"/>
              <a:gd name="T8" fmla="*/ 93 w 119"/>
              <a:gd name="T9" fmla="*/ 96 h 96"/>
              <a:gd name="T10" fmla="*/ 63 w 119"/>
              <a:gd name="T11" fmla="*/ 10 h 96"/>
              <a:gd name="T12" fmla="*/ 96 w 119"/>
              <a:gd name="T13" fmla="*/ 61 h 96"/>
              <a:gd name="T14" fmla="*/ 90 w 119"/>
              <a:gd name="T15" fmla="*/ 65 h 96"/>
              <a:gd name="T16" fmla="*/ 90 w 119"/>
              <a:gd name="T17" fmla="*/ 73 h 96"/>
              <a:gd name="T18" fmla="*/ 91 w 119"/>
              <a:gd name="T19" fmla="*/ 76 h 96"/>
              <a:gd name="T20" fmla="*/ 97 w 119"/>
              <a:gd name="T21" fmla="*/ 79 h 96"/>
              <a:gd name="T22" fmla="*/ 102 w 119"/>
              <a:gd name="T23" fmla="*/ 79 h 96"/>
              <a:gd name="T24" fmla="*/ 107 w 119"/>
              <a:gd name="T25" fmla="*/ 75 h 96"/>
              <a:gd name="T26" fmla="*/ 108 w 119"/>
              <a:gd name="T27" fmla="*/ 67 h 96"/>
              <a:gd name="T28" fmla="*/ 105 w 119"/>
              <a:gd name="T29" fmla="*/ 64 h 96"/>
              <a:gd name="T30" fmla="*/ 99 w 119"/>
              <a:gd name="T31" fmla="*/ 61 h 96"/>
              <a:gd name="T32" fmla="*/ 96 w 119"/>
              <a:gd name="T33" fmla="*/ 61 h 96"/>
              <a:gd name="T34" fmla="*/ 77 w 119"/>
              <a:gd name="T35" fmla="*/ 36 h 96"/>
              <a:gd name="T36" fmla="*/ 94 w 119"/>
              <a:gd name="T37" fmla="*/ 24 h 96"/>
              <a:gd name="T38" fmla="*/ 74 w 119"/>
              <a:gd name="T39" fmla="*/ 30 h 96"/>
              <a:gd name="T40" fmla="*/ 73 w 119"/>
              <a:gd name="T41" fmla="*/ 24 h 96"/>
              <a:gd name="T42" fmla="*/ 90 w 119"/>
              <a:gd name="T43" fmla="*/ 10 h 96"/>
              <a:gd name="T44" fmla="*/ 70 w 119"/>
              <a:gd name="T45" fmla="*/ 16 h 96"/>
              <a:gd name="T46" fmla="*/ 62 w 119"/>
              <a:gd name="T47" fmla="*/ 2 h 96"/>
              <a:gd name="T48" fmla="*/ 32 w 119"/>
              <a:gd name="T49" fmla="*/ 93 h 96"/>
              <a:gd name="T50" fmla="*/ 32 w 119"/>
              <a:gd name="T51" fmla="*/ 2 h 96"/>
              <a:gd name="T52" fmla="*/ 46 w 119"/>
              <a:gd name="T53" fmla="*/ 62 h 96"/>
              <a:gd name="T54" fmla="*/ 40 w 119"/>
              <a:gd name="T55" fmla="*/ 64 h 96"/>
              <a:gd name="T56" fmla="*/ 37 w 119"/>
              <a:gd name="T57" fmla="*/ 72 h 96"/>
              <a:gd name="T58" fmla="*/ 39 w 119"/>
              <a:gd name="T59" fmla="*/ 75 h 96"/>
              <a:gd name="T60" fmla="*/ 43 w 119"/>
              <a:gd name="T61" fmla="*/ 81 h 96"/>
              <a:gd name="T62" fmla="*/ 46 w 119"/>
              <a:gd name="T63" fmla="*/ 81 h 96"/>
              <a:gd name="T64" fmla="*/ 54 w 119"/>
              <a:gd name="T65" fmla="*/ 78 h 96"/>
              <a:gd name="T66" fmla="*/ 56 w 119"/>
              <a:gd name="T67" fmla="*/ 72 h 96"/>
              <a:gd name="T68" fmla="*/ 56 w 119"/>
              <a:gd name="T69" fmla="*/ 67 h 96"/>
              <a:gd name="T70" fmla="*/ 51 w 119"/>
              <a:gd name="T71" fmla="*/ 62 h 96"/>
              <a:gd name="T72" fmla="*/ 46 w 119"/>
              <a:gd name="T73" fmla="*/ 62 h 96"/>
              <a:gd name="T74" fmla="*/ 37 w 119"/>
              <a:gd name="T75" fmla="*/ 31 h 96"/>
              <a:gd name="T76" fmla="*/ 57 w 119"/>
              <a:gd name="T77" fmla="*/ 25 h 96"/>
              <a:gd name="T78" fmla="*/ 37 w 119"/>
              <a:gd name="T79" fmla="*/ 25 h 96"/>
              <a:gd name="T80" fmla="*/ 37 w 119"/>
              <a:gd name="T81" fmla="*/ 17 h 96"/>
              <a:gd name="T82" fmla="*/ 57 w 119"/>
              <a:gd name="T83" fmla="*/ 11 h 96"/>
              <a:gd name="T84" fmla="*/ 37 w 119"/>
              <a:gd name="T85" fmla="*/ 11 h 96"/>
              <a:gd name="T86" fmla="*/ 14 w 119"/>
              <a:gd name="T87" fmla="*/ 62 h 96"/>
              <a:gd name="T88" fmla="*/ 8 w 119"/>
              <a:gd name="T89" fmla="*/ 64 h 96"/>
              <a:gd name="T90" fmla="*/ 4 w 119"/>
              <a:gd name="T91" fmla="*/ 72 h 96"/>
              <a:gd name="T92" fmla="*/ 4 w 119"/>
              <a:gd name="T93" fmla="*/ 75 h 96"/>
              <a:gd name="T94" fmla="*/ 11 w 119"/>
              <a:gd name="T95" fmla="*/ 81 h 96"/>
              <a:gd name="T96" fmla="*/ 14 w 119"/>
              <a:gd name="T97" fmla="*/ 81 h 96"/>
              <a:gd name="T98" fmla="*/ 20 w 119"/>
              <a:gd name="T99" fmla="*/ 78 h 96"/>
              <a:gd name="T100" fmla="*/ 23 w 119"/>
              <a:gd name="T101" fmla="*/ 72 h 96"/>
              <a:gd name="T102" fmla="*/ 23 w 119"/>
              <a:gd name="T103" fmla="*/ 67 h 96"/>
              <a:gd name="T104" fmla="*/ 17 w 119"/>
              <a:gd name="T105" fmla="*/ 62 h 96"/>
              <a:gd name="T106" fmla="*/ 14 w 119"/>
              <a:gd name="T107" fmla="*/ 62 h 96"/>
              <a:gd name="T108" fmla="*/ 4 w 119"/>
              <a:gd name="T109" fmla="*/ 31 h 96"/>
              <a:gd name="T110" fmla="*/ 25 w 119"/>
              <a:gd name="T111" fmla="*/ 25 h 96"/>
              <a:gd name="T112" fmla="*/ 4 w 119"/>
              <a:gd name="T113" fmla="*/ 25 h 96"/>
              <a:gd name="T114" fmla="*/ 4 w 119"/>
              <a:gd name="T115" fmla="*/ 17 h 96"/>
              <a:gd name="T116" fmla="*/ 25 w 119"/>
              <a:gd name="T117"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9" h="96">
                <a:moveTo>
                  <a:pt x="0" y="2"/>
                </a:moveTo>
                <a:lnTo>
                  <a:pt x="28" y="2"/>
                </a:lnTo>
                <a:lnTo>
                  <a:pt x="28" y="93"/>
                </a:lnTo>
                <a:lnTo>
                  <a:pt x="0" y="93"/>
                </a:lnTo>
                <a:lnTo>
                  <a:pt x="0" y="2"/>
                </a:lnTo>
                <a:lnTo>
                  <a:pt x="0" y="2"/>
                </a:lnTo>
                <a:close/>
                <a:moveTo>
                  <a:pt x="63" y="10"/>
                </a:moveTo>
                <a:lnTo>
                  <a:pt x="90" y="0"/>
                </a:lnTo>
                <a:lnTo>
                  <a:pt x="119" y="87"/>
                </a:lnTo>
                <a:lnTo>
                  <a:pt x="93" y="96"/>
                </a:lnTo>
                <a:lnTo>
                  <a:pt x="63" y="10"/>
                </a:lnTo>
                <a:lnTo>
                  <a:pt x="63" y="10"/>
                </a:lnTo>
                <a:close/>
                <a:moveTo>
                  <a:pt x="96" y="61"/>
                </a:moveTo>
                <a:lnTo>
                  <a:pt x="96" y="61"/>
                </a:lnTo>
                <a:lnTo>
                  <a:pt x="93" y="62"/>
                </a:lnTo>
                <a:lnTo>
                  <a:pt x="90" y="65"/>
                </a:lnTo>
                <a:lnTo>
                  <a:pt x="90" y="70"/>
                </a:lnTo>
                <a:lnTo>
                  <a:pt x="90" y="73"/>
                </a:lnTo>
                <a:lnTo>
                  <a:pt x="90" y="73"/>
                </a:lnTo>
                <a:lnTo>
                  <a:pt x="91" y="76"/>
                </a:lnTo>
                <a:lnTo>
                  <a:pt x="94" y="79"/>
                </a:lnTo>
                <a:lnTo>
                  <a:pt x="97" y="79"/>
                </a:lnTo>
                <a:lnTo>
                  <a:pt x="102" y="79"/>
                </a:lnTo>
                <a:lnTo>
                  <a:pt x="102" y="79"/>
                </a:lnTo>
                <a:lnTo>
                  <a:pt x="105" y="78"/>
                </a:lnTo>
                <a:lnTo>
                  <a:pt x="107" y="75"/>
                </a:lnTo>
                <a:lnTo>
                  <a:pt x="108" y="70"/>
                </a:lnTo>
                <a:lnTo>
                  <a:pt x="108" y="67"/>
                </a:lnTo>
                <a:lnTo>
                  <a:pt x="108" y="67"/>
                </a:lnTo>
                <a:lnTo>
                  <a:pt x="105" y="64"/>
                </a:lnTo>
                <a:lnTo>
                  <a:pt x="104" y="61"/>
                </a:lnTo>
                <a:lnTo>
                  <a:pt x="99" y="61"/>
                </a:lnTo>
                <a:lnTo>
                  <a:pt x="96" y="61"/>
                </a:lnTo>
                <a:lnTo>
                  <a:pt x="96" y="61"/>
                </a:lnTo>
                <a:close/>
                <a:moveTo>
                  <a:pt x="74" y="30"/>
                </a:moveTo>
                <a:lnTo>
                  <a:pt x="77" y="36"/>
                </a:lnTo>
                <a:lnTo>
                  <a:pt x="96" y="30"/>
                </a:lnTo>
                <a:lnTo>
                  <a:pt x="94" y="24"/>
                </a:lnTo>
                <a:lnTo>
                  <a:pt x="74" y="30"/>
                </a:lnTo>
                <a:lnTo>
                  <a:pt x="74" y="30"/>
                </a:lnTo>
                <a:close/>
                <a:moveTo>
                  <a:pt x="70" y="16"/>
                </a:moveTo>
                <a:lnTo>
                  <a:pt x="73" y="24"/>
                </a:lnTo>
                <a:lnTo>
                  <a:pt x="91" y="16"/>
                </a:lnTo>
                <a:lnTo>
                  <a:pt x="90" y="10"/>
                </a:lnTo>
                <a:lnTo>
                  <a:pt x="70" y="16"/>
                </a:lnTo>
                <a:lnTo>
                  <a:pt x="70" y="16"/>
                </a:lnTo>
                <a:close/>
                <a:moveTo>
                  <a:pt x="32" y="2"/>
                </a:moveTo>
                <a:lnTo>
                  <a:pt x="62" y="2"/>
                </a:lnTo>
                <a:lnTo>
                  <a:pt x="62" y="93"/>
                </a:lnTo>
                <a:lnTo>
                  <a:pt x="32" y="93"/>
                </a:lnTo>
                <a:lnTo>
                  <a:pt x="32" y="2"/>
                </a:lnTo>
                <a:lnTo>
                  <a:pt x="32" y="2"/>
                </a:lnTo>
                <a:close/>
                <a:moveTo>
                  <a:pt x="46" y="62"/>
                </a:moveTo>
                <a:lnTo>
                  <a:pt x="46" y="62"/>
                </a:lnTo>
                <a:lnTo>
                  <a:pt x="43" y="62"/>
                </a:lnTo>
                <a:lnTo>
                  <a:pt x="40" y="64"/>
                </a:lnTo>
                <a:lnTo>
                  <a:pt x="39" y="67"/>
                </a:lnTo>
                <a:lnTo>
                  <a:pt x="37" y="72"/>
                </a:lnTo>
                <a:lnTo>
                  <a:pt x="37" y="72"/>
                </a:lnTo>
                <a:lnTo>
                  <a:pt x="39" y="75"/>
                </a:lnTo>
                <a:lnTo>
                  <a:pt x="40" y="78"/>
                </a:lnTo>
                <a:lnTo>
                  <a:pt x="43" y="81"/>
                </a:lnTo>
                <a:lnTo>
                  <a:pt x="46" y="81"/>
                </a:lnTo>
                <a:lnTo>
                  <a:pt x="46" y="81"/>
                </a:lnTo>
                <a:lnTo>
                  <a:pt x="51" y="81"/>
                </a:lnTo>
                <a:lnTo>
                  <a:pt x="54" y="78"/>
                </a:lnTo>
                <a:lnTo>
                  <a:pt x="56" y="75"/>
                </a:lnTo>
                <a:lnTo>
                  <a:pt x="56" y="72"/>
                </a:lnTo>
                <a:lnTo>
                  <a:pt x="56" y="72"/>
                </a:lnTo>
                <a:lnTo>
                  <a:pt x="56" y="67"/>
                </a:lnTo>
                <a:lnTo>
                  <a:pt x="54" y="64"/>
                </a:lnTo>
                <a:lnTo>
                  <a:pt x="51" y="62"/>
                </a:lnTo>
                <a:lnTo>
                  <a:pt x="46" y="62"/>
                </a:lnTo>
                <a:lnTo>
                  <a:pt x="46" y="62"/>
                </a:lnTo>
                <a:close/>
                <a:moveTo>
                  <a:pt x="37" y="25"/>
                </a:moveTo>
                <a:lnTo>
                  <a:pt x="37" y="31"/>
                </a:lnTo>
                <a:lnTo>
                  <a:pt x="57" y="31"/>
                </a:lnTo>
                <a:lnTo>
                  <a:pt x="57" y="25"/>
                </a:lnTo>
                <a:lnTo>
                  <a:pt x="37" y="25"/>
                </a:lnTo>
                <a:lnTo>
                  <a:pt x="37" y="25"/>
                </a:lnTo>
                <a:close/>
                <a:moveTo>
                  <a:pt x="37" y="11"/>
                </a:moveTo>
                <a:lnTo>
                  <a:pt x="37" y="17"/>
                </a:lnTo>
                <a:lnTo>
                  <a:pt x="57" y="17"/>
                </a:lnTo>
                <a:lnTo>
                  <a:pt x="57" y="11"/>
                </a:lnTo>
                <a:lnTo>
                  <a:pt x="37" y="11"/>
                </a:lnTo>
                <a:lnTo>
                  <a:pt x="37" y="11"/>
                </a:lnTo>
                <a:close/>
                <a:moveTo>
                  <a:pt x="14" y="62"/>
                </a:moveTo>
                <a:lnTo>
                  <a:pt x="14" y="62"/>
                </a:lnTo>
                <a:lnTo>
                  <a:pt x="11" y="62"/>
                </a:lnTo>
                <a:lnTo>
                  <a:pt x="8" y="64"/>
                </a:lnTo>
                <a:lnTo>
                  <a:pt x="4" y="67"/>
                </a:lnTo>
                <a:lnTo>
                  <a:pt x="4" y="72"/>
                </a:lnTo>
                <a:lnTo>
                  <a:pt x="4" y="72"/>
                </a:lnTo>
                <a:lnTo>
                  <a:pt x="4" y="75"/>
                </a:lnTo>
                <a:lnTo>
                  <a:pt x="8" y="78"/>
                </a:lnTo>
                <a:lnTo>
                  <a:pt x="11" y="81"/>
                </a:lnTo>
                <a:lnTo>
                  <a:pt x="14" y="81"/>
                </a:lnTo>
                <a:lnTo>
                  <a:pt x="14" y="81"/>
                </a:lnTo>
                <a:lnTo>
                  <a:pt x="17" y="81"/>
                </a:lnTo>
                <a:lnTo>
                  <a:pt x="20" y="78"/>
                </a:lnTo>
                <a:lnTo>
                  <a:pt x="23" y="75"/>
                </a:lnTo>
                <a:lnTo>
                  <a:pt x="23" y="72"/>
                </a:lnTo>
                <a:lnTo>
                  <a:pt x="23" y="72"/>
                </a:lnTo>
                <a:lnTo>
                  <a:pt x="23" y="67"/>
                </a:lnTo>
                <a:lnTo>
                  <a:pt x="20" y="64"/>
                </a:lnTo>
                <a:lnTo>
                  <a:pt x="17" y="62"/>
                </a:lnTo>
                <a:lnTo>
                  <a:pt x="14" y="62"/>
                </a:lnTo>
                <a:lnTo>
                  <a:pt x="14" y="62"/>
                </a:lnTo>
                <a:close/>
                <a:moveTo>
                  <a:pt x="4" y="25"/>
                </a:moveTo>
                <a:lnTo>
                  <a:pt x="4" y="31"/>
                </a:lnTo>
                <a:lnTo>
                  <a:pt x="25" y="31"/>
                </a:lnTo>
                <a:lnTo>
                  <a:pt x="25" y="25"/>
                </a:lnTo>
                <a:lnTo>
                  <a:pt x="4" y="25"/>
                </a:lnTo>
                <a:lnTo>
                  <a:pt x="4" y="25"/>
                </a:lnTo>
                <a:close/>
                <a:moveTo>
                  <a:pt x="4" y="11"/>
                </a:moveTo>
                <a:lnTo>
                  <a:pt x="4" y="17"/>
                </a:lnTo>
                <a:lnTo>
                  <a:pt x="25" y="17"/>
                </a:lnTo>
                <a:lnTo>
                  <a:pt x="25" y="11"/>
                </a:lnTo>
                <a:lnTo>
                  <a:pt x="4" y="11"/>
                </a:lnTo>
                <a:close/>
              </a:path>
            </a:pathLst>
          </a:custGeom>
          <a:solidFill>
            <a:schemeClr val="accent1"/>
          </a:solidFill>
          <a:ln>
            <a:noFill/>
          </a:ln>
          <a:extLst/>
        </p:spPr>
        <p:txBody>
          <a:bodyPr vert="horz" wrap="square" lIns="84406" tIns="42203" rIns="84406" bIns="42203" numCol="1" anchor="t" anchorCtr="0" compatLnSpc="1">
            <a:prstTxWarp prst="textNoShape">
              <a:avLst/>
            </a:prstTxWarp>
          </a:bodyPr>
          <a:lstStyle/>
          <a:p>
            <a:endParaRPr lang="en-US" u="sng"/>
          </a:p>
        </p:txBody>
      </p:sp>
      <p:sp>
        <p:nvSpPr>
          <p:cNvPr id="17" name="Espace réservé du contenu 2"/>
          <p:cNvSpPr txBox="1">
            <a:spLocks/>
          </p:cNvSpPr>
          <p:nvPr/>
        </p:nvSpPr>
        <p:spPr>
          <a:xfrm>
            <a:off x="2444000" y="1825419"/>
            <a:ext cx="2702053" cy="797539"/>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554"/>
              </a:spcBef>
            </a:pPr>
            <a:r>
              <a:rPr lang="fr-FR" sz="1477" dirty="0">
                <a:solidFill>
                  <a:schemeClr val="tx1">
                    <a:lumMod val="50000"/>
                    <a:lumOff val="50000"/>
                  </a:schemeClr>
                </a:solidFill>
              </a:rPr>
              <a:t>Faire vivre et grandir la communauté</a:t>
            </a:r>
          </a:p>
        </p:txBody>
      </p:sp>
      <p:sp>
        <p:nvSpPr>
          <p:cNvPr id="18" name="Espace réservé du contenu 2"/>
          <p:cNvSpPr txBox="1">
            <a:spLocks/>
          </p:cNvSpPr>
          <p:nvPr/>
        </p:nvSpPr>
        <p:spPr>
          <a:xfrm>
            <a:off x="2444000" y="2703527"/>
            <a:ext cx="2702053" cy="797539"/>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554"/>
              </a:spcBef>
            </a:pPr>
            <a:r>
              <a:rPr lang="fr-FR" sz="1477" dirty="0">
                <a:solidFill>
                  <a:schemeClr val="tx1">
                    <a:lumMod val="50000"/>
                    <a:lumOff val="50000"/>
                  </a:schemeClr>
                </a:solidFill>
              </a:rPr>
              <a:t>Partager des approches et un langage communs</a:t>
            </a:r>
          </a:p>
        </p:txBody>
      </p:sp>
      <p:sp>
        <p:nvSpPr>
          <p:cNvPr id="19" name="Espace réservé du contenu 2"/>
          <p:cNvSpPr txBox="1">
            <a:spLocks/>
          </p:cNvSpPr>
          <p:nvPr/>
        </p:nvSpPr>
        <p:spPr>
          <a:xfrm>
            <a:off x="2444000" y="3595617"/>
            <a:ext cx="2702053" cy="797539"/>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554"/>
              </a:spcBef>
            </a:pPr>
            <a:r>
              <a:rPr lang="fr-FR" sz="1477" dirty="0">
                <a:solidFill>
                  <a:schemeClr val="tx1">
                    <a:lumMod val="50000"/>
                    <a:lumOff val="50000"/>
                  </a:schemeClr>
                </a:solidFill>
              </a:rPr>
              <a:t>Répondre aux problématiques de nos clients</a:t>
            </a:r>
          </a:p>
        </p:txBody>
      </p:sp>
      <p:sp>
        <p:nvSpPr>
          <p:cNvPr id="20" name="Espace réservé du contenu 2"/>
          <p:cNvSpPr txBox="1">
            <a:spLocks/>
          </p:cNvSpPr>
          <p:nvPr/>
        </p:nvSpPr>
        <p:spPr>
          <a:xfrm>
            <a:off x="2444000" y="4480714"/>
            <a:ext cx="2702053" cy="797539"/>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554"/>
              </a:spcBef>
            </a:pPr>
            <a:r>
              <a:rPr lang="fr-FR" sz="1477" dirty="0">
                <a:solidFill>
                  <a:schemeClr val="tx1">
                    <a:lumMod val="50000"/>
                    <a:lumOff val="50000"/>
                  </a:schemeClr>
                </a:solidFill>
              </a:rPr>
              <a:t>Développer des points de vue novateurs et innovants</a:t>
            </a:r>
          </a:p>
        </p:txBody>
      </p:sp>
      <p:sp>
        <p:nvSpPr>
          <p:cNvPr id="21" name="Espace réservé du contenu 2"/>
          <p:cNvSpPr txBox="1">
            <a:spLocks/>
          </p:cNvSpPr>
          <p:nvPr/>
        </p:nvSpPr>
        <p:spPr>
          <a:xfrm>
            <a:off x="2444000" y="5375351"/>
            <a:ext cx="2702053" cy="797539"/>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554"/>
              </a:spcBef>
            </a:pPr>
            <a:r>
              <a:rPr lang="fr-FR" sz="1477" dirty="0">
                <a:solidFill>
                  <a:schemeClr val="tx1">
                    <a:lumMod val="50000"/>
                    <a:lumOff val="50000"/>
                  </a:schemeClr>
                </a:solidFill>
              </a:rPr>
              <a:t>Partager et faciliter la recherche d’information</a:t>
            </a:r>
          </a:p>
        </p:txBody>
      </p:sp>
      <p:pic>
        <p:nvPicPr>
          <p:cNvPr id="22" name="Image 2"/>
          <p:cNvPicPr>
            <a:picLocks noChangeAspect="1"/>
          </p:cNvPicPr>
          <p:nvPr/>
        </p:nvPicPr>
        <p:blipFill rotWithShape="1">
          <a:blip r:embed="rId2" cstate="print">
            <a:extLst>
              <a:ext uri="{28A0092B-C50C-407E-A947-70E740481C1C}">
                <a14:useLocalDpi xmlns:a14="http://schemas.microsoft.com/office/drawing/2010/main" val="0"/>
              </a:ext>
            </a:extLst>
          </a:blip>
          <a:srcRect b="12653"/>
          <a:stretch/>
        </p:blipFill>
        <p:spPr>
          <a:xfrm>
            <a:off x="5977704" y="1825420"/>
            <a:ext cx="628257" cy="674863"/>
          </a:xfrm>
          <a:prstGeom prst="rect">
            <a:avLst/>
          </a:prstGeom>
        </p:spPr>
      </p:pic>
      <p:pic>
        <p:nvPicPr>
          <p:cNvPr id="23" name="Picture 2" descr="http://m.c.lnkd.licdn.com/mpr/pub/image-Wzra0c-E6CJ0tt9GCwKgySG51BWK2TnahKkmH1IX1fqxU4RcWzrmJKuE1uPJ8OdF7tHL/panya-virapha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5454" y="1825420"/>
            <a:ext cx="656438" cy="656438"/>
          </a:xfrm>
          <a:prstGeom prst="rect">
            <a:avLst/>
          </a:prstGeom>
          <a:noFill/>
          <a:extLst>
            <a:ext uri="{909E8E84-426E-40DD-AFC4-6F175D3DCCD1}">
              <a14:hiddenFill xmlns:a14="http://schemas.microsoft.com/office/drawing/2010/main">
                <a:solidFill>
                  <a:srgbClr val="FFFFFF"/>
                </a:solidFill>
              </a14:hiddenFill>
            </a:ext>
          </a:extLst>
        </p:spPr>
      </p:pic>
      <p:sp>
        <p:nvSpPr>
          <p:cNvPr id="24" name="ZoneTexte 3"/>
          <p:cNvSpPr txBox="1"/>
          <p:nvPr/>
        </p:nvSpPr>
        <p:spPr>
          <a:xfrm>
            <a:off x="5693471" y="2460560"/>
            <a:ext cx="1152713" cy="248530"/>
          </a:xfrm>
          <a:prstGeom prst="rect">
            <a:avLst/>
          </a:prstGeom>
          <a:noFill/>
        </p:spPr>
        <p:txBody>
          <a:bodyPr wrap="square" rtlCol="0">
            <a:spAutoFit/>
          </a:bodyPr>
          <a:lstStyle/>
          <a:p>
            <a:pPr algn="ctr"/>
            <a:r>
              <a:rPr lang="fr-FR" sz="1015" dirty="0">
                <a:solidFill>
                  <a:schemeClr val="tx2"/>
                </a:solidFill>
              </a:rPr>
              <a:t>Célia El Bayed</a:t>
            </a:r>
          </a:p>
        </p:txBody>
      </p:sp>
      <p:sp>
        <p:nvSpPr>
          <p:cNvPr id="25" name="ZoneTexte 22"/>
          <p:cNvSpPr txBox="1"/>
          <p:nvPr/>
        </p:nvSpPr>
        <p:spPr>
          <a:xfrm>
            <a:off x="6817315" y="2460560"/>
            <a:ext cx="1152713" cy="404726"/>
          </a:xfrm>
          <a:prstGeom prst="rect">
            <a:avLst/>
          </a:prstGeom>
          <a:noFill/>
        </p:spPr>
        <p:txBody>
          <a:bodyPr wrap="square" rtlCol="0">
            <a:spAutoFit/>
          </a:bodyPr>
          <a:lstStyle/>
          <a:p>
            <a:pPr algn="ctr"/>
            <a:r>
              <a:rPr lang="fr-FR" sz="1015" dirty="0" err="1">
                <a:solidFill>
                  <a:schemeClr val="tx2"/>
                </a:solidFill>
              </a:rPr>
              <a:t>Panya</a:t>
            </a:r>
            <a:r>
              <a:rPr lang="fr-FR" sz="1015" dirty="0">
                <a:solidFill>
                  <a:schemeClr val="tx2"/>
                </a:solidFill>
              </a:rPr>
              <a:t> </a:t>
            </a:r>
            <a:r>
              <a:rPr lang="fr-FR" sz="1015" dirty="0" err="1">
                <a:solidFill>
                  <a:schemeClr val="tx2"/>
                </a:solidFill>
              </a:rPr>
              <a:t>Viraphan</a:t>
            </a:r>
            <a:endParaRPr lang="fr-FR" sz="1015" dirty="0">
              <a:solidFill>
                <a:schemeClr val="tx2"/>
              </a:solidFill>
            </a:endParaRPr>
          </a:p>
        </p:txBody>
      </p:sp>
      <p:sp>
        <p:nvSpPr>
          <p:cNvPr id="27" name="ZoneTexte 3"/>
          <p:cNvSpPr txBox="1"/>
          <p:nvPr/>
        </p:nvSpPr>
        <p:spPr>
          <a:xfrm>
            <a:off x="5691105" y="3354131"/>
            <a:ext cx="1152713" cy="248530"/>
          </a:xfrm>
          <a:prstGeom prst="rect">
            <a:avLst/>
          </a:prstGeom>
          <a:noFill/>
        </p:spPr>
        <p:txBody>
          <a:bodyPr wrap="square" rtlCol="0">
            <a:spAutoFit/>
          </a:bodyPr>
          <a:lstStyle/>
          <a:p>
            <a:pPr algn="ctr"/>
            <a:r>
              <a:rPr lang="fr-FR" sz="1015" dirty="0">
                <a:solidFill>
                  <a:schemeClr val="tx2"/>
                </a:solidFill>
              </a:rPr>
              <a:t>Etienne Pailler</a:t>
            </a:r>
          </a:p>
        </p:txBody>
      </p:sp>
      <p:sp>
        <p:nvSpPr>
          <p:cNvPr id="28" name="ZoneTexte 22"/>
          <p:cNvSpPr txBox="1"/>
          <p:nvPr/>
        </p:nvSpPr>
        <p:spPr>
          <a:xfrm>
            <a:off x="6817315" y="3353336"/>
            <a:ext cx="1152713" cy="248530"/>
          </a:xfrm>
          <a:prstGeom prst="rect">
            <a:avLst/>
          </a:prstGeom>
          <a:noFill/>
        </p:spPr>
        <p:txBody>
          <a:bodyPr wrap="square" rtlCol="0">
            <a:spAutoFit/>
          </a:bodyPr>
          <a:lstStyle/>
          <a:p>
            <a:pPr algn="ctr"/>
            <a:r>
              <a:rPr lang="fr-FR" sz="1015" dirty="0">
                <a:solidFill>
                  <a:schemeClr val="tx2"/>
                </a:solidFill>
              </a:rPr>
              <a:t>Béatrice Barriol</a:t>
            </a:r>
          </a:p>
        </p:txBody>
      </p:sp>
      <p:pic>
        <p:nvPicPr>
          <p:cNvPr id="29" name="Picture 2" descr="Etienne Pailler (F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7704" y="2758558"/>
            <a:ext cx="613199" cy="61319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Beatrice Barriol (F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80567" y="2745546"/>
            <a:ext cx="626210" cy="626210"/>
          </a:xfrm>
          <a:prstGeom prst="rect">
            <a:avLst/>
          </a:prstGeom>
          <a:noFill/>
          <a:extLst>
            <a:ext uri="{909E8E84-426E-40DD-AFC4-6F175D3DCCD1}">
              <a14:hiddenFill xmlns:a14="http://schemas.microsoft.com/office/drawing/2010/main">
                <a:solidFill>
                  <a:srgbClr val="FFFFFF"/>
                </a:solidFill>
              </a14:hiddenFill>
            </a:ext>
          </a:extLst>
        </p:spPr>
      </p:pic>
      <p:sp>
        <p:nvSpPr>
          <p:cNvPr id="31" name="ZoneTexte 3"/>
          <p:cNvSpPr txBox="1"/>
          <p:nvPr/>
        </p:nvSpPr>
        <p:spPr>
          <a:xfrm>
            <a:off x="6922285" y="4223116"/>
            <a:ext cx="942776" cy="404726"/>
          </a:xfrm>
          <a:prstGeom prst="rect">
            <a:avLst/>
          </a:prstGeom>
          <a:noFill/>
        </p:spPr>
        <p:txBody>
          <a:bodyPr wrap="square" rtlCol="0">
            <a:spAutoFit/>
          </a:bodyPr>
          <a:lstStyle/>
          <a:p>
            <a:pPr algn="ctr"/>
            <a:r>
              <a:rPr lang="fr-FR" sz="1015" dirty="0">
                <a:solidFill>
                  <a:schemeClr val="tx2"/>
                </a:solidFill>
              </a:rPr>
              <a:t>Carine Letor</a:t>
            </a:r>
          </a:p>
        </p:txBody>
      </p:sp>
      <p:sp>
        <p:nvSpPr>
          <p:cNvPr id="34" name="ZoneTexte 3"/>
          <p:cNvSpPr txBox="1"/>
          <p:nvPr/>
        </p:nvSpPr>
        <p:spPr>
          <a:xfrm>
            <a:off x="5607520" y="4223116"/>
            <a:ext cx="1351933" cy="248530"/>
          </a:xfrm>
          <a:prstGeom prst="rect">
            <a:avLst/>
          </a:prstGeom>
          <a:noFill/>
        </p:spPr>
        <p:txBody>
          <a:bodyPr wrap="square" rtlCol="0">
            <a:spAutoFit/>
          </a:bodyPr>
          <a:lstStyle/>
          <a:p>
            <a:pPr algn="ctr"/>
            <a:r>
              <a:rPr lang="fr-FR" sz="1015" dirty="0">
                <a:solidFill>
                  <a:schemeClr val="tx2"/>
                </a:solidFill>
              </a:rPr>
              <a:t>Camille Bidegaray</a:t>
            </a:r>
          </a:p>
        </p:txBody>
      </p:sp>
      <p:pic>
        <p:nvPicPr>
          <p:cNvPr id="35" name="Picture 34"/>
          <p:cNvPicPr>
            <a:picLocks noChangeAspect="1"/>
          </p:cNvPicPr>
          <p:nvPr/>
        </p:nvPicPr>
        <p:blipFill rotWithShape="1">
          <a:blip r:embed="rId6">
            <a:extLst>
              <a:ext uri="{28A0092B-C50C-407E-A947-70E740481C1C}">
                <a14:useLocalDpi xmlns:a14="http://schemas.microsoft.com/office/drawing/2010/main" val="0"/>
              </a:ext>
            </a:extLst>
          </a:blip>
          <a:srcRect b="20273"/>
          <a:stretch/>
        </p:blipFill>
        <p:spPr>
          <a:xfrm>
            <a:off x="5977704" y="3608083"/>
            <a:ext cx="628257" cy="627166"/>
          </a:xfrm>
          <a:prstGeom prst="rect">
            <a:avLst/>
          </a:prstGeom>
        </p:spPr>
      </p:pic>
      <p:pic>
        <p:nvPicPr>
          <p:cNvPr id="36" name="Picture 35"/>
          <p:cNvPicPr>
            <a:picLocks noChangeAspect="1"/>
          </p:cNvPicPr>
          <p:nvPr/>
        </p:nvPicPr>
        <p:blipFill rotWithShape="1">
          <a:blip r:embed="rId7" cstate="print">
            <a:extLst>
              <a:ext uri="{28A0092B-C50C-407E-A947-70E740481C1C}">
                <a14:useLocalDpi xmlns:a14="http://schemas.microsoft.com/office/drawing/2010/main" val="0"/>
              </a:ext>
            </a:extLst>
          </a:blip>
          <a:srcRect b="20839"/>
          <a:stretch/>
        </p:blipFill>
        <p:spPr>
          <a:xfrm>
            <a:off x="7086029" y="3612140"/>
            <a:ext cx="615287" cy="610976"/>
          </a:xfrm>
          <a:prstGeom prst="rect">
            <a:avLst/>
          </a:prstGeom>
        </p:spPr>
      </p:pic>
      <p:sp>
        <p:nvSpPr>
          <p:cNvPr id="37" name="ZoneTexte 3"/>
          <p:cNvSpPr txBox="1"/>
          <p:nvPr/>
        </p:nvSpPr>
        <p:spPr>
          <a:xfrm>
            <a:off x="6807097" y="5129133"/>
            <a:ext cx="1152713" cy="248530"/>
          </a:xfrm>
          <a:prstGeom prst="rect">
            <a:avLst/>
          </a:prstGeom>
          <a:noFill/>
        </p:spPr>
        <p:txBody>
          <a:bodyPr wrap="square" rtlCol="0">
            <a:spAutoFit/>
          </a:bodyPr>
          <a:lstStyle/>
          <a:p>
            <a:pPr algn="ctr"/>
            <a:r>
              <a:rPr lang="fr-FR" sz="1015" dirty="0">
                <a:solidFill>
                  <a:schemeClr val="tx2"/>
                </a:solidFill>
              </a:rPr>
              <a:t>Wissem Hechi</a:t>
            </a:r>
          </a:p>
        </p:txBody>
      </p:sp>
      <p:pic>
        <p:nvPicPr>
          <p:cNvPr id="38" name="Picture 6" descr="Xavier Muller (F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85249" y="4513979"/>
            <a:ext cx="605654" cy="605654"/>
          </a:xfrm>
          <a:prstGeom prst="rect">
            <a:avLst/>
          </a:prstGeom>
          <a:noFill/>
          <a:extLst>
            <a:ext uri="{909E8E84-426E-40DD-AFC4-6F175D3DCCD1}">
              <a14:hiddenFill xmlns:a14="http://schemas.microsoft.com/office/drawing/2010/main">
                <a:solidFill>
                  <a:srgbClr val="FFFFFF"/>
                </a:solidFill>
              </a14:hiddenFill>
            </a:ext>
          </a:extLst>
        </p:spPr>
      </p:pic>
      <p:sp>
        <p:nvSpPr>
          <p:cNvPr id="39" name="ZoneTexte 3"/>
          <p:cNvSpPr txBox="1"/>
          <p:nvPr/>
        </p:nvSpPr>
        <p:spPr>
          <a:xfrm>
            <a:off x="5691105" y="5110193"/>
            <a:ext cx="1152713" cy="248530"/>
          </a:xfrm>
          <a:prstGeom prst="rect">
            <a:avLst/>
          </a:prstGeom>
          <a:noFill/>
        </p:spPr>
        <p:txBody>
          <a:bodyPr wrap="square" rtlCol="0">
            <a:spAutoFit/>
          </a:bodyPr>
          <a:lstStyle/>
          <a:p>
            <a:pPr algn="ctr"/>
            <a:r>
              <a:rPr lang="fr-FR" sz="1015" dirty="0">
                <a:solidFill>
                  <a:schemeClr val="tx2"/>
                </a:solidFill>
              </a:rPr>
              <a:t>Xavier Muller</a:t>
            </a:r>
          </a:p>
        </p:txBody>
      </p:sp>
      <p:pic>
        <p:nvPicPr>
          <p:cNvPr id="40" name="Picture 39"/>
          <p:cNvPicPr>
            <a:picLocks noChangeAspect="1"/>
          </p:cNvPicPr>
          <p:nvPr/>
        </p:nvPicPr>
        <p:blipFill rotWithShape="1">
          <a:blip r:embed="rId9"/>
          <a:srcRect l="2551" t="7007" r="76619" b="71682"/>
          <a:stretch/>
        </p:blipFill>
        <p:spPr>
          <a:xfrm>
            <a:off x="7065593" y="4491828"/>
            <a:ext cx="635722" cy="645592"/>
          </a:xfrm>
          <a:prstGeom prst="rect">
            <a:avLst/>
          </a:prstGeom>
        </p:spPr>
      </p:pic>
      <p:sp>
        <p:nvSpPr>
          <p:cNvPr id="41" name="ZoneTexte 3"/>
          <p:cNvSpPr txBox="1"/>
          <p:nvPr/>
        </p:nvSpPr>
        <p:spPr>
          <a:xfrm>
            <a:off x="6810064" y="5975378"/>
            <a:ext cx="1152713" cy="248530"/>
          </a:xfrm>
          <a:prstGeom prst="rect">
            <a:avLst/>
          </a:prstGeom>
          <a:noFill/>
        </p:spPr>
        <p:txBody>
          <a:bodyPr wrap="square" rtlCol="0">
            <a:spAutoFit/>
          </a:bodyPr>
          <a:lstStyle/>
          <a:p>
            <a:pPr algn="ctr"/>
            <a:r>
              <a:rPr lang="fr-FR" sz="1015" dirty="0" err="1">
                <a:solidFill>
                  <a:schemeClr val="tx2"/>
                </a:solidFill>
              </a:rPr>
              <a:t>Ghizlane</a:t>
            </a:r>
            <a:r>
              <a:rPr lang="fr-FR" sz="1015" dirty="0">
                <a:solidFill>
                  <a:schemeClr val="tx2"/>
                </a:solidFill>
              </a:rPr>
              <a:t> Safi</a:t>
            </a:r>
          </a:p>
        </p:txBody>
      </p:sp>
      <p:pic>
        <p:nvPicPr>
          <p:cNvPr id="44" name="Picture 2" descr="Ghizlane Safi (F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65593" y="5368293"/>
            <a:ext cx="635722" cy="635722"/>
          </a:xfrm>
          <a:prstGeom prst="rect">
            <a:avLst/>
          </a:prstGeom>
          <a:noFill/>
          <a:extLst>
            <a:ext uri="{909E8E84-426E-40DD-AFC4-6F175D3DCCD1}">
              <a14:hiddenFill xmlns:a14="http://schemas.microsoft.com/office/drawing/2010/main">
                <a:solidFill>
                  <a:srgbClr val="FFFFFF"/>
                </a:solidFill>
              </a14:hiddenFill>
            </a:ext>
          </a:extLst>
        </p:spPr>
      </p:pic>
      <p:sp>
        <p:nvSpPr>
          <p:cNvPr id="45" name="ZoneTexte 22"/>
          <p:cNvSpPr txBox="1"/>
          <p:nvPr/>
        </p:nvSpPr>
        <p:spPr>
          <a:xfrm>
            <a:off x="7877576" y="4223116"/>
            <a:ext cx="1152713" cy="248530"/>
          </a:xfrm>
          <a:prstGeom prst="rect">
            <a:avLst/>
          </a:prstGeom>
          <a:noFill/>
        </p:spPr>
        <p:txBody>
          <a:bodyPr wrap="square" rtlCol="0">
            <a:spAutoFit/>
          </a:bodyPr>
          <a:lstStyle/>
          <a:p>
            <a:pPr algn="ctr"/>
            <a:r>
              <a:rPr lang="fr-FR" sz="1015" dirty="0">
                <a:solidFill>
                  <a:schemeClr val="tx2"/>
                </a:solidFill>
              </a:rPr>
              <a:t>Béatrice Barriol</a:t>
            </a:r>
          </a:p>
        </p:txBody>
      </p:sp>
      <p:pic>
        <p:nvPicPr>
          <p:cNvPr id="46" name="Picture 4" descr="Beatrice Barriol (F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37874" y="3631749"/>
            <a:ext cx="626210" cy="62621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Xavier Muller (F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85249" y="5381835"/>
            <a:ext cx="605654" cy="605654"/>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3"/>
          <p:cNvSpPr txBox="1"/>
          <p:nvPr/>
        </p:nvSpPr>
        <p:spPr>
          <a:xfrm>
            <a:off x="5691105" y="5978048"/>
            <a:ext cx="1152713" cy="248530"/>
          </a:xfrm>
          <a:prstGeom prst="rect">
            <a:avLst/>
          </a:prstGeom>
          <a:noFill/>
        </p:spPr>
        <p:txBody>
          <a:bodyPr wrap="square" rtlCol="0">
            <a:spAutoFit/>
          </a:bodyPr>
          <a:lstStyle/>
          <a:p>
            <a:pPr algn="ctr"/>
            <a:r>
              <a:rPr lang="fr-FR" sz="1015" dirty="0">
                <a:solidFill>
                  <a:schemeClr val="tx2"/>
                </a:solidFill>
              </a:rPr>
              <a:t>Xavier Muller</a:t>
            </a:r>
          </a:p>
        </p:txBody>
      </p:sp>
      <p:sp>
        <p:nvSpPr>
          <p:cNvPr id="43" name="Slide Number Placeholder 5"/>
          <p:cNvSpPr>
            <a:spLocks noGrp="1"/>
          </p:cNvSpPr>
          <p:nvPr>
            <p:ph type="sldNum" sz="quarter" idx="4"/>
          </p:nvPr>
        </p:nvSpPr>
        <p:spPr>
          <a:xfrm>
            <a:off x="386471" y="6494812"/>
            <a:ext cx="792088" cy="113557"/>
          </a:xfrm>
        </p:spPr>
        <p:txBody>
          <a:bodyPr/>
          <a:lstStyle/>
          <a:p>
            <a:pPr algn="l"/>
            <a:r>
              <a:rPr lang="en-GB" dirty="0" smtClean="0">
                <a:solidFill>
                  <a:schemeClr val="tx1"/>
                </a:solidFill>
              </a:rPr>
              <a:t>68</a:t>
            </a:r>
            <a:endParaRPr lang="en-GB" dirty="0">
              <a:solidFill>
                <a:schemeClr val="tx1"/>
              </a:solidFill>
            </a:endParaRPr>
          </a:p>
        </p:txBody>
      </p:sp>
    </p:spTree>
    <p:extLst>
      <p:ext uri="{BB962C8B-B14F-4D97-AF65-F5344CB8AC3E}">
        <p14:creationId xmlns:p14="http://schemas.microsoft.com/office/powerpoint/2010/main" val="2350608959"/>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fr-FR" dirty="0" smtClean="0"/>
              <a:t>Pour participer !</a:t>
            </a:r>
            <a:endParaRPr lang="fr-FR" dirty="0"/>
          </a:p>
        </p:txBody>
      </p:sp>
      <p:sp>
        <p:nvSpPr>
          <p:cNvPr id="3" name="Title 2"/>
          <p:cNvSpPr>
            <a:spLocks noGrp="1"/>
          </p:cNvSpPr>
          <p:nvPr>
            <p:ph type="title"/>
          </p:nvPr>
        </p:nvSpPr>
        <p:spPr/>
        <p:txBody>
          <a:bodyPr/>
          <a:lstStyle/>
          <a:p>
            <a:r>
              <a:rPr lang="fr-FR" dirty="0"/>
              <a:t>La communauté LSS Deloitte</a:t>
            </a:r>
          </a:p>
        </p:txBody>
      </p:sp>
      <p:graphicFrame>
        <p:nvGraphicFramePr>
          <p:cNvPr id="74" name="Table 73"/>
          <p:cNvGraphicFramePr>
            <a:graphicFrameLocks noGrp="1"/>
          </p:cNvGraphicFramePr>
          <p:nvPr>
            <p:extLst/>
          </p:nvPr>
        </p:nvGraphicFramePr>
        <p:xfrm>
          <a:off x="369887" y="2240123"/>
          <a:ext cx="8388225" cy="3908632"/>
        </p:xfrm>
        <a:graphic>
          <a:graphicData uri="http://schemas.openxmlformats.org/drawingml/2006/table">
            <a:tbl>
              <a:tblPr>
                <a:tableStyleId>{5C22544A-7EE6-4342-B048-85BDC9FD1C3A}</a:tableStyleId>
              </a:tblPr>
              <a:tblGrid>
                <a:gridCol w="8388225"/>
              </a:tblGrid>
              <a:tr h="977158">
                <a:tc>
                  <a:txBody>
                    <a:bodyPr/>
                    <a:lstStyle/>
                    <a:p>
                      <a:endParaRPr lang="fr-FR" sz="1700" dirty="0"/>
                    </a:p>
                  </a:txBody>
                  <a:tcPr marT="42203" marB="42203">
                    <a:lnB w="12700" cap="flat" cmpd="sng" algn="ctr">
                      <a:solidFill>
                        <a:schemeClr val="bg1">
                          <a:lumMod val="75000"/>
                        </a:schemeClr>
                      </a:solidFill>
                      <a:prstDash val="dash"/>
                      <a:round/>
                      <a:headEnd type="none" w="med" len="med"/>
                      <a:tailEnd type="none" w="med" len="med"/>
                    </a:lnB>
                    <a:noFill/>
                  </a:tcPr>
                </a:tc>
              </a:tr>
              <a:tr h="977158">
                <a:tc>
                  <a:txBody>
                    <a:bodyPr/>
                    <a:lstStyle/>
                    <a:p>
                      <a:endParaRPr lang="fr-FR" sz="1700" dirty="0"/>
                    </a:p>
                  </a:txBody>
                  <a:tcPr marT="42203" marB="42203">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r>
              <a:tr h="977158">
                <a:tc>
                  <a:txBody>
                    <a:bodyPr/>
                    <a:lstStyle/>
                    <a:p>
                      <a:endParaRPr lang="fr-FR" sz="1700" dirty="0"/>
                    </a:p>
                  </a:txBody>
                  <a:tcPr marT="42203" marB="42203">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noFill/>
                  </a:tcPr>
                </a:tc>
              </a:tr>
              <a:tr h="977158">
                <a:tc>
                  <a:txBody>
                    <a:bodyPr/>
                    <a:lstStyle/>
                    <a:p>
                      <a:endParaRPr lang="fr-FR" sz="1700" dirty="0"/>
                    </a:p>
                  </a:txBody>
                  <a:tcPr marT="42203" marB="42203">
                    <a:lnT w="12700" cap="flat" cmpd="sng" algn="ctr">
                      <a:solidFill>
                        <a:schemeClr val="bg1">
                          <a:lumMod val="75000"/>
                        </a:schemeClr>
                      </a:solidFill>
                      <a:prstDash val="dash"/>
                      <a:round/>
                      <a:headEnd type="none" w="med" len="med"/>
                      <a:tailEnd type="none" w="med" len="med"/>
                    </a:lnT>
                    <a:noFill/>
                  </a:tcPr>
                </a:tc>
              </a:tr>
            </a:tbl>
          </a:graphicData>
        </a:graphic>
      </p:graphicFrame>
      <p:pic>
        <p:nvPicPr>
          <p:cNvPr id="75" name="Picture 2" descr="http://senexx.com/img/yammer/yammer-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6462" y="2498631"/>
            <a:ext cx="528638" cy="487974"/>
          </a:xfrm>
          <a:prstGeom prst="rect">
            <a:avLst/>
          </a:prstGeom>
          <a:noFill/>
          <a:extLst>
            <a:ext uri="{909E8E84-426E-40DD-AFC4-6F175D3DCCD1}">
              <a14:hiddenFill xmlns:a14="http://schemas.microsoft.com/office/drawing/2010/main">
                <a:solidFill>
                  <a:srgbClr val="FFFFFF"/>
                </a:solidFill>
              </a14:hiddenFill>
            </a:ext>
          </a:extLst>
        </p:spPr>
      </p:pic>
      <p:grpSp>
        <p:nvGrpSpPr>
          <p:cNvPr id="76" name="Group 249"/>
          <p:cNvGrpSpPr>
            <a:grpSpLocks noChangeAspect="1"/>
          </p:cNvGrpSpPr>
          <p:nvPr/>
        </p:nvGrpSpPr>
        <p:grpSpPr>
          <a:xfrm>
            <a:off x="416460" y="3437283"/>
            <a:ext cx="522557" cy="476284"/>
            <a:chOff x="6080125" y="5737225"/>
            <a:chExt cx="411163" cy="477838"/>
          </a:xfrm>
          <a:solidFill>
            <a:schemeClr val="accent6"/>
          </a:solidFill>
        </p:grpSpPr>
        <p:sp>
          <p:nvSpPr>
            <p:cNvPr id="77" name="Freeform 445"/>
            <p:cNvSpPr>
              <a:spLocks noEditPoints="1"/>
            </p:cNvSpPr>
            <p:nvPr/>
          </p:nvSpPr>
          <p:spPr bwMode="auto">
            <a:xfrm>
              <a:off x="6080125" y="5784850"/>
              <a:ext cx="411163" cy="430213"/>
            </a:xfrm>
            <a:custGeom>
              <a:avLst/>
              <a:gdLst>
                <a:gd name="T0" fmla="*/ 70 w 70"/>
                <a:gd name="T1" fmla="*/ 11 h 73"/>
                <a:gd name="T2" fmla="*/ 60 w 70"/>
                <a:gd name="T3" fmla="*/ 8 h 73"/>
                <a:gd name="T4" fmla="*/ 50 w 70"/>
                <a:gd name="T5" fmla="*/ 17 h 73"/>
                <a:gd name="T6" fmla="*/ 54 w 70"/>
                <a:gd name="T7" fmla="*/ 32 h 73"/>
                <a:gd name="T8" fmla="*/ 67 w 70"/>
                <a:gd name="T9" fmla="*/ 49 h 73"/>
                <a:gd name="T10" fmla="*/ 43 w 70"/>
                <a:gd name="T11" fmla="*/ 64 h 73"/>
                <a:gd name="T12" fmla="*/ 37 w 70"/>
                <a:gd name="T13" fmla="*/ 57 h 73"/>
                <a:gd name="T14" fmla="*/ 12 w 70"/>
                <a:gd name="T15" fmla="*/ 42 h 73"/>
                <a:gd name="T16" fmla="*/ 5 w 70"/>
                <a:gd name="T17" fmla="*/ 27 h 73"/>
                <a:gd name="T18" fmla="*/ 1 w 70"/>
                <a:gd name="T19" fmla="*/ 12 h 73"/>
                <a:gd name="T20" fmla="*/ 10 w 70"/>
                <a:gd name="T21" fmla="*/ 0 h 73"/>
                <a:gd name="T22" fmla="*/ 16 w 70"/>
                <a:gd name="T23" fmla="*/ 10 h 73"/>
                <a:gd name="T24" fmla="*/ 21 w 70"/>
                <a:gd name="T25" fmla="*/ 16 h 73"/>
                <a:gd name="T26" fmla="*/ 14 w 70"/>
                <a:gd name="T27" fmla="*/ 22 h 73"/>
                <a:gd name="T28" fmla="*/ 20 w 70"/>
                <a:gd name="T29" fmla="*/ 33 h 73"/>
                <a:gd name="T30" fmla="*/ 33 w 70"/>
                <a:gd name="T31" fmla="*/ 37 h 73"/>
                <a:gd name="T32" fmla="*/ 39 w 70"/>
                <a:gd name="T33" fmla="*/ 43 h 73"/>
                <a:gd name="T34" fmla="*/ 40 w 70"/>
                <a:gd name="T35" fmla="*/ 56 h 73"/>
                <a:gd name="T36" fmla="*/ 50 w 70"/>
                <a:gd name="T37" fmla="*/ 64 h 73"/>
                <a:gd name="T38" fmla="*/ 64 w 70"/>
                <a:gd name="T39" fmla="*/ 43 h 73"/>
                <a:gd name="T40" fmla="*/ 54 w 70"/>
                <a:gd name="T41" fmla="*/ 34 h 73"/>
                <a:gd name="T42" fmla="*/ 49 w 70"/>
                <a:gd name="T43" fmla="*/ 14 h 73"/>
                <a:gd name="T44" fmla="*/ 69 w 70"/>
                <a:gd name="T45" fmla="*/ 8 h 73"/>
                <a:gd name="T46" fmla="*/ 70 w 70"/>
                <a:gd name="T47" fmla="*/ 11 h 73"/>
                <a:gd name="T48" fmla="*/ 37 w 70"/>
                <a:gd name="T49" fmla="*/ 44 h 73"/>
                <a:gd name="T50" fmla="*/ 32 w 70"/>
                <a:gd name="T51" fmla="*/ 40 h 73"/>
                <a:gd name="T52" fmla="*/ 40 w 70"/>
                <a:gd name="T53" fmla="*/ 53 h 73"/>
                <a:gd name="T54" fmla="*/ 37 w 70"/>
                <a:gd name="T55" fmla="*/ 44 h 73"/>
                <a:gd name="T56" fmla="*/ 30 w 70"/>
                <a:gd name="T57" fmla="*/ 40 h 73"/>
                <a:gd name="T58" fmla="*/ 15 w 70"/>
                <a:gd name="T59" fmla="*/ 27 h 73"/>
                <a:gd name="T60" fmla="*/ 13 w 70"/>
                <a:gd name="T61" fmla="*/ 23 h 73"/>
                <a:gd name="T62" fmla="*/ 15 w 70"/>
                <a:gd name="T63" fmla="*/ 17 h 73"/>
                <a:gd name="T64" fmla="*/ 7 w 70"/>
                <a:gd name="T65" fmla="*/ 6 h 73"/>
                <a:gd name="T66" fmla="*/ 7 w 70"/>
                <a:gd name="T67" fmla="*/ 27 h 73"/>
                <a:gd name="T68" fmla="*/ 17 w 70"/>
                <a:gd name="T69" fmla="*/ 46 h 73"/>
                <a:gd name="T70" fmla="*/ 37 w 70"/>
                <a:gd name="T71" fmla="*/ 55 h 73"/>
                <a:gd name="T72" fmla="*/ 30 w 70"/>
                <a:gd name="T73" fmla="*/ 40 h 73"/>
                <a:gd name="T74" fmla="*/ 10 w 70"/>
                <a:gd name="T75" fmla="*/ 3 h 73"/>
                <a:gd name="T76" fmla="*/ 8 w 70"/>
                <a:gd name="T77" fmla="*/ 4 h 73"/>
                <a:gd name="T78" fmla="*/ 14 w 70"/>
                <a:gd name="T79" fmla="*/ 13 h 73"/>
                <a:gd name="T80" fmla="*/ 17 w 70"/>
                <a:gd name="T81" fmla="*/ 16 h 73"/>
                <a:gd name="T82" fmla="*/ 18 w 70"/>
                <a:gd name="T83" fmla="*/ 14 h 73"/>
                <a:gd name="T84" fmla="*/ 10 w 70"/>
                <a:gd name="T8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 h="73">
                  <a:moveTo>
                    <a:pt x="70" y="11"/>
                  </a:moveTo>
                  <a:cubicBezTo>
                    <a:pt x="66" y="11"/>
                    <a:pt x="65" y="7"/>
                    <a:pt x="60" y="8"/>
                  </a:cubicBezTo>
                  <a:cubicBezTo>
                    <a:pt x="57" y="8"/>
                    <a:pt x="50" y="13"/>
                    <a:pt x="50" y="17"/>
                  </a:cubicBezTo>
                  <a:cubicBezTo>
                    <a:pt x="49" y="23"/>
                    <a:pt x="52" y="29"/>
                    <a:pt x="54" y="32"/>
                  </a:cubicBezTo>
                  <a:cubicBezTo>
                    <a:pt x="59" y="37"/>
                    <a:pt x="67" y="39"/>
                    <a:pt x="67" y="49"/>
                  </a:cubicBezTo>
                  <a:cubicBezTo>
                    <a:pt x="66" y="60"/>
                    <a:pt x="55" y="73"/>
                    <a:pt x="43" y="64"/>
                  </a:cubicBezTo>
                  <a:cubicBezTo>
                    <a:pt x="41" y="62"/>
                    <a:pt x="40" y="60"/>
                    <a:pt x="37" y="57"/>
                  </a:cubicBezTo>
                  <a:cubicBezTo>
                    <a:pt x="24" y="61"/>
                    <a:pt x="17" y="51"/>
                    <a:pt x="12" y="42"/>
                  </a:cubicBezTo>
                  <a:cubicBezTo>
                    <a:pt x="9" y="37"/>
                    <a:pt x="7" y="32"/>
                    <a:pt x="5" y="27"/>
                  </a:cubicBezTo>
                  <a:cubicBezTo>
                    <a:pt x="3" y="24"/>
                    <a:pt x="0" y="17"/>
                    <a:pt x="1" y="12"/>
                  </a:cubicBezTo>
                  <a:cubicBezTo>
                    <a:pt x="2" y="7"/>
                    <a:pt x="6" y="2"/>
                    <a:pt x="10" y="0"/>
                  </a:cubicBezTo>
                  <a:cubicBezTo>
                    <a:pt x="12" y="3"/>
                    <a:pt x="13" y="7"/>
                    <a:pt x="16" y="10"/>
                  </a:cubicBezTo>
                  <a:cubicBezTo>
                    <a:pt x="18" y="12"/>
                    <a:pt x="21" y="14"/>
                    <a:pt x="21" y="16"/>
                  </a:cubicBezTo>
                  <a:cubicBezTo>
                    <a:pt x="20" y="19"/>
                    <a:pt x="15" y="19"/>
                    <a:pt x="14" y="22"/>
                  </a:cubicBezTo>
                  <a:cubicBezTo>
                    <a:pt x="14" y="24"/>
                    <a:pt x="18" y="31"/>
                    <a:pt x="20" y="33"/>
                  </a:cubicBezTo>
                  <a:cubicBezTo>
                    <a:pt x="23" y="38"/>
                    <a:pt x="28" y="41"/>
                    <a:pt x="33" y="37"/>
                  </a:cubicBezTo>
                  <a:cubicBezTo>
                    <a:pt x="35" y="38"/>
                    <a:pt x="37" y="41"/>
                    <a:pt x="39" y="43"/>
                  </a:cubicBezTo>
                  <a:cubicBezTo>
                    <a:pt x="42" y="48"/>
                    <a:pt x="46" y="53"/>
                    <a:pt x="40" y="56"/>
                  </a:cubicBezTo>
                  <a:cubicBezTo>
                    <a:pt x="43" y="60"/>
                    <a:pt x="44" y="64"/>
                    <a:pt x="50" y="64"/>
                  </a:cubicBezTo>
                  <a:cubicBezTo>
                    <a:pt x="59" y="66"/>
                    <a:pt x="69" y="53"/>
                    <a:pt x="64" y="43"/>
                  </a:cubicBezTo>
                  <a:cubicBezTo>
                    <a:pt x="62" y="39"/>
                    <a:pt x="58" y="38"/>
                    <a:pt x="54" y="34"/>
                  </a:cubicBezTo>
                  <a:cubicBezTo>
                    <a:pt x="50" y="30"/>
                    <a:pt x="46" y="21"/>
                    <a:pt x="49" y="14"/>
                  </a:cubicBezTo>
                  <a:cubicBezTo>
                    <a:pt x="51" y="9"/>
                    <a:pt x="62" y="2"/>
                    <a:pt x="69" y="8"/>
                  </a:cubicBezTo>
                  <a:cubicBezTo>
                    <a:pt x="70" y="9"/>
                    <a:pt x="70" y="10"/>
                    <a:pt x="70" y="11"/>
                  </a:cubicBezTo>
                  <a:close/>
                  <a:moveTo>
                    <a:pt x="37" y="44"/>
                  </a:moveTo>
                  <a:cubicBezTo>
                    <a:pt x="35" y="42"/>
                    <a:pt x="34" y="38"/>
                    <a:pt x="32" y="40"/>
                  </a:cubicBezTo>
                  <a:cubicBezTo>
                    <a:pt x="33" y="44"/>
                    <a:pt x="36" y="49"/>
                    <a:pt x="40" y="53"/>
                  </a:cubicBezTo>
                  <a:cubicBezTo>
                    <a:pt x="42" y="50"/>
                    <a:pt x="39" y="47"/>
                    <a:pt x="37" y="44"/>
                  </a:cubicBezTo>
                  <a:close/>
                  <a:moveTo>
                    <a:pt x="30" y="40"/>
                  </a:moveTo>
                  <a:cubicBezTo>
                    <a:pt x="21" y="43"/>
                    <a:pt x="18" y="33"/>
                    <a:pt x="15" y="27"/>
                  </a:cubicBezTo>
                  <a:cubicBezTo>
                    <a:pt x="14" y="26"/>
                    <a:pt x="13" y="25"/>
                    <a:pt x="13" y="23"/>
                  </a:cubicBezTo>
                  <a:cubicBezTo>
                    <a:pt x="12" y="21"/>
                    <a:pt x="14" y="19"/>
                    <a:pt x="15" y="17"/>
                  </a:cubicBezTo>
                  <a:cubicBezTo>
                    <a:pt x="12" y="13"/>
                    <a:pt x="9" y="10"/>
                    <a:pt x="7" y="6"/>
                  </a:cubicBezTo>
                  <a:cubicBezTo>
                    <a:pt x="0" y="10"/>
                    <a:pt x="5" y="21"/>
                    <a:pt x="7" y="27"/>
                  </a:cubicBezTo>
                  <a:cubicBezTo>
                    <a:pt x="10" y="34"/>
                    <a:pt x="13" y="41"/>
                    <a:pt x="17" y="46"/>
                  </a:cubicBezTo>
                  <a:cubicBezTo>
                    <a:pt x="21" y="52"/>
                    <a:pt x="29" y="58"/>
                    <a:pt x="37" y="55"/>
                  </a:cubicBezTo>
                  <a:cubicBezTo>
                    <a:pt x="35" y="49"/>
                    <a:pt x="31" y="46"/>
                    <a:pt x="30" y="40"/>
                  </a:cubicBezTo>
                  <a:close/>
                  <a:moveTo>
                    <a:pt x="10" y="3"/>
                  </a:moveTo>
                  <a:cubicBezTo>
                    <a:pt x="9" y="3"/>
                    <a:pt x="9" y="4"/>
                    <a:pt x="8" y="4"/>
                  </a:cubicBezTo>
                  <a:cubicBezTo>
                    <a:pt x="10" y="7"/>
                    <a:pt x="12" y="11"/>
                    <a:pt x="14" y="13"/>
                  </a:cubicBezTo>
                  <a:cubicBezTo>
                    <a:pt x="15" y="14"/>
                    <a:pt x="17" y="14"/>
                    <a:pt x="17" y="16"/>
                  </a:cubicBezTo>
                  <a:cubicBezTo>
                    <a:pt x="18" y="16"/>
                    <a:pt x="17" y="15"/>
                    <a:pt x="18" y="14"/>
                  </a:cubicBezTo>
                  <a:cubicBezTo>
                    <a:pt x="14" y="11"/>
                    <a:pt x="11" y="8"/>
                    <a:pt x="10" y="3"/>
                  </a:cubicBezTo>
                  <a:close/>
                </a:path>
              </a:pathLst>
            </a:custGeom>
            <a:grpFill/>
            <a:ln w="9525">
              <a:solidFill>
                <a:schemeClr val="accent6"/>
              </a:solidFill>
              <a:round/>
              <a:headEnd/>
              <a:tailEnd/>
            </a:ln>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78" name="Freeform 446"/>
            <p:cNvSpPr>
              <a:spLocks/>
            </p:cNvSpPr>
            <p:nvPr/>
          </p:nvSpPr>
          <p:spPr bwMode="auto">
            <a:xfrm>
              <a:off x="6221413" y="5856288"/>
              <a:ext cx="47625" cy="34925"/>
            </a:xfrm>
            <a:custGeom>
              <a:avLst/>
              <a:gdLst>
                <a:gd name="T0" fmla="*/ 8 w 8"/>
                <a:gd name="T1" fmla="*/ 3 h 6"/>
                <a:gd name="T2" fmla="*/ 0 w 8"/>
                <a:gd name="T3" fmla="*/ 2 h 6"/>
                <a:gd name="T4" fmla="*/ 8 w 8"/>
                <a:gd name="T5" fmla="*/ 3 h 6"/>
              </a:gdLst>
              <a:ahLst/>
              <a:cxnLst>
                <a:cxn ang="0">
                  <a:pos x="T0" y="T1"/>
                </a:cxn>
                <a:cxn ang="0">
                  <a:pos x="T2" y="T3"/>
                </a:cxn>
                <a:cxn ang="0">
                  <a:pos x="T4" y="T5"/>
                </a:cxn>
              </a:cxnLst>
              <a:rect l="0" t="0" r="r" b="b"/>
              <a:pathLst>
                <a:path w="8" h="6">
                  <a:moveTo>
                    <a:pt x="8" y="3"/>
                  </a:moveTo>
                  <a:cubicBezTo>
                    <a:pt x="6" y="6"/>
                    <a:pt x="1" y="3"/>
                    <a:pt x="0" y="2"/>
                  </a:cubicBezTo>
                  <a:cubicBezTo>
                    <a:pt x="2" y="0"/>
                    <a:pt x="5" y="3"/>
                    <a:pt x="8" y="3"/>
                  </a:cubicBezTo>
                  <a:close/>
                </a:path>
              </a:pathLst>
            </a:custGeom>
            <a:grpFill/>
            <a:ln w="9525">
              <a:solidFill>
                <a:schemeClr val="accent6"/>
              </a:solidFill>
              <a:round/>
              <a:headEnd/>
              <a:tailEnd/>
            </a:ln>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79" name="Freeform 447"/>
            <p:cNvSpPr>
              <a:spLocks/>
            </p:cNvSpPr>
            <p:nvPr/>
          </p:nvSpPr>
          <p:spPr bwMode="auto">
            <a:xfrm>
              <a:off x="6210300" y="5815013"/>
              <a:ext cx="41275" cy="17463"/>
            </a:xfrm>
            <a:custGeom>
              <a:avLst/>
              <a:gdLst>
                <a:gd name="T0" fmla="*/ 7 w 7"/>
                <a:gd name="T1" fmla="*/ 1 h 3"/>
                <a:gd name="T2" fmla="*/ 7 w 7"/>
                <a:gd name="T3" fmla="*/ 3 h 3"/>
                <a:gd name="T4" fmla="*/ 0 w 7"/>
                <a:gd name="T5" fmla="*/ 3 h 3"/>
                <a:gd name="T6" fmla="*/ 7 w 7"/>
                <a:gd name="T7" fmla="*/ 1 h 3"/>
              </a:gdLst>
              <a:ahLst/>
              <a:cxnLst>
                <a:cxn ang="0">
                  <a:pos x="T0" y="T1"/>
                </a:cxn>
                <a:cxn ang="0">
                  <a:pos x="T2" y="T3"/>
                </a:cxn>
                <a:cxn ang="0">
                  <a:pos x="T4" y="T5"/>
                </a:cxn>
                <a:cxn ang="0">
                  <a:pos x="T6" y="T7"/>
                </a:cxn>
              </a:cxnLst>
              <a:rect l="0" t="0" r="r" b="b"/>
              <a:pathLst>
                <a:path w="7" h="3">
                  <a:moveTo>
                    <a:pt x="7" y="1"/>
                  </a:moveTo>
                  <a:cubicBezTo>
                    <a:pt x="7" y="2"/>
                    <a:pt x="7" y="2"/>
                    <a:pt x="7" y="3"/>
                  </a:cubicBezTo>
                  <a:cubicBezTo>
                    <a:pt x="5" y="3"/>
                    <a:pt x="2" y="3"/>
                    <a:pt x="0" y="3"/>
                  </a:cubicBezTo>
                  <a:cubicBezTo>
                    <a:pt x="1" y="0"/>
                    <a:pt x="5" y="1"/>
                    <a:pt x="7" y="1"/>
                  </a:cubicBezTo>
                  <a:close/>
                </a:path>
              </a:pathLst>
            </a:custGeom>
            <a:grpFill/>
            <a:ln w="9525">
              <a:solidFill>
                <a:schemeClr val="accent6"/>
              </a:solidFill>
              <a:round/>
              <a:headEnd/>
              <a:tailEnd/>
            </a:ln>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80" name="Freeform 448"/>
            <p:cNvSpPr>
              <a:spLocks/>
            </p:cNvSpPr>
            <p:nvPr/>
          </p:nvSpPr>
          <p:spPr bwMode="auto">
            <a:xfrm>
              <a:off x="6180138" y="5761038"/>
              <a:ext cx="41275" cy="36513"/>
            </a:xfrm>
            <a:custGeom>
              <a:avLst/>
              <a:gdLst>
                <a:gd name="T0" fmla="*/ 7 w 7"/>
                <a:gd name="T1" fmla="*/ 2 h 6"/>
                <a:gd name="T2" fmla="*/ 7 w 7"/>
                <a:gd name="T3" fmla="*/ 3 h 6"/>
                <a:gd name="T4" fmla="*/ 0 w 7"/>
                <a:gd name="T5" fmla="*/ 6 h 6"/>
                <a:gd name="T6" fmla="*/ 7 w 7"/>
                <a:gd name="T7" fmla="*/ 2 h 6"/>
              </a:gdLst>
              <a:ahLst/>
              <a:cxnLst>
                <a:cxn ang="0">
                  <a:pos x="T0" y="T1"/>
                </a:cxn>
                <a:cxn ang="0">
                  <a:pos x="T2" y="T3"/>
                </a:cxn>
                <a:cxn ang="0">
                  <a:pos x="T4" y="T5"/>
                </a:cxn>
                <a:cxn ang="0">
                  <a:pos x="T6" y="T7"/>
                </a:cxn>
              </a:cxnLst>
              <a:rect l="0" t="0" r="r" b="b"/>
              <a:pathLst>
                <a:path w="7" h="6">
                  <a:moveTo>
                    <a:pt x="7" y="2"/>
                  </a:moveTo>
                  <a:cubicBezTo>
                    <a:pt x="7" y="2"/>
                    <a:pt x="7" y="2"/>
                    <a:pt x="7" y="3"/>
                  </a:cubicBezTo>
                  <a:cubicBezTo>
                    <a:pt x="4" y="3"/>
                    <a:pt x="3" y="6"/>
                    <a:pt x="0" y="6"/>
                  </a:cubicBezTo>
                  <a:cubicBezTo>
                    <a:pt x="0" y="4"/>
                    <a:pt x="4" y="0"/>
                    <a:pt x="7" y="2"/>
                  </a:cubicBezTo>
                  <a:close/>
                </a:path>
              </a:pathLst>
            </a:custGeom>
            <a:grpFill/>
            <a:ln w="9525">
              <a:solidFill>
                <a:schemeClr val="accent6"/>
              </a:solidFill>
              <a:round/>
              <a:headEnd/>
              <a:tailEnd/>
            </a:ln>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81" name="Freeform 449"/>
            <p:cNvSpPr>
              <a:spLocks/>
            </p:cNvSpPr>
            <p:nvPr/>
          </p:nvSpPr>
          <p:spPr bwMode="auto">
            <a:xfrm>
              <a:off x="6145213" y="5737225"/>
              <a:ext cx="23813" cy="36513"/>
            </a:xfrm>
            <a:custGeom>
              <a:avLst/>
              <a:gdLst>
                <a:gd name="T0" fmla="*/ 2 w 4"/>
                <a:gd name="T1" fmla="*/ 6 h 6"/>
                <a:gd name="T2" fmla="*/ 2 w 4"/>
                <a:gd name="T3" fmla="*/ 1 h 6"/>
                <a:gd name="T4" fmla="*/ 3 w 4"/>
                <a:gd name="T5" fmla="*/ 0 h 6"/>
                <a:gd name="T6" fmla="*/ 2 w 4"/>
                <a:gd name="T7" fmla="*/ 6 h 6"/>
              </a:gdLst>
              <a:ahLst/>
              <a:cxnLst>
                <a:cxn ang="0">
                  <a:pos x="T0" y="T1"/>
                </a:cxn>
                <a:cxn ang="0">
                  <a:pos x="T2" y="T3"/>
                </a:cxn>
                <a:cxn ang="0">
                  <a:pos x="T4" y="T5"/>
                </a:cxn>
                <a:cxn ang="0">
                  <a:pos x="T6" y="T7"/>
                </a:cxn>
              </a:cxnLst>
              <a:rect l="0" t="0" r="r" b="b"/>
              <a:pathLst>
                <a:path w="4" h="6">
                  <a:moveTo>
                    <a:pt x="2" y="6"/>
                  </a:moveTo>
                  <a:cubicBezTo>
                    <a:pt x="0" y="6"/>
                    <a:pt x="1" y="2"/>
                    <a:pt x="2" y="1"/>
                  </a:cubicBezTo>
                  <a:cubicBezTo>
                    <a:pt x="2" y="1"/>
                    <a:pt x="2" y="0"/>
                    <a:pt x="3" y="0"/>
                  </a:cubicBezTo>
                  <a:cubicBezTo>
                    <a:pt x="4" y="3"/>
                    <a:pt x="2" y="4"/>
                    <a:pt x="2" y="6"/>
                  </a:cubicBezTo>
                  <a:close/>
                </a:path>
              </a:pathLst>
            </a:custGeom>
            <a:grpFill/>
            <a:ln w="9525">
              <a:solidFill>
                <a:schemeClr val="accent6"/>
              </a:solidFill>
              <a:round/>
              <a:headEnd/>
              <a:tailEnd/>
            </a:ln>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grpSp>
      <p:grpSp>
        <p:nvGrpSpPr>
          <p:cNvPr id="82" name="Group 147"/>
          <p:cNvGrpSpPr>
            <a:grpSpLocks noChangeAspect="1"/>
          </p:cNvGrpSpPr>
          <p:nvPr/>
        </p:nvGrpSpPr>
        <p:grpSpPr>
          <a:xfrm>
            <a:off x="415003" y="4443514"/>
            <a:ext cx="521766" cy="544306"/>
            <a:chOff x="3148013" y="2008188"/>
            <a:chExt cx="754063" cy="825500"/>
          </a:xfrm>
          <a:solidFill>
            <a:schemeClr val="accent4"/>
          </a:solidFill>
        </p:grpSpPr>
        <p:sp>
          <p:nvSpPr>
            <p:cNvPr id="83" name="Freeform 82"/>
            <p:cNvSpPr>
              <a:spLocks noEditPoints="1"/>
            </p:cNvSpPr>
            <p:nvPr/>
          </p:nvSpPr>
          <p:spPr bwMode="auto">
            <a:xfrm>
              <a:off x="3148013" y="2008188"/>
              <a:ext cx="754063" cy="825500"/>
            </a:xfrm>
            <a:custGeom>
              <a:avLst/>
              <a:gdLst>
                <a:gd name="T0" fmla="*/ 100 w 107"/>
                <a:gd name="T1" fmla="*/ 48 h 117"/>
                <a:gd name="T2" fmla="*/ 59 w 107"/>
                <a:gd name="T3" fmla="*/ 111 h 117"/>
                <a:gd name="T4" fmla="*/ 0 w 107"/>
                <a:gd name="T5" fmla="*/ 87 h 117"/>
                <a:gd name="T6" fmla="*/ 16 w 107"/>
                <a:gd name="T7" fmla="*/ 64 h 117"/>
                <a:gd name="T8" fmla="*/ 48 w 107"/>
                <a:gd name="T9" fmla="*/ 6 h 117"/>
                <a:gd name="T10" fmla="*/ 80 w 107"/>
                <a:gd name="T11" fmla="*/ 9 h 117"/>
                <a:gd name="T12" fmla="*/ 52 w 107"/>
                <a:gd name="T13" fmla="*/ 7 h 117"/>
                <a:gd name="T14" fmla="*/ 91 w 107"/>
                <a:gd name="T15" fmla="*/ 31 h 117"/>
                <a:gd name="T16" fmla="*/ 93 w 107"/>
                <a:gd name="T17" fmla="*/ 41 h 117"/>
                <a:gd name="T18" fmla="*/ 93 w 107"/>
                <a:gd name="T19" fmla="*/ 45 h 117"/>
                <a:gd name="T20" fmla="*/ 91 w 107"/>
                <a:gd name="T21" fmla="*/ 51 h 117"/>
                <a:gd name="T22" fmla="*/ 89 w 107"/>
                <a:gd name="T23" fmla="*/ 56 h 117"/>
                <a:gd name="T24" fmla="*/ 88 w 107"/>
                <a:gd name="T25" fmla="*/ 62 h 117"/>
                <a:gd name="T26" fmla="*/ 86 w 107"/>
                <a:gd name="T27" fmla="*/ 68 h 117"/>
                <a:gd name="T28" fmla="*/ 84 w 107"/>
                <a:gd name="T29" fmla="*/ 72 h 117"/>
                <a:gd name="T30" fmla="*/ 82 w 107"/>
                <a:gd name="T31" fmla="*/ 75 h 117"/>
                <a:gd name="T32" fmla="*/ 81 w 107"/>
                <a:gd name="T33" fmla="*/ 80 h 117"/>
                <a:gd name="T34" fmla="*/ 80 w 107"/>
                <a:gd name="T35" fmla="*/ 84 h 117"/>
                <a:gd name="T36" fmla="*/ 52 w 107"/>
                <a:gd name="T37" fmla="*/ 4 h 117"/>
                <a:gd name="T38" fmla="*/ 6 w 107"/>
                <a:gd name="T39" fmla="*/ 87 h 117"/>
                <a:gd name="T40" fmla="*/ 81 w 107"/>
                <a:gd name="T41" fmla="*/ 55 h 117"/>
                <a:gd name="T42" fmla="*/ 68 w 107"/>
                <a:gd name="T43" fmla="*/ 34 h 117"/>
                <a:gd name="T44" fmla="*/ 39 w 107"/>
                <a:gd name="T45" fmla="*/ 8 h 117"/>
                <a:gd name="T46" fmla="*/ 74 w 107"/>
                <a:gd name="T47" fmla="*/ 28 h 117"/>
                <a:gd name="T48" fmla="*/ 75 w 107"/>
                <a:gd name="T49" fmla="*/ 19 h 117"/>
                <a:gd name="T50" fmla="*/ 77 w 107"/>
                <a:gd name="T51" fmla="*/ 88 h 117"/>
                <a:gd name="T52" fmla="*/ 75 w 107"/>
                <a:gd name="T53" fmla="*/ 82 h 117"/>
                <a:gd name="T54" fmla="*/ 75 w 107"/>
                <a:gd name="T55" fmla="*/ 92 h 117"/>
                <a:gd name="T56" fmla="*/ 72 w 107"/>
                <a:gd name="T57" fmla="*/ 88 h 117"/>
                <a:gd name="T58" fmla="*/ 73 w 107"/>
                <a:gd name="T59" fmla="*/ 95 h 117"/>
                <a:gd name="T60" fmla="*/ 74 w 107"/>
                <a:gd name="T61" fmla="*/ 93 h 117"/>
                <a:gd name="T62" fmla="*/ 73 w 107"/>
                <a:gd name="T63" fmla="*/ 95 h 117"/>
                <a:gd name="T64" fmla="*/ 73 w 107"/>
                <a:gd name="T65" fmla="*/ 96 h 117"/>
                <a:gd name="T66" fmla="*/ 70 w 107"/>
                <a:gd name="T67" fmla="*/ 100 h 117"/>
                <a:gd name="T68" fmla="*/ 68 w 107"/>
                <a:gd name="T69" fmla="*/ 102 h 117"/>
                <a:gd name="T70" fmla="*/ 66 w 107"/>
                <a:gd name="T71" fmla="*/ 99 h 117"/>
                <a:gd name="T72" fmla="*/ 65 w 107"/>
                <a:gd name="T73" fmla="*/ 107 h 117"/>
                <a:gd name="T74" fmla="*/ 65 w 107"/>
                <a:gd name="T75" fmla="*/ 107 h 117"/>
                <a:gd name="T76" fmla="*/ 64 w 107"/>
                <a:gd name="T7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7" h="117">
                  <a:moveTo>
                    <a:pt x="106" y="20"/>
                  </a:moveTo>
                  <a:cubicBezTo>
                    <a:pt x="107" y="31"/>
                    <a:pt x="103" y="40"/>
                    <a:pt x="100" y="48"/>
                  </a:cubicBezTo>
                  <a:cubicBezTo>
                    <a:pt x="91" y="73"/>
                    <a:pt x="80" y="94"/>
                    <a:pt x="64" y="113"/>
                  </a:cubicBezTo>
                  <a:cubicBezTo>
                    <a:pt x="62" y="113"/>
                    <a:pt x="61" y="111"/>
                    <a:pt x="59" y="111"/>
                  </a:cubicBezTo>
                  <a:cubicBezTo>
                    <a:pt x="55" y="112"/>
                    <a:pt x="55" y="116"/>
                    <a:pt x="51" y="117"/>
                  </a:cubicBezTo>
                  <a:cubicBezTo>
                    <a:pt x="33" y="108"/>
                    <a:pt x="17" y="97"/>
                    <a:pt x="0" y="87"/>
                  </a:cubicBezTo>
                  <a:cubicBezTo>
                    <a:pt x="0" y="83"/>
                    <a:pt x="4" y="83"/>
                    <a:pt x="6" y="81"/>
                  </a:cubicBezTo>
                  <a:cubicBezTo>
                    <a:pt x="9" y="77"/>
                    <a:pt x="13" y="70"/>
                    <a:pt x="16" y="64"/>
                  </a:cubicBezTo>
                  <a:cubicBezTo>
                    <a:pt x="24" y="47"/>
                    <a:pt x="32" y="25"/>
                    <a:pt x="37" y="4"/>
                  </a:cubicBezTo>
                  <a:cubicBezTo>
                    <a:pt x="40" y="3"/>
                    <a:pt x="44" y="5"/>
                    <a:pt x="48" y="6"/>
                  </a:cubicBezTo>
                  <a:cubicBezTo>
                    <a:pt x="49" y="4"/>
                    <a:pt x="49" y="1"/>
                    <a:pt x="50" y="0"/>
                  </a:cubicBezTo>
                  <a:cubicBezTo>
                    <a:pt x="59" y="2"/>
                    <a:pt x="70" y="6"/>
                    <a:pt x="80" y="9"/>
                  </a:cubicBezTo>
                  <a:cubicBezTo>
                    <a:pt x="89" y="13"/>
                    <a:pt x="100" y="14"/>
                    <a:pt x="106" y="20"/>
                  </a:cubicBezTo>
                  <a:close/>
                  <a:moveTo>
                    <a:pt x="52" y="7"/>
                  </a:moveTo>
                  <a:cubicBezTo>
                    <a:pt x="60" y="9"/>
                    <a:pt x="69" y="11"/>
                    <a:pt x="77" y="14"/>
                  </a:cubicBezTo>
                  <a:cubicBezTo>
                    <a:pt x="81" y="20"/>
                    <a:pt x="86" y="25"/>
                    <a:pt x="91" y="31"/>
                  </a:cubicBezTo>
                  <a:cubicBezTo>
                    <a:pt x="91" y="33"/>
                    <a:pt x="90" y="34"/>
                    <a:pt x="90" y="36"/>
                  </a:cubicBezTo>
                  <a:cubicBezTo>
                    <a:pt x="91" y="37"/>
                    <a:pt x="93" y="38"/>
                    <a:pt x="93" y="41"/>
                  </a:cubicBezTo>
                  <a:cubicBezTo>
                    <a:pt x="91" y="41"/>
                    <a:pt x="91" y="39"/>
                    <a:pt x="89" y="38"/>
                  </a:cubicBezTo>
                  <a:cubicBezTo>
                    <a:pt x="89" y="41"/>
                    <a:pt x="93" y="41"/>
                    <a:pt x="93" y="45"/>
                  </a:cubicBezTo>
                  <a:cubicBezTo>
                    <a:pt x="90" y="45"/>
                    <a:pt x="91" y="42"/>
                    <a:pt x="88" y="43"/>
                  </a:cubicBezTo>
                  <a:cubicBezTo>
                    <a:pt x="87" y="48"/>
                    <a:pt x="91" y="47"/>
                    <a:pt x="91" y="51"/>
                  </a:cubicBezTo>
                  <a:cubicBezTo>
                    <a:pt x="89" y="52"/>
                    <a:pt x="89" y="49"/>
                    <a:pt x="87" y="49"/>
                  </a:cubicBezTo>
                  <a:cubicBezTo>
                    <a:pt x="86" y="53"/>
                    <a:pt x="90" y="52"/>
                    <a:pt x="89" y="56"/>
                  </a:cubicBezTo>
                  <a:cubicBezTo>
                    <a:pt x="87" y="56"/>
                    <a:pt x="86" y="53"/>
                    <a:pt x="85" y="55"/>
                  </a:cubicBezTo>
                  <a:cubicBezTo>
                    <a:pt x="84" y="59"/>
                    <a:pt x="88" y="58"/>
                    <a:pt x="88" y="62"/>
                  </a:cubicBezTo>
                  <a:cubicBezTo>
                    <a:pt x="85" y="62"/>
                    <a:pt x="85" y="59"/>
                    <a:pt x="83" y="61"/>
                  </a:cubicBezTo>
                  <a:cubicBezTo>
                    <a:pt x="81" y="65"/>
                    <a:pt x="86" y="64"/>
                    <a:pt x="86" y="68"/>
                  </a:cubicBezTo>
                  <a:cubicBezTo>
                    <a:pt x="83" y="68"/>
                    <a:pt x="83" y="66"/>
                    <a:pt x="81" y="66"/>
                  </a:cubicBezTo>
                  <a:cubicBezTo>
                    <a:pt x="81" y="70"/>
                    <a:pt x="84" y="69"/>
                    <a:pt x="84" y="72"/>
                  </a:cubicBezTo>
                  <a:cubicBezTo>
                    <a:pt x="83" y="74"/>
                    <a:pt x="81" y="70"/>
                    <a:pt x="80" y="72"/>
                  </a:cubicBezTo>
                  <a:cubicBezTo>
                    <a:pt x="81" y="72"/>
                    <a:pt x="83" y="73"/>
                    <a:pt x="82" y="75"/>
                  </a:cubicBezTo>
                  <a:cubicBezTo>
                    <a:pt x="80" y="76"/>
                    <a:pt x="79" y="72"/>
                    <a:pt x="78" y="75"/>
                  </a:cubicBezTo>
                  <a:cubicBezTo>
                    <a:pt x="76" y="78"/>
                    <a:pt x="82" y="77"/>
                    <a:pt x="81" y="80"/>
                  </a:cubicBezTo>
                  <a:cubicBezTo>
                    <a:pt x="78" y="81"/>
                    <a:pt x="79" y="79"/>
                    <a:pt x="77" y="79"/>
                  </a:cubicBezTo>
                  <a:cubicBezTo>
                    <a:pt x="76" y="82"/>
                    <a:pt x="79" y="82"/>
                    <a:pt x="80" y="84"/>
                  </a:cubicBezTo>
                  <a:cubicBezTo>
                    <a:pt x="89" y="64"/>
                    <a:pt x="101" y="48"/>
                    <a:pt x="102" y="20"/>
                  </a:cubicBezTo>
                  <a:cubicBezTo>
                    <a:pt x="85" y="15"/>
                    <a:pt x="68" y="10"/>
                    <a:pt x="52" y="4"/>
                  </a:cubicBezTo>
                  <a:cubicBezTo>
                    <a:pt x="52" y="4"/>
                    <a:pt x="51" y="5"/>
                    <a:pt x="52" y="7"/>
                  </a:cubicBezTo>
                  <a:close/>
                  <a:moveTo>
                    <a:pt x="6" y="87"/>
                  </a:moveTo>
                  <a:cubicBezTo>
                    <a:pt x="22" y="94"/>
                    <a:pt x="35" y="104"/>
                    <a:pt x="51" y="112"/>
                  </a:cubicBezTo>
                  <a:cubicBezTo>
                    <a:pt x="64" y="97"/>
                    <a:pt x="74" y="77"/>
                    <a:pt x="81" y="55"/>
                  </a:cubicBezTo>
                  <a:cubicBezTo>
                    <a:pt x="83" y="47"/>
                    <a:pt x="86" y="39"/>
                    <a:pt x="86" y="31"/>
                  </a:cubicBezTo>
                  <a:cubicBezTo>
                    <a:pt x="78" y="28"/>
                    <a:pt x="74" y="36"/>
                    <a:pt x="68" y="34"/>
                  </a:cubicBezTo>
                  <a:cubicBezTo>
                    <a:pt x="69" y="28"/>
                    <a:pt x="72" y="24"/>
                    <a:pt x="71" y="17"/>
                  </a:cubicBezTo>
                  <a:cubicBezTo>
                    <a:pt x="61" y="13"/>
                    <a:pt x="50" y="11"/>
                    <a:pt x="39" y="8"/>
                  </a:cubicBezTo>
                  <a:cubicBezTo>
                    <a:pt x="33" y="39"/>
                    <a:pt x="22" y="66"/>
                    <a:pt x="6" y="87"/>
                  </a:cubicBezTo>
                  <a:close/>
                  <a:moveTo>
                    <a:pt x="74" y="28"/>
                  </a:moveTo>
                  <a:cubicBezTo>
                    <a:pt x="76" y="27"/>
                    <a:pt x="79" y="27"/>
                    <a:pt x="80" y="25"/>
                  </a:cubicBezTo>
                  <a:cubicBezTo>
                    <a:pt x="78" y="23"/>
                    <a:pt x="77" y="20"/>
                    <a:pt x="75" y="19"/>
                  </a:cubicBezTo>
                  <a:cubicBezTo>
                    <a:pt x="75" y="22"/>
                    <a:pt x="75" y="26"/>
                    <a:pt x="74" y="28"/>
                  </a:cubicBezTo>
                  <a:close/>
                  <a:moveTo>
                    <a:pt x="77" y="88"/>
                  </a:moveTo>
                  <a:cubicBezTo>
                    <a:pt x="77" y="86"/>
                    <a:pt x="79" y="86"/>
                    <a:pt x="79" y="84"/>
                  </a:cubicBezTo>
                  <a:cubicBezTo>
                    <a:pt x="77" y="85"/>
                    <a:pt x="76" y="83"/>
                    <a:pt x="75" y="82"/>
                  </a:cubicBezTo>
                  <a:cubicBezTo>
                    <a:pt x="73" y="85"/>
                    <a:pt x="75" y="87"/>
                    <a:pt x="77" y="88"/>
                  </a:cubicBezTo>
                  <a:close/>
                  <a:moveTo>
                    <a:pt x="75" y="92"/>
                  </a:moveTo>
                  <a:cubicBezTo>
                    <a:pt x="75" y="91"/>
                    <a:pt x="75" y="91"/>
                    <a:pt x="76" y="91"/>
                  </a:cubicBezTo>
                  <a:cubicBezTo>
                    <a:pt x="75" y="89"/>
                    <a:pt x="74" y="88"/>
                    <a:pt x="72" y="88"/>
                  </a:cubicBezTo>
                  <a:cubicBezTo>
                    <a:pt x="71" y="89"/>
                    <a:pt x="73" y="91"/>
                    <a:pt x="75" y="92"/>
                  </a:cubicBezTo>
                  <a:close/>
                  <a:moveTo>
                    <a:pt x="73" y="95"/>
                  </a:moveTo>
                  <a:cubicBezTo>
                    <a:pt x="73" y="95"/>
                    <a:pt x="73" y="94"/>
                    <a:pt x="73" y="94"/>
                  </a:cubicBezTo>
                  <a:cubicBezTo>
                    <a:pt x="74" y="94"/>
                    <a:pt x="74" y="94"/>
                    <a:pt x="74" y="93"/>
                  </a:cubicBezTo>
                  <a:cubicBezTo>
                    <a:pt x="72" y="94"/>
                    <a:pt x="72" y="92"/>
                    <a:pt x="70" y="91"/>
                  </a:cubicBezTo>
                  <a:cubicBezTo>
                    <a:pt x="70" y="93"/>
                    <a:pt x="72" y="94"/>
                    <a:pt x="73" y="95"/>
                  </a:cubicBezTo>
                  <a:close/>
                  <a:moveTo>
                    <a:pt x="70" y="100"/>
                  </a:moveTo>
                  <a:cubicBezTo>
                    <a:pt x="71" y="98"/>
                    <a:pt x="72" y="97"/>
                    <a:pt x="73" y="96"/>
                  </a:cubicBezTo>
                  <a:cubicBezTo>
                    <a:pt x="70" y="96"/>
                    <a:pt x="71" y="94"/>
                    <a:pt x="68" y="94"/>
                  </a:cubicBezTo>
                  <a:cubicBezTo>
                    <a:pt x="66" y="96"/>
                    <a:pt x="69" y="98"/>
                    <a:pt x="70" y="100"/>
                  </a:cubicBezTo>
                  <a:close/>
                  <a:moveTo>
                    <a:pt x="68" y="103"/>
                  </a:moveTo>
                  <a:cubicBezTo>
                    <a:pt x="68" y="102"/>
                    <a:pt x="68" y="102"/>
                    <a:pt x="68" y="102"/>
                  </a:cubicBezTo>
                  <a:cubicBezTo>
                    <a:pt x="69" y="102"/>
                    <a:pt x="69" y="101"/>
                    <a:pt x="69" y="101"/>
                  </a:cubicBezTo>
                  <a:cubicBezTo>
                    <a:pt x="66" y="102"/>
                    <a:pt x="68" y="99"/>
                    <a:pt x="66" y="99"/>
                  </a:cubicBezTo>
                  <a:cubicBezTo>
                    <a:pt x="66" y="101"/>
                    <a:pt x="67" y="102"/>
                    <a:pt x="68" y="103"/>
                  </a:cubicBezTo>
                  <a:close/>
                  <a:moveTo>
                    <a:pt x="65" y="107"/>
                  </a:moveTo>
                  <a:cubicBezTo>
                    <a:pt x="66" y="105"/>
                    <a:pt x="65" y="103"/>
                    <a:pt x="63" y="104"/>
                  </a:cubicBezTo>
                  <a:cubicBezTo>
                    <a:pt x="63" y="105"/>
                    <a:pt x="64" y="106"/>
                    <a:pt x="65" y="107"/>
                  </a:cubicBezTo>
                  <a:close/>
                  <a:moveTo>
                    <a:pt x="61" y="107"/>
                  </a:moveTo>
                  <a:cubicBezTo>
                    <a:pt x="60" y="110"/>
                    <a:pt x="64" y="110"/>
                    <a:pt x="64" y="107"/>
                  </a:cubicBezTo>
                  <a:cubicBezTo>
                    <a:pt x="62" y="108"/>
                    <a:pt x="62" y="106"/>
                    <a:pt x="61"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84" name="Freeform 42"/>
            <p:cNvSpPr>
              <a:spLocks/>
            </p:cNvSpPr>
            <p:nvPr/>
          </p:nvSpPr>
          <p:spPr bwMode="auto">
            <a:xfrm>
              <a:off x="3443288" y="2114550"/>
              <a:ext cx="155575" cy="84138"/>
            </a:xfrm>
            <a:custGeom>
              <a:avLst/>
              <a:gdLst>
                <a:gd name="T0" fmla="*/ 22 w 22"/>
                <a:gd name="T1" fmla="*/ 8 h 12"/>
                <a:gd name="T2" fmla="*/ 12 w 22"/>
                <a:gd name="T3" fmla="*/ 7 h 12"/>
                <a:gd name="T4" fmla="*/ 0 w 22"/>
                <a:gd name="T5" fmla="*/ 2 h 12"/>
                <a:gd name="T6" fmla="*/ 0 w 22"/>
                <a:gd name="T7" fmla="*/ 0 h 12"/>
                <a:gd name="T8" fmla="*/ 2 w 22"/>
                <a:gd name="T9" fmla="*/ 0 h 12"/>
                <a:gd name="T10" fmla="*/ 22 w 22"/>
                <a:gd name="T11" fmla="*/ 8 h 12"/>
              </a:gdLst>
              <a:ahLst/>
              <a:cxnLst>
                <a:cxn ang="0">
                  <a:pos x="T0" y="T1"/>
                </a:cxn>
                <a:cxn ang="0">
                  <a:pos x="T2" y="T3"/>
                </a:cxn>
                <a:cxn ang="0">
                  <a:pos x="T4" y="T5"/>
                </a:cxn>
                <a:cxn ang="0">
                  <a:pos x="T6" y="T7"/>
                </a:cxn>
                <a:cxn ang="0">
                  <a:pos x="T8" y="T9"/>
                </a:cxn>
                <a:cxn ang="0">
                  <a:pos x="T10" y="T11"/>
                </a:cxn>
              </a:cxnLst>
              <a:rect l="0" t="0" r="r" b="b"/>
              <a:pathLst>
                <a:path w="22" h="12">
                  <a:moveTo>
                    <a:pt x="22" y="8"/>
                  </a:moveTo>
                  <a:cubicBezTo>
                    <a:pt x="20" y="12"/>
                    <a:pt x="15" y="8"/>
                    <a:pt x="12" y="7"/>
                  </a:cubicBezTo>
                  <a:cubicBezTo>
                    <a:pt x="7" y="5"/>
                    <a:pt x="3" y="4"/>
                    <a:pt x="0" y="2"/>
                  </a:cubicBezTo>
                  <a:cubicBezTo>
                    <a:pt x="0" y="1"/>
                    <a:pt x="0" y="1"/>
                    <a:pt x="0" y="0"/>
                  </a:cubicBezTo>
                  <a:cubicBezTo>
                    <a:pt x="0" y="0"/>
                    <a:pt x="1" y="0"/>
                    <a:pt x="2" y="0"/>
                  </a:cubicBezTo>
                  <a:cubicBezTo>
                    <a:pt x="9" y="2"/>
                    <a:pt x="17" y="3"/>
                    <a:pt x="2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85" name="Freeform 84"/>
            <p:cNvSpPr>
              <a:spLocks/>
            </p:cNvSpPr>
            <p:nvPr/>
          </p:nvSpPr>
          <p:spPr bwMode="auto">
            <a:xfrm>
              <a:off x="3430588" y="2170113"/>
              <a:ext cx="147638" cy="71438"/>
            </a:xfrm>
            <a:custGeom>
              <a:avLst/>
              <a:gdLst>
                <a:gd name="T0" fmla="*/ 21 w 21"/>
                <a:gd name="T1" fmla="*/ 10 h 10"/>
                <a:gd name="T2" fmla="*/ 1 w 21"/>
                <a:gd name="T3" fmla="*/ 2 h 10"/>
                <a:gd name="T4" fmla="*/ 0 w 21"/>
                <a:gd name="T5" fmla="*/ 1 h 10"/>
                <a:gd name="T6" fmla="*/ 2 w 21"/>
                <a:gd name="T7" fmla="*/ 0 h 10"/>
                <a:gd name="T8" fmla="*/ 13 w 21"/>
                <a:gd name="T9" fmla="*/ 4 h 10"/>
                <a:gd name="T10" fmla="*/ 21 w 21"/>
                <a:gd name="T11" fmla="*/ 10 h 10"/>
              </a:gdLst>
              <a:ahLst/>
              <a:cxnLst>
                <a:cxn ang="0">
                  <a:pos x="T0" y="T1"/>
                </a:cxn>
                <a:cxn ang="0">
                  <a:pos x="T2" y="T3"/>
                </a:cxn>
                <a:cxn ang="0">
                  <a:pos x="T4" y="T5"/>
                </a:cxn>
                <a:cxn ang="0">
                  <a:pos x="T6" y="T7"/>
                </a:cxn>
                <a:cxn ang="0">
                  <a:pos x="T8" y="T9"/>
                </a:cxn>
                <a:cxn ang="0">
                  <a:pos x="T10" y="T11"/>
                </a:cxn>
              </a:cxnLst>
              <a:rect l="0" t="0" r="r" b="b"/>
              <a:pathLst>
                <a:path w="21" h="10">
                  <a:moveTo>
                    <a:pt x="21" y="10"/>
                  </a:moveTo>
                  <a:cubicBezTo>
                    <a:pt x="12" y="9"/>
                    <a:pt x="8" y="5"/>
                    <a:pt x="1" y="2"/>
                  </a:cubicBezTo>
                  <a:cubicBezTo>
                    <a:pt x="0" y="2"/>
                    <a:pt x="0" y="1"/>
                    <a:pt x="0" y="1"/>
                  </a:cubicBezTo>
                  <a:cubicBezTo>
                    <a:pt x="1" y="0"/>
                    <a:pt x="1" y="0"/>
                    <a:pt x="2" y="0"/>
                  </a:cubicBezTo>
                  <a:cubicBezTo>
                    <a:pt x="6" y="0"/>
                    <a:pt x="9" y="2"/>
                    <a:pt x="13" y="4"/>
                  </a:cubicBezTo>
                  <a:cubicBezTo>
                    <a:pt x="16" y="5"/>
                    <a:pt x="21" y="5"/>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86" name="Freeform 52"/>
            <p:cNvSpPr>
              <a:spLocks/>
            </p:cNvSpPr>
            <p:nvPr/>
          </p:nvSpPr>
          <p:spPr bwMode="auto">
            <a:xfrm>
              <a:off x="3408363" y="2219325"/>
              <a:ext cx="274638" cy="134938"/>
            </a:xfrm>
            <a:custGeom>
              <a:avLst/>
              <a:gdLst>
                <a:gd name="T0" fmla="*/ 39 w 39"/>
                <a:gd name="T1" fmla="*/ 19 h 19"/>
                <a:gd name="T2" fmla="*/ 18 w 39"/>
                <a:gd name="T3" fmla="*/ 12 h 19"/>
                <a:gd name="T4" fmla="*/ 0 w 39"/>
                <a:gd name="T5" fmla="*/ 2 h 19"/>
                <a:gd name="T6" fmla="*/ 1 w 39"/>
                <a:gd name="T7" fmla="*/ 1 h 19"/>
                <a:gd name="T8" fmla="*/ 2 w 39"/>
                <a:gd name="T9" fmla="*/ 1 h 19"/>
                <a:gd name="T10" fmla="*/ 31 w 39"/>
                <a:gd name="T11" fmla="*/ 13 h 19"/>
                <a:gd name="T12" fmla="*/ 39 w 3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19"/>
                  </a:moveTo>
                  <a:cubicBezTo>
                    <a:pt x="32" y="19"/>
                    <a:pt x="25" y="15"/>
                    <a:pt x="18" y="12"/>
                  </a:cubicBezTo>
                  <a:cubicBezTo>
                    <a:pt x="12" y="9"/>
                    <a:pt x="6" y="6"/>
                    <a:pt x="0" y="2"/>
                  </a:cubicBezTo>
                  <a:cubicBezTo>
                    <a:pt x="0" y="2"/>
                    <a:pt x="0" y="1"/>
                    <a:pt x="1" y="1"/>
                  </a:cubicBezTo>
                  <a:cubicBezTo>
                    <a:pt x="1" y="1"/>
                    <a:pt x="2" y="0"/>
                    <a:pt x="2" y="1"/>
                  </a:cubicBezTo>
                  <a:cubicBezTo>
                    <a:pt x="12" y="4"/>
                    <a:pt x="21" y="9"/>
                    <a:pt x="31" y="13"/>
                  </a:cubicBezTo>
                  <a:cubicBezTo>
                    <a:pt x="34" y="14"/>
                    <a:pt x="39" y="15"/>
                    <a:pt x="3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87" name="Freeform 62"/>
            <p:cNvSpPr>
              <a:spLocks/>
            </p:cNvSpPr>
            <p:nvPr/>
          </p:nvSpPr>
          <p:spPr bwMode="auto">
            <a:xfrm>
              <a:off x="3387725" y="2290763"/>
              <a:ext cx="288925" cy="139700"/>
            </a:xfrm>
            <a:custGeom>
              <a:avLst/>
              <a:gdLst>
                <a:gd name="T0" fmla="*/ 41 w 41"/>
                <a:gd name="T1" fmla="*/ 20 h 20"/>
                <a:gd name="T2" fmla="*/ 21 w 41"/>
                <a:gd name="T3" fmla="*/ 11 h 20"/>
                <a:gd name="T4" fmla="*/ 0 w 41"/>
                <a:gd name="T5" fmla="*/ 1 h 20"/>
                <a:gd name="T6" fmla="*/ 1 w 41"/>
                <a:gd name="T7" fmla="*/ 0 h 20"/>
                <a:gd name="T8" fmla="*/ 2 w 41"/>
                <a:gd name="T9" fmla="*/ 0 h 20"/>
                <a:gd name="T10" fmla="*/ 34 w 41"/>
                <a:gd name="T11" fmla="*/ 14 h 20"/>
                <a:gd name="T12" fmla="*/ 41 w 41"/>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1" h="20">
                  <a:moveTo>
                    <a:pt x="41" y="20"/>
                  </a:moveTo>
                  <a:cubicBezTo>
                    <a:pt x="34" y="20"/>
                    <a:pt x="28" y="14"/>
                    <a:pt x="21" y="11"/>
                  </a:cubicBezTo>
                  <a:cubicBezTo>
                    <a:pt x="14" y="8"/>
                    <a:pt x="7" y="5"/>
                    <a:pt x="0" y="1"/>
                  </a:cubicBezTo>
                  <a:cubicBezTo>
                    <a:pt x="0" y="1"/>
                    <a:pt x="0" y="0"/>
                    <a:pt x="1" y="0"/>
                  </a:cubicBezTo>
                  <a:cubicBezTo>
                    <a:pt x="1" y="0"/>
                    <a:pt x="2" y="0"/>
                    <a:pt x="2" y="0"/>
                  </a:cubicBezTo>
                  <a:cubicBezTo>
                    <a:pt x="13" y="3"/>
                    <a:pt x="24" y="8"/>
                    <a:pt x="34" y="14"/>
                  </a:cubicBezTo>
                  <a:cubicBezTo>
                    <a:pt x="37" y="15"/>
                    <a:pt x="41" y="16"/>
                    <a:pt x="4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88" name="Freeform 64"/>
            <p:cNvSpPr>
              <a:spLocks/>
            </p:cNvSpPr>
            <p:nvPr/>
          </p:nvSpPr>
          <p:spPr bwMode="auto">
            <a:xfrm>
              <a:off x="3379788" y="2339975"/>
              <a:ext cx="92075" cy="49213"/>
            </a:xfrm>
            <a:custGeom>
              <a:avLst/>
              <a:gdLst>
                <a:gd name="T0" fmla="*/ 13 w 13"/>
                <a:gd name="T1" fmla="*/ 7 h 7"/>
                <a:gd name="T2" fmla="*/ 0 w 13"/>
                <a:gd name="T3" fmla="*/ 0 h 7"/>
                <a:gd name="T4" fmla="*/ 13 w 13"/>
                <a:gd name="T5" fmla="*/ 7 h 7"/>
              </a:gdLst>
              <a:ahLst/>
              <a:cxnLst>
                <a:cxn ang="0">
                  <a:pos x="T0" y="T1"/>
                </a:cxn>
                <a:cxn ang="0">
                  <a:pos x="T2" y="T3"/>
                </a:cxn>
                <a:cxn ang="0">
                  <a:pos x="T4" y="T5"/>
                </a:cxn>
              </a:cxnLst>
              <a:rect l="0" t="0" r="r" b="b"/>
              <a:pathLst>
                <a:path w="13" h="7">
                  <a:moveTo>
                    <a:pt x="13" y="7"/>
                  </a:moveTo>
                  <a:cubicBezTo>
                    <a:pt x="9" y="7"/>
                    <a:pt x="3" y="4"/>
                    <a:pt x="0" y="0"/>
                  </a:cubicBezTo>
                  <a:cubicBezTo>
                    <a:pt x="4" y="0"/>
                    <a:pt x="12" y="3"/>
                    <a:pt x="1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sp>
          <p:nvSpPr>
            <p:cNvPr id="89" name="Freeform 73"/>
            <p:cNvSpPr>
              <a:spLocks noEditPoints="1"/>
            </p:cNvSpPr>
            <p:nvPr/>
          </p:nvSpPr>
          <p:spPr bwMode="auto">
            <a:xfrm>
              <a:off x="3275013" y="2430463"/>
              <a:ext cx="381000" cy="282575"/>
            </a:xfrm>
            <a:custGeom>
              <a:avLst/>
              <a:gdLst>
                <a:gd name="T0" fmla="*/ 31 w 54"/>
                <a:gd name="T1" fmla="*/ 4 h 40"/>
                <a:gd name="T2" fmla="*/ 29 w 54"/>
                <a:gd name="T3" fmla="*/ 10 h 40"/>
                <a:gd name="T4" fmla="*/ 33 w 54"/>
                <a:gd name="T5" fmla="*/ 12 h 40"/>
                <a:gd name="T6" fmla="*/ 40 w 54"/>
                <a:gd name="T7" fmla="*/ 1 h 40"/>
                <a:gd name="T8" fmla="*/ 46 w 54"/>
                <a:gd name="T9" fmla="*/ 5 h 40"/>
                <a:gd name="T10" fmla="*/ 44 w 54"/>
                <a:gd name="T11" fmla="*/ 10 h 40"/>
                <a:gd name="T12" fmla="*/ 54 w 54"/>
                <a:gd name="T13" fmla="*/ 6 h 40"/>
                <a:gd name="T14" fmla="*/ 43 w 54"/>
                <a:gd name="T15" fmla="*/ 13 h 40"/>
                <a:gd name="T16" fmla="*/ 31 w 54"/>
                <a:gd name="T17" fmla="*/ 40 h 40"/>
                <a:gd name="T18" fmla="*/ 14 w 54"/>
                <a:gd name="T19" fmla="*/ 31 h 40"/>
                <a:gd name="T20" fmla="*/ 0 w 54"/>
                <a:gd name="T21" fmla="*/ 20 h 40"/>
                <a:gd name="T22" fmla="*/ 7 w 54"/>
                <a:gd name="T23" fmla="*/ 7 h 40"/>
                <a:gd name="T24" fmla="*/ 18 w 54"/>
                <a:gd name="T25" fmla="*/ 10 h 40"/>
                <a:gd name="T26" fmla="*/ 25 w 54"/>
                <a:gd name="T27" fmla="*/ 0 h 40"/>
                <a:gd name="T28" fmla="*/ 31 w 54"/>
                <a:gd name="T29" fmla="*/ 4 h 40"/>
                <a:gd name="T30" fmla="*/ 10 w 54"/>
                <a:gd name="T31" fmla="*/ 24 h 40"/>
                <a:gd name="T32" fmla="*/ 11 w 54"/>
                <a:gd name="T33" fmla="*/ 24 h 40"/>
                <a:gd name="T34" fmla="*/ 18 w 54"/>
                <a:gd name="T35" fmla="*/ 12 h 40"/>
                <a:gd name="T36" fmla="*/ 10 w 54"/>
                <a:gd name="T37" fmla="*/ 24 h 40"/>
                <a:gd name="T38" fmla="*/ 23 w 54"/>
                <a:gd name="T39" fmla="*/ 32 h 40"/>
                <a:gd name="T40" fmla="*/ 32 w 54"/>
                <a:gd name="T41" fmla="*/ 13 h 40"/>
                <a:gd name="T42" fmla="*/ 27 w 54"/>
                <a:gd name="T43" fmla="*/ 13 h 40"/>
                <a:gd name="T44" fmla="*/ 23 w 54"/>
                <a:gd name="T4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40">
                  <a:moveTo>
                    <a:pt x="31" y="4"/>
                  </a:moveTo>
                  <a:cubicBezTo>
                    <a:pt x="31" y="7"/>
                    <a:pt x="30" y="8"/>
                    <a:pt x="29" y="10"/>
                  </a:cubicBezTo>
                  <a:cubicBezTo>
                    <a:pt x="30" y="11"/>
                    <a:pt x="32" y="11"/>
                    <a:pt x="33" y="12"/>
                  </a:cubicBezTo>
                  <a:cubicBezTo>
                    <a:pt x="36" y="8"/>
                    <a:pt x="37" y="5"/>
                    <a:pt x="40" y="1"/>
                  </a:cubicBezTo>
                  <a:cubicBezTo>
                    <a:pt x="43" y="2"/>
                    <a:pt x="44" y="3"/>
                    <a:pt x="46" y="5"/>
                  </a:cubicBezTo>
                  <a:cubicBezTo>
                    <a:pt x="45" y="7"/>
                    <a:pt x="44" y="8"/>
                    <a:pt x="44" y="10"/>
                  </a:cubicBezTo>
                  <a:cubicBezTo>
                    <a:pt x="48" y="10"/>
                    <a:pt x="50" y="5"/>
                    <a:pt x="54" y="6"/>
                  </a:cubicBezTo>
                  <a:cubicBezTo>
                    <a:pt x="52" y="10"/>
                    <a:pt x="48" y="12"/>
                    <a:pt x="43" y="13"/>
                  </a:cubicBezTo>
                  <a:cubicBezTo>
                    <a:pt x="39" y="22"/>
                    <a:pt x="35" y="31"/>
                    <a:pt x="31" y="40"/>
                  </a:cubicBezTo>
                  <a:cubicBezTo>
                    <a:pt x="25" y="38"/>
                    <a:pt x="19" y="34"/>
                    <a:pt x="14" y="31"/>
                  </a:cubicBezTo>
                  <a:cubicBezTo>
                    <a:pt x="9" y="27"/>
                    <a:pt x="4" y="24"/>
                    <a:pt x="0" y="20"/>
                  </a:cubicBezTo>
                  <a:cubicBezTo>
                    <a:pt x="3" y="17"/>
                    <a:pt x="6" y="12"/>
                    <a:pt x="7" y="7"/>
                  </a:cubicBezTo>
                  <a:cubicBezTo>
                    <a:pt x="11" y="5"/>
                    <a:pt x="15" y="8"/>
                    <a:pt x="18" y="10"/>
                  </a:cubicBezTo>
                  <a:cubicBezTo>
                    <a:pt x="21" y="8"/>
                    <a:pt x="22" y="3"/>
                    <a:pt x="25" y="0"/>
                  </a:cubicBezTo>
                  <a:cubicBezTo>
                    <a:pt x="28" y="0"/>
                    <a:pt x="30" y="2"/>
                    <a:pt x="31" y="4"/>
                  </a:cubicBezTo>
                  <a:close/>
                  <a:moveTo>
                    <a:pt x="10" y="24"/>
                  </a:moveTo>
                  <a:cubicBezTo>
                    <a:pt x="10" y="24"/>
                    <a:pt x="11" y="24"/>
                    <a:pt x="11" y="24"/>
                  </a:cubicBezTo>
                  <a:cubicBezTo>
                    <a:pt x="15" y="22"/>
                    <a:pt x="15" y="16"/>
                    <a:pt x="18" y="12"/>
                  </a:cubicBezTo>
                  <a:cubicBezTo>
                    <a:pt x="12" y="12"/>
                    <a:pt x="12" y="20"/>
                    <a:pt x="10" y="24"/>
                  </a:cubicBezTo>
                  <a:close/>
                  <a:moveTo>
                    <a:pt x="23" y="32"/>
                  </a:moveTo>
                  <a:cubicBezTo>
                    <a:pt x="26" y="25"/>
                    <a:pt x="30" y="21"/>
                    <a:pt x="32" y="13"/>
                  </a:cubicBezTo>
                  <a:cubicBezTo>
                    <a:pt x="30" y="13"/>
                    <a:pt x="29" y="13"/>
                    <a:pt x="27" y="13"/>
                  </a:cubicBezTo>
                  <a:cubicBezTo>
                    <a:pt x="27" y="19"/>
                    <a:pt x="16" y="29"/>
                    <a:pt x="2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endParaRPr lang="en-US" sz="923" dirty="0"/>
            </a:p>
          </p:txBody>
        </p:sp>
      </p:grpSp>
      <p:sp>
        <p:nvSpPr>
          <p:cNvPr id="90" name="Freeform 408"/>
          <p:cNvSpPr>
            <a:spLocks noChangeAspect="1" noEditPoints="1"/>
          </p:cNvSpPr>
          <p:nvPr/>
        </p:nvSpPr>
        <p:spPr bwMode="auto">
          <a:xfrm>
            <a:off x="379049" y="5412756"/>
            <a:ext cx="557720" cy="427188"/>
          </a:xfrm>
          <a:custGeom>
            <a:avLst/>
            <a:gdLst>
              <a:gd name="T0" fmla="*/ 96 w 127"/>
              <a:gd name="T1" fmla="*/ 62 h 104"/>
              <a:gd name="T2" fmla="*/ 72 w 127"/>
              <a:gd name="T3" fmla="*/ 59 h 104"/>
              <a:gd name="T4" fmla="*/ 74 w 127"/>
              <a:gd name="T5" fmla="*/ 37 h 104"/>
              <a:gd name="T6" fmla="*/ 82 w 127"/>
              <a:gd name="T7" fmla="*/ 20 h 104"/>
              <a:gd name="T8" fmla="*/ 110 w 127"/>
              <a:gd name="T9" fmla="*/ 18 h 104"/>
              <a:gd name="T10" fmla="*/ 116 w 127"/>
              <a:gd name="T11" fmla="*/ 37 h 104"/>
              <a:gd name="T12" fmla="*/ 105 w 127"/>
              <a:gd name="T13" fmla="*/ 59 h 104"/>
              <a:gd name="T14" fmla="*/ 68 w 127"/>
              <a:gd name="T15" fmla="*/ 34 h 104"/>
              <a:gd name="T16" fmla="*/ 66 w 127"/>
              <a:gd name="T17" fmla="*/ 43 h 104"/>
              <a:gd name="T18" fmla="*/ 63 w 127"/>
              <a:gd name="T19" fmla="*/ 48 h 104"/>
              <a:gd name="T20" fmla="*/ 48 w 127"/>
              <a:gd name="T21" fmla="*/ 66 h 104"/>
              <a:gd name="T22" fmla="*/ 26 w 127"/>
              <a:gd name="T23" fmla="*/ 62 h 104"/>
              <a:gd name="T24" fmla="*/ 17 w 127"/>
              <a:gd name="T25" fmla="*/ 48 h 104"/>
              <a:gd name="T26" fmla="*/ 12 w 127"/>
              <a:gd name="T27" fmla="*/ 35 h 104"/>
              <a:gd name="T28" fmla="*/ 14 w 127"/>
              <a:gd name="T29" fmla="*/ 32 h 104"/>
              <a:gd name="T30" fmla="*/ 15 w 127"/>
              <a:gd name="T31" fmla="*/ 11 h 104"/>
              <a:gd name="T32" fmla="*/ 29 w 127"/>
              <a:gd name="T33" fmla="*/ 1 h 104"/>
              <a:gd name="T34" fmla="*/ 59 w 127"/>
              <a:gd name="T35" fmla="*/ 6 h 104"/>
              <a:gd name="T36" fmla="*/ 66 w 127"/>
              <a:gd name="T37" fmla="*/ 23 h 104"/>
              <a:gd name="T38" fmla="*/ 11 w 127"/>
              <a:gd name="T39" fmla="*/ 68 h 104"/>
              <a:gd name="T40" fmla="*/ 29 w 127"/>
              <a:gd name="T41" fmla="*/ 74 h 104"/>
              <a:gd name="T42" fmla="*/ 45 w 127"/>
              <a:gd name="T43" fmla="*/ 76 h 104"/>
              <a:gd name="T44" fmla="*/ 59 w 127"/>
              <a:gd name="T45" fmla="*/ 68 h 104"/>
              <a:gd name="T46" fmla="*/ 77 w 127"/>
              <a:gd name="T47" fmla="*/ 84 h 104"/>
              <a:gd name="T48" fmla="*/ 0 w 127"/>
              <a:gd name="T49" fmla="*/ 104 h 104"/>
              <a:gd name="T50" fmla="*/ 4 w 127"/>
              <a:gd name="T51" fmla="*/ 76 h 104"/>
              <a:gd name="T52" fmla="*/ 63 w 127"/>
              <a:gd name="T53" fmla="*/ 35 h 104"/>
              <a:gd name="T54" fmla="*/ 59 w 127"/>
              <a:gd name="T55" fmla="*/ 31 h 104"/>
              <a:gd name="T56" fmla="*/ 26 w 127"/>
              <a:gd name="T57" fmla="*/ 29 h 104"/>
              <a:gd name="T58" fmla="*/ 17 w 127"/>
              <a:gd name="T59" fmla="*/ 35 h 104"/>
              <a:gd name="T60" fmla="*/ 17 w 127"/>
              <a:gd name="T61" fmla="*/ 37 h 104"/>
              <a:gd name="T62" fmla="*/ 20 w 127"/>
              <a:gd name="T63" fmla="*/ 45 h 104"/>
              <a:gd name="T64" fmla="*/ 29 w 127"/>
              <a:gd name="T65" fmla="*/ 59 h 104"/>
              <a:gd name="T66" fmla="*/ 40 w 127"/>
              <a:gd name="T67" fmla="*/ 63 h 104"/>
              <a:gd name="T68" fmla="*/ 57 w 127"/>
              <a:gd name="T69" fmla="*/ 53 h 104"/>
              <a:gd name="T70" fmla="*/ 60 w 127"/>
              <a:gd name="T71" fmla="*/ 45 h 104"/>
              <a:gd name="T72" fmla="*/ 63 w 127"/>
              <a:gd name="T73" fmla="*/ 37 h 104"/>
              <a:gd name="T74" fmla="*/ 82 w 127"/>
              <a:gd name="T75" fmla="*/ 65 h 104"/>
              <a:gd name="T76" fmla="*/ 80 w 127"/>
              <a:gd name="T77" fmla="*/ 71 h 104"/>
              <a:gd name="T78" fmla="*/ 127 w 127"/>
              <a:gd name="T79" fmla="*/ 90 h 104"/>
              <a:gd name="T80" fmla="*/ 114 w 127"/>
              <a:gd name="T81" fmla="*/ 66 h 104"/>
              <a:gd name="T82" fmla="*/ 96 w 127"/>
              <a:gd name="T83" fmla="*/ 70 h 104"/>
              <a:gd name="T84" fmla="*/ 82 w 127"/>
              <a:gd name="T85" fmla="*/ 65 h 104"/>
              <a:gd name="T86" fmla="*/ 110 w 127"/>
              <a:gd name="T87" fmla="*/ 35 h 104"/>
              <a:gd name="T88" fmla="*/ 82 w 127"/>
              <a:gd name="T89" fmla="*/ 45 h 104"/>
              <a:gd name="T90" fmla="*/ 83 w 127"/>
              <a:gd name="T91" fmla="*/ 51 h 104"/>
              <a:gd name="T92" fmla="*/ 96 w 127"/>
              <a:gd name="T93" fmla="*/ 59 h 104"/>
              <a:gd name="T94" fmla="*/ 110 w 127"/>
              <a:gd name="T95"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04">
                <a:moveTo>
                  <a:pt x="105" y="59"/>
                </a:moveTo>
                <a:lnTo>
                  <a:pt x="105" y="59"/>
                </a:lnTo>
                <a:lnTo>
                  <a:pt x="96" y="62"/>
                </a:lnTo>
                <a:lnTo>
                  <a:pt x="96" y="62"/>
                </a:lnTo>
                <a:lnTo>
                  <a:pt x="96" y="62"/>
                </a:lnTo>
                <a:lnTo>
                  <a:pt x="96" y="62"/>
                </a:lnTo>
                <a:lnTo>
                  <a:pt x="88" y="59"/>
                </a:lnTo>
                <a:lnTo>
                  <a:pt x="72" y="59"/>
                </a:lnTo>
                <a:lnTo>
                  <a:pt x="74" y="45"/>
                </a:lnTo>
                <a:lnTo>
                  <a:pt x="74" y="45"/>
                </a:lnTo>
                <a:lnTo>
                  <a:pt x="74" y="45"/>
                </a:lnTo>
                <a:lnTo>
                  <a:pt x="74" y="37"/>
                </a:lnTo>
                <a:lnTo>
                  <a:pt x="76" y="29"/>
                </a:lnTo>
                <a:lnTo>
                  <a:pt x="79" y="23"/>
                </a:lnTo>
                <a:lnTo>
                  <a:pt x="82" y="20"/>
                </a:lnTo>
                <a:lnTo>
                  <a:pt x="82" y="20"/>
                </a:lnTo>
                <a:lnTo>
                  <a:pt x="88" y="15"/>
                </a:lnTo>
                <a:lnTo>
                  <a:pt x="96" y="15"/>
                </a:lnTo>
                <a:lnTo>
                  <a:pt x="102" y="15"/>
                </a:lnTo>
                <a:lnTo>
                  <a:pt x="110" y="18"/>
                </a:lnTo>
                <a:lnTo>
                  <a:pt x="110" y="18"/>
                </a:lnTo>
                <a:lnTo>
                  <a:pt x="113" y="23"/>
                </a:lnTo>
                <a:lnTo>
                  <a:pt x="114" y="29"/>
                </a:lnTo>
                <a:lnTo>
                  <a:pt x="116" y="37"/>
                </a:lnTo>
                <a:lnTo>
                  <a:pt x="117" y="45"/>
                </a:lnTo>
                <a:lnTo>
                  <a:pt x="117" y="45"/>
                </a:lnTo>
                <a:lnTo>
                  <a:pt x="117" y="59"/>
                </a:lnTo>
                <a:lnTo>
                  <a:pt x="105" y="59"/>
                </a:lnTo>
                <a:lnTo>
                  <a:pt x="105" y="59"/>
                </a:lnTo>
                <a:close/>
                <a:moveTo>
                  <a:pt x="66" y="32"/>
                </a:moveTo>
                <a:lnTo>
                  <a:pt x="66" y="32"/>
                </a:lnTo>
                <a:lnTo>
                  <a:pt x="68" y="34"/>
                </a:lnTo>
                <a:lnTo>
                  <a:pt x="68" y="34"/>
                </a:lnTo>
                <a:lnTo>
                  <a:pt x="68" y="35"/>
                </a:lnTo>
                <a:lnTo>
                  <a:pt x="68" y="35"/>
                </a:lnTo>
                <a:lnTo>
                  <a:pt x="66" y="43"/>
                </a:lnTo>
                <a:lnTo>
                  <a:pt x="66" y="43"/>
                </a:lnTo>
                <a:lnTo>
                  <a:pt x="65" y="46"/>
                </a:lnTo>
                <a:lnTo>
                  <a:pt x="63" y="48"/>
                </a:lnTo>
                <a:lnTo>
                  <a:pt x="63" y="48"/>
                </a:lnTo>
                <a:lnTo>
                  <a:pt x="60" y="56"/>
                </a:lnTo>
                <a:lnTo>
                  <a:pt x="54" y="62"/>
                </a:lnTo>
                <a:lnTo>
                  <a:pt x="54" y="62"/>
                </a:lnTo>
                <a:lnTo>
                  <a:pt x="48" y="66"/>
                </a:lnTo>
                <a:lnTo>
                  <a:pt x="40" y="68"/>
                </a:lnTo>
                <a:lnTo>
                  <a:pt x="40" y="68"/>
                </a:lnTo>
                <a:lnTo>
                  <a:pt x="32" y="66"/>
                </a:lnTo>
                <a:lnTo>
                  <a:pt x="26" y="62"/>
                </a:lnTo>
                <a:lnTo>
                  <a:pt x="26" y="62"/>
                </a:lnTo>
                <a:lnTo>
                  <a:pt x="20" y="56"/>
                </a:lnTo>
                <a:lnTo>
                  <a:pt x="17" y="48"/>
                </a:lnTo>
                <a:lnTo>
                  <a:pt x="17" y="48"/>
                </a:lnTo>
                <a:lnTo>
                  <a:pt x="15" y="46"/>
                </a:lnTo>
                <a:lnTo>
                  <a:pt x="14" y="43"/>
                </a:lnTo>
                <a:lnTo>
                  <a:pt x="14" y="43"/>
                </a:lnTo>
                <a:lnTo>
                  <a:pt x="12" y="35"/>
                </a:lnTo>
                <a:lnTo>
                  <a:pt x="12" y="34"/>
                </a:lnTo>
                <a:lnTo>
                  <a:pt x="12" y="34"/>
                </a:lnTo>
                <a:lnTo>
                  <a:pt x="12" y="34"/>
                </a:lnTo>
                <a:lnTo>
                  <a:pt x="14" y="32"/>
                </a:lnTo>
                <a:lnTo>
                  <a:pt x="14" y="32"/>
                </a:lnTo>
                <a:lnTo>
                  <a:pt x="12" y="23"/>
                </a:lnTo>
                <a:lnTo>
                  <a:pt x="14" y="15"/>
                </a:lnTo>
                <a:lnTo>
                  <a:pt x="15" y="11"/>
                </a:lnTo>
                <a:lnTo>
                  <a:pt x="20" y="6"/>
                </a:lnTo>
                <a:lnTo>
                  <a:pt x="20" y="6"/>
                </a:lnTo>
                <a:lnTo>
                  <a:pt x="23" y="3"/>
                </a:lnTo>
                <a:lnTo>
                  <a:pt x="29" y="1"/>
                </a:lnTo>
                <a:lnTo>
                  <a:pt x="38" y="0"/>
                </a:lnTo>
                <a:lnTo>
                  <a:pt x="49" y="1"/>
                </a:lnTo>
                <a:lnTo>
                  <a:pt x="54" y="3"/>
                </a:lnTo>
                <a:lnTo>
                  <a:pt x="59" y="6"/>
                </a:lnTo>
                <a:lnTo>
                  <a:pt x="59" y="6"/>
                </a:lnTo>
                <a:lnTo>
                  <a:pt x="63" y="9"/>
                </a:lnTo>
                <a:lnTo>
                  <a:pt x="66" y="15"/>
                </a:lnTo>
                <a:lnTo>
                  <a:pt x="66" y="23"/>
                </a:lnTo>
                <a:lnTo>
                  <a:pt x="66" y="32"/>
                </a:lnTo>
                <a:lnTo>
                  <a:pt x="66" y="32"/>
                </a:lnTo>
                <a:close/>
                <a:moveTo>
                  <a:pt x="11" y="68"/>
                </a:moveTo>
                <a:lnTo>
                  <a:pt x="11" y="68"/>
                </a:lnTo>
                <a:lnTo>
                  <a:pt x="21" y="68"/>
                </a:lnTo>
                <a:lnTo>
                  <a:pt x="21" y="68"/>
                </a:lnTo>
                <a:lnTo>
                  <a:pt x="26" y="71"/>
                </a:lnTo>
                <a:lnTo>
                  <a:pt x="29" y="74"/>
                </a:lnTo>
                <a:lnTo>
                  <a:pt x="34" y="76"/>
                </a:lnTo>
                <a:lnTo>
                  <a:pt x="40" y="76"/>
                </a:lnTo>
                <a:lnTo>
                  <a:pt x="40" y="76"/>
                </a:lnTo>
                <a:lnTo>
                  <a:pt x="45" y="76"/>
                </a:lnTo>
                <a:lnTo>
                  <a:pt x="49" y="74"/>
                </a:lnTo>
                <a:lnTo>
                  <a:pt x="54" y="71"/>
                </a:lnTo>
                <a:lnTo>
                  <a:pt x="59" y="68"/>
                </a:lnTo>
                <a:lnTo>
                  <a:pt x="59" y="68"/>
                </a:lnTo>
                <a:lnTo>
                  <a:pt x="69" y="68"/>
                </a:lnTo>
                <a:lnTo>
                  <a:pt x="69" y="68"/>
                </a:lnTo>
                <a:lnTo>
                  <a:pt x="74" y="76"/>
                </a:lnTo>
                <a:lnTo>
                  <a:pt x="77" y="84"/>
                </a:lnTo>
                <a:lnTo>
                  <a:pt x="80" y="94"/>
                </a:lnTo>
                <a:lnTo>
                  <a:pt x="80" y="104"/>
                </a:lnTo>
                <a:lnTo>
                  <a:pt x="80" y="104"/>
                </a:lnTo>
                <a:lnTo>
                  <a:pt x="0" y="104"/>
                </a:lnTo>
                <a:lnTo>
                  <a:pt x="0" y="104"/>
                </a:lnTo>
                <a:lnTo>
                  <a:pt x="0" y="94"/>
                </a:lnTo>
                <a:lnTo>
                  <a:pt x="1" y="85"/>
                </a:lnTo>
                <a:lnTo>
                  <a:pt x="4" y="76"/>
                </a:lnTo>
                <a:lnTo>
                  <a:pt x="11" y="68"/>
                </a:lnTo>
                <a:lnTo>
                  <a:pt x="11" y="68"/>
                </a:lnTo>
                <a:close/>
                <a:moveTo>
                  <a:pt x="63" y="35"/>
                </a:moveTo>
                <a:lnTo>
                  <a:pt x="63" y="35"/>
                </a:lnTo>
                <a:lnTo>
                  <a:pt x="60" y="37"/>
                </a:lnTo>
                <a:lnTo>
                  <a:pt x="60" y="37"/>
                </a:lnTo>
                <a:lnTo>
                  <a:pt x="59" y="31"/>
                </a:lnTo>
                <a:lnTo>
                  <a:pt x="59" y="31"/>
                </a:lnTo>
                <a:lnTo>
                  <a:pt x="43" y="32"/>
                </a:lnTo>
                <a:lnTo>
                  <a:pt x="35" y="32"/>
                </a:lnTo>
                <a:lnTo>
                  <a:pt x="26" y="29"/>
                </a:lnTo>
                <a:lnTo>
                  <a:pt x="26" y="29"/>
                </a:lnTo>
                <a:lnTo>
                  <a:pt x="21" y="37"/>
                </a:lnTo>
                <a:lnTo>
                  <a:pt x="21" y="37"/>
                </a:lnTo>
                <a:lnTo>
                  <a:pt x="17" y="35"/>
                </a:lnTo>
                <a:lnTo>
                  <a:pt x="17" y="35"/>
                </a:lnTo>
                <a:lnTo>
                  <a:pt x="17" y="35"/>
                </a:lnTo>
                <a:lnTo>
                  <a:pt x="17" y="35"/>
                </a:lnTo>
                <a:lnTo>
                  <a:pt x="17" y="37"/>
                </a:lnTo>
                <a:lnTo>
                  <a:pt x="17" y="37"/>
                </a:lnTo>
                <a:lnTo>
                  <a:pt x="17" y="42"/>
                </a:lnTo>
                <a:lnTo>
                  <a:pt x="17" y="42"/>
                </a:lnTo>
                <a:lnTo>
                  <a:pt x="20" y="45"/>
                </a:lnTo>
                <a:lnTo>
                  <a:pt x="20" y="45"/>
                </a:lnTo>
                <a:lnTo>
                  <a:pt x="21" y="46"/>
                </a:lnTo>
                <a:lnTo>
                  <a:pt x="21" y="46"/>
                </a:lnTo>
                <a:lnTo>
                  <a:pt x="24" y="53"/>
                </a:lnTo>
                <a:lnTo>
                  <a:pt x="29" y="59"/>
                </a:lnTo>
                <a:lnTo>
                  <a:pt x="29" y="59"/>
                </a:lnTo>
                <a:lnTo>
                  <a:pt x="34" y="62"/>
                </a:lnTo>
                <a:lnTo>
                  <a:pt x="40" y="63"/>
                </a:lnTo>
                <a:lnTo>
                  <a:pt x="40" y="63"/>
                </a:lnTo>
                <a:lnTo>
                  <a:pt x="46" y="62"/>
                </a:lnTo>
                <a:lnTo>
                  <a:pt x="52" y="59"/>
                </a:lnTo>
                <a:lnTo>
                  <a:pt x="52" y="59"/>
                </a:lnTo>
                <a:lnTo>
                  <a:pt x="57" y="53"/>
                </a:lnTo>
                <a:lnTo>
                  <a:pt x="60" y="46"/>
                </a:lnTo>
                <a:lnTo>
                  <a:pt x="60" y="45"/>
                </a:lnTo>
                <a:lnTo>
                  <a:pt x="60" y="45"/>
                </a:lnTo>
                <a:lnTo>
                  <a:pt x="60" y="45"/>
                </a:lnTo>
                <a:lnTo>
                  <a:pt x="63" y="42"/>
                </a:lnTo>
                <a:lnTo>
                  <a:pt x="63" y="42"/>
                </a:lnTo>
                <a:lnTo>
                  <a:pt x="63" y="37"/>
                </a:lnTo>
                <a:lnTo>
                  <a:pt x="63" y="37"/>
                </a:lnTo>
                <a:lnTo>
                  <a:pt x="63" y="35"/>
                </a:lnTo>
                <a:lnTo>
                  <a:pt x="63" y="35"/>
                </a:lnTo>
                <a:lnTo>
                  <a:pt x="63" y="35"/>
                </a:lnTo>
                <a:close/>
                <a:moveTo>
                  <a:pt x="82" y="65"/>
                </a:moveTo>
                <a:lnTo>
                  <a:pt x="82" y="65"/>
                </a:lnTo>
                <a:lnTo>
                  <a:pt x="77" y="66"/>
                </a:lnTo>
                <a:lnTo>
                  <a:pt x="77" y="66"/>
                </a:lnTo>
                <a:lnTo>
                  <a:pt x="80" y="71"/>
                </a:lnTo>
                <a:lnTo>
                  <a:pt x="82" y="77"/>
                </a:lnTo>
                <a:lnTo>
                  <a:pt x="85" y="90"/>
                </a:lnTo>
                <a:lnTo>
                  <a:pt x="127" y="90"/>
                </a:lnTo>
                <a:lnTo>
                  <a:pt x="127" y="90"/>
                </a:lnTo>
                <a:lnTo>
                  <a:pt x="127" y="84"/>
                </a:lnTo>
                <a:lnTo>
                  <a:pt x="124" y="76"/>
                </a:lnTo>
                <a:lnTo>
                  <a:pt x="117" y="70"/>
                </a:lnTo>
                <a:lnTo>
                  <a:pt x="114" y="66"/>
                </a:lnTo>
                <a:lnTo>
                  <a:pt x="110" y="63"/>
                </a:lnTo>
                <a:lnTo>
                  <a:pt x="110" y="63"/>
                </a:lnTo>
                <a:lnTo>
                  <a:pt x="103" y="68"/>
                </a:lnTo>
                <a:lnTo>
                  <a:pt x="96" y="70"/>
                </a:lnTo>
                <a:lnTo>
                  <a:pt x="96" y="70"/>
                </a:lnTo>
                <a:lnTo>
                  <a:pt x="88" y="68"/>
                </a:lnTo>
                <a:lnTo>
                  <a:pt x="82" y="65"/>
                </a:lnTo>
                <a:lnTo>
                  <a:pt x="82" y="65"/>
                </a:lnTo>
                <a:close/>
                <a:moveTo>
                  <a:pt x="110" y="48"/>
                </a:moveTo>
                <a:lnTo>
                  <a:pt x="110" y="48"/>
                </a:lnTo>
                <a:lnTo>
                  <a:pt x="110" y="35"/>
                </a:lnTo>
                <a:lnTo>
                  <a:pt x="110" y="35"/>
                </a:lnTo>
                <a:lnTo>
                  <a:pt x="97" y="37"/>
                </a:lnTo>
                <a:lnTo>
                  <a:pt x="90" y="37"/>
                </a:lnTo>
                <a:lnTo>
                  <a:pt x="82" y="35"/>
                </a:lnTo>
                <a:lnTo>
                  <a:pt x="82" y="45"/>
                </a:lnTo>
                <a:lnTo>
                  <a:pt x="82" y="45"/>
                </a:lnTo>
                <a:lnTo>
                  <a:pt x="82" y="46"/>
                </a:lnTo>
                <a:lnTo>
                  <a:pt x="82" y="46"/>
                </a:lnTo>
                <a:lnTo>
                  <a:pt x="83" y="51"/>
                </a:lnTo>
                <a:lnTo>
                  <a:pt x="86" y="54"/>
                </a:lnTo>
                <a:lnTo>
                  <a:pt x="91" y="57"/>
                </a:lnTo>
                <a:lnTo>
                  <a:pt x="96" y="59"/>
                </a:lnTo>
                <a:lnTo>
                  <a:pt x="96" y="59"/>
                </a:lnTo>
                <a:lnTo>
                  <a:pt x="100" y="57"/>
                </a:lnTo>
                <a:lnTo>
                  <a:pt x="105" y="56"/>
                </a:lnTo>
                <a:lnTo>
                  <a:pt x="108" y="51"/>
                </a:lnTo>
                <a:lnTo>
                  <a:pt x="110" y="48"/>
                </a:lnTo>
                <a:lnTo>
                  <a:pt x="110" y="48"/>
                </a:lnTo>
                <a:close/>
              </a:path>
            </a:pathLst>
          </a:custGeom>
          <a:solidFill>
            <a:schemeClr val="bg2">
              <a:lumMod val="65000"/>
            </a:schemeClr>
          </a:solidFill>
          <a:ln>
            <a:noFill/>
          </a:ln>
          <a:extLst/>
        </p:spPr>
        <p:txBody>
          <a:bodyPr vert="horz" wrap="square" lIns="84406" tIns="42203" rIns="84406" bIns="42203" numCol="1" anchor="t" anchorCtr="0" compatLnSpc="1">
            <a:prstTxWarp prst="textNoShape">
              <a:avLst/>
            </a:prstTxWarp>
          </a:bodyPr>
          <a:lstStyle/>
          <a:p>
            <a:endParaRPr lang="en-US" dirty="0"/>
          </a:p>
        </p:txBody>
      </p:sp>
      <p:sp>
        <p:nvSpPr>
          <p:cNvPr id="91" name="Rectangle 90"/>
          <p:cNvSpPr/>
          <p:nvPr/>
        </p:nvSpPr>
        <p:spPr>
          <a:xfrm>
            <a:off x="7649102" y="1941635"/>
            <a:ext cx="1143262" cy="365100"/>
          </a:xfrm>
          <a:prstGeom prst="rect">
            <a:avLst/>
          </a:prstGeom>
        </p:spPr>
        <p:txBody>
          <a:bodyPr wrap="none">
            <a:spAutoFit/>
          </a:bodyPr>
          <a:lstStyle/>
          <a:p>
            <a:pPr algn="ctr">
              <a:lnSpc>
                <a:spcPct val="120000"/>
              </a:lnSpc>
            </a:pPr>
            <a:r>
              <a:rPr lang="fr-FR" sz="1477" dirty="0">
                <a:solidFill>
                  <a:srgbClr val="0070C0"/>
                </a:solidFill>
              </a:rPr>
              <a:t>Fréquence</a:t>
            </a:r>
          </a:p>
        </p:txBody>
      </p:sp>
      <p:sp>
        <p:nvSpPr>
          <p:cNvPr id="92" name="ZoneTexte 16"/>
          <p:cNvSpPr txBox="1"/>
          <p:nvPr/>
        </p:nvSpPr>
        <p:spPr>
          <a:xfrm>
            <a:off x="7679346" y="2586787"/>
            <a:ext cx="1110642" cy="262829"/>
          </a:xfrm>
          <a:prstGeom prst="rect">
            <a:avLst/>
          </a:prstGeom>
          <a:solidFill>
            <a:schemeClr val="accent3"/>
          </a:solidFill>
        </p:spPr>
        <p:txBody>
          <a:bodyPr wrap="square" rtlCol="0">
            <a:spAutoFit/>
          </a:bodyPr>
          <a:lstStyle/>
          <a:p>
            <a:pPr algn="ctr"/>
            <a:r>
              <a:rPr lang="fr-FR" sz="1108" dirty="0">
                <a:solidFill>
                  <a:schemeClr val="bg1"/>
                </a:solidFill>
              </a:rPr>
              <a:t>Continue</a:t>
            </a:r>
          </a:p>
        </p:txBody>
      </p:sp>
      <p:sp>
        <p:nvSpPr>
          <p:cNvPr id="93" name="ZoneTexte 62"/>
          <p:cNvSpPr txBox="1"/>
          <p:nvPr/>
        </p:nvSpPr>
        <p:spPr>
          <a:xfrm>
            <a:off x="7679346" y="3574557"/>
            <a:ext cx="1110642" cy="262829"/>
          </a:xfrm>
          <a:prstGeom prst="rect">
            <a:avLst/>
          </a:prstGeom>
          <a:solidFill>
            <a:schemeClr val="accent6"/>
          </a:solidFill>
        </p:spPr>
        <p:txBody>
          <a:bodyPr wrap="square" rtlCol="0">
            <a:spAutoFit/>
          </a:bodyPr>
          <a:lstStyle/>
          <a:p>
            <a:pPr algn="ctr"/>
            <a:r>
              <a:rPr lang="fr-FR" sz="1108" dirty="0">
                <a:solidFill>
                  <a:schemeClr val="bg1"/>
                </a:solidFill>
              </a:rPr>
              <a:t>Mensuelle</a:t>
            </a:r>
          </a:p>
        </p:txBody>
      </p:sp>
      <p:sp>
        <p:nvSpPr>
          <p:cNvPr id="94" name="ZoneTexte 63"/>
          <p:cNvSpPr txBox="1"/>
          <p:nvPr/>
        </p:nvSpPr>
        <p:spPr>
          <a:xfrm>
            <a:off x="7679346" y="4553076"/>
            <a:ext cx="1110642" cy="262829"/>
          </a:xfrm>
          <a:prstGeom prst="rect">
            <a:avLst/>
          </a:prstGeom>
          <a:solidFill>
            <a:schemeClr val="accent4"/>
          </a:solidFill>
        </p:spPr>
        <p:txBody>
          <a:bodyPr wrap="square" rtlCol="0">
            <a:spAutoFit/>
          </a:bodyPr>
          <a:lstStyle/>
          <a:p>
            <a:pPr algn="ctr"/>
            <a:r>
              <a:rPr lang="fr-FR" sz="1108" dirty="0">
                <a:solidFill>
                  <a:schemeClr val="bg1"/>
                </a:solidFill>
              </a:rPr>
              <a:t>Trimestrielle</a:t>
            </a:r>
          </a:p>
        </p:txBody>
      </p:sp>
      <p:sp>
        <p:nvSpPr>
          <p:cNvPr id="95" name="ZoneTexte 64"/>
          <p:cNvSpPr txBox="1"/>
          <p:nvPr/>
        </p:nvSpPr>
        <p:spPr>
          <a:xfrm>
            <a:off x="7671459" y="5510613"/>
            <a:ext cx="1110642" cy="262829"/>
          </a:xfrm>
          <a:prstGeom prst="rect">
            <a:avLst/>
          </a:prstGeom>
          <a:solidFill>
            <a:schemeClr val="bg2">
              <a:lumMod val="65000"/>
            </a:schemeClr>
          </a:solidFill>
        </p:spPr>
        <p:txBody>
          <a:bodyPr wrap="square" rtlCol="0">
            <a:spAutoFit/>
          </a:bodyPr>
          <a:lstStyle/>
          <a:p>
            <a:pPr algn="ctr"/>
            <a:r>
              <a:rPr lang="fr-FR" sz="1108" dirty="0">
                <a:solidFill>
                  <a:schemeClr val="bg1"/>
                </a:solidFill>
              </a:rPr>
              <a:t>Ponctuelle</a:t>
            </a:r>
          </a:p>
        </p:txBody>
      </p:sp>
      <p:sp>
        <p:nvSpPr>
          <p:cNvPr id="96" name="Rectangle 95"/>
          <p:cNvSpPr/>
          <p:nvPr/>
        </p:nvSpPr>
        <p:spPr>
          <a:xfrm>
            <a:off x="3589040" y="1941635"/>
            <a:ext cx="950901" cy="365100"/>
          </a:xfrm>
          <a:prstGeom prst="rect">
            <a:avLst/>
          </a:prstGeom>
        </p:spPr>
        <p:txBody>
          <a:bodyPr wrap="none">
            <a:spAutoFit/>
          </a:bodyPr>
          <a:lstStyle/>
          <a:p>
            <a:pPr algn="ctr">
              <a:lnSpc>
                <a:spcPct val="120000"/>
              </a:lnSpc>
            </a:pPr>
            <a:r>
              <a:rPr lang="fr-FR" sz="1477" dirty="0">
                <a:solidFill>
                  <a:srgbClr val="0070C0"/>
                </a:solidFill>
              </a:rPr>
              <a:t>Contenu</a:t>
            </a:r>
          </a:p>
        </p:txBody>
      </p:sp>
      <p:sp>
        <p:nvSpPr>
          <p:cNvPr id="97" name="ZoneTexte 20"/>
          <p:cNvSpPr txBox="1"/>
          <p:nvPr/>
        </p:nvSpPr>
        <p:spPr>
          <a:xfrm>
            <a:off x="3494245" y="2416324"/>
            <a:ext cx="3902419" cy="603820"/>
          </a:xfrm>
          <a:prstGeom prst="rect">
            <a:avLst/>
          </a:prstGeom>
          <a:noFill/>
        </p:spPr>
        <p:txBody>
          <a:bodyPr wrap="square" rtlCol="0">
            <a:spAutoFit/>
          </a:bodyPr>
          <a:lstStyle/>
          <a:p>
            <a:pPr algn="just"/>
            <a:r>
              <a:rPr lang="fr-FR" sz="1108" dirty="0">
                <a:solidFill>
                  <a:schemeClr val="tx1">
                    <a:lumMod val="50000"/>
                    <a:lumOff val="50000"/>
                  </a:schemeClr>
                </a:solidFill>
              </a:rPr>
              <a:t>Groupe Yammer permettant de partager la méthodologie LSS, des articles, ainsi que les actualités de la communauté.</a:t>
            </a:r>
          </a:p>
        </p:txBody>
      </p:sp>
      <p:sp>
        <p:nvSpPr>
          <p:cNvPr id="98" name="ZoneTexte 68"/>
          <p:cNvSpPr txBox="1"/>
          <p:nvPr/>
        </p:nvSpPr>
        <p:spPr>
          <a:xfrm>
            <a:off x="3494245" y="3318866"/>
            <a:ext cx="3902419" cy="774315"/>
          </a:xfrm>
          <a:prstGeom prst="rect">
            <a:avLst/>
          </a:prstGeom>
          <a:noFill/>
        </p:spPr>
        <p:txBody>
          <a:bodyPr wrap="square" rtlCol="0">
            <a:spAutoFit/>
          </a:bodyPr>
          <a:lstStyle>
            <a:defPPr>
              <a:defRPr lang="en-US"/>
            </a:defPPr>
            <a:lvl1pPr algn="just">
              <a:defRPr sz="1100"/>
            </a:lvl1pPr>
          </a:lstStyle>
          <a:p>
            <a:r>
              <a:rPr lang="fr-FR" sz="1108" dirty="0">
                <a:solidFill>
                  <a:schemeClr val="tx1">
                    <a:lumMod val="50000"/>
                    <a:lumOff val="50000"/>
                  </a:schemeClr>
                </a:solidFill>
              </a:rPr>
              <a:t>Ayant lieu une fois par mois, ce call et rendez-vous rassemble l’ensemble des membres de la communauté afin de leur apporter de la visibilité sur les initiatives en cours et à venir.</a:t>
            </a:r>
          </a:p>
        </p:txBody>
      </p:sp>
      <p:sp>
        <p:nvSpPr>
          <p:cNvPr id="99" name="ZoneTexte 69"/>
          <p:cNvSpPr txBox="1"/>
          <p:nvPr/>
        </p:nvSpPr>
        <p:spPr>
          <a:xfrm>
            <a:off x="3494245" y="4297384"/>
            <a:ext cx="3902419" cy="774315"/>
          </a:xfrm>
          <a:prstGeom prst="rect">
            <a:avLst/>
          </a:prstGeom>
          <a:noFill/>
        </p:spPr>
        <p:txBody>
          <a:bodyPr wrap="square" rtlCol="0">
            <a:spAutoFit/>
          </a:bodyPr>
          <a:lstStyle>
            <a:defPPr>
              <a:defRPr lang="en-US"/>
            </a:defPPr>
            <a:lvl1pPr algn="just">
              <a:defRPr sz="1100"/>
            </a:lvl1pPr>
          </a:lstStyle>
          <a:p>
            <a:r>
              <a:rPr lang="fr-FR" sz="1108" dirty="0">
                <a:solidFill>
                  <a:schemeClr val="tx1">
                    <a:lumMod val="50000"/>
                    <a:lumOff val="50000"/>
                  </a:schemeClr>
                </a:solidFill>
              </a:rPr>
              <a:t>Communication interne Deloitte sur les actualités de la communauté, les succès et temps forts, les prochains évènements ainsi que quelques publications sur le Lean Six Sigma.</a:t>
            </a:r>
          </a:p>
        </p:txBody>
      </p:sp>
      <p:sp>
        <p:nvSpPr>
          <p:cNvPr id="100" name="ZoneTexte 70"/>
          <p:cNvSpPr txBox="1"/>
          <p:nvPr/>
        </p:nvSpPr>
        <p:spPr>
          <a:xfrm>
            <a:off x="3494245" y="5425382"/>
            <a:ext cx="3902419" cy="433324"/>
          </a:xfrm>
          <a:prstGeom prst="rect">
            <a:avLst/>
          </a:prstGeom>
          <a:noFill/>
        </p:spPr>
        <p:txBody>
          <a:bodyPr wrap="square" rtlCol="0">
            <a:spAutoFit/>
          </a:bodyPr>
          <a:lstStyle>
            <a:defPPr>
              <a:defRPr lang="en-US"/>
            </a:defPPr>
            <a:lvl1pPr algn="just">
              <a:defRPr sz="1100"/>
            </a:lvl1pPr>
          </a:lstStyle>
          <a:p>
            <a:r>
              <a:rPr lang="fr-FR" sz="1108" dirty="0">
                <a:solidFill>
                  <a:schemeClr val="tx1">
                    <a:lumMod val="50000"/>
                    <a:lumOff val="50000"/>
                  </a:schemeClr>
                </a:solidFill>
              </a:rPr>
              <a:t>Partage de façon informelle entre tous les membres de la communauté sur les actualités ou tout autre sujet.</a:t>
            </a:r>
          </a:p>
        </p:txBody>
      </p:sp>
      <p:sp>
        <p:nvSpPr>
          <p:cNvPr id="101" name="Rectangle 100"/>
          <p:cNvSpPr/>
          <p:nvPr/>
        </p:nvSpPr>
        <p:spPr>
          <a:xfrm>
            <a:off x="462862" y="1941635"/>
            <a:ext cx="2427268" cy="365100"/>
          </a:xfrm>
          <a:prstGeom prst="rect">
            <a:avLst/>
          </a:prstGeom>
        </p:spPr>
        <p:txBody>
          <a:bodyPr wrap="none">
            <a:spAutoFit/>
          </a:bodyPr>
          <a:lstStyle/>
          <a:p>
            <a:pPr algn="ctr">
              <a:lnSpc>
                <a:spcPct val="120000"/>
              </a:lnSpc>
            </a:pPr>
            <a:r>
              <a:rPr lang="fr-FR" sz="1477" dirty="0">
                <a:solidFill>
                  <a:srgbClr val="0070C0"/>
                </a:solidFill>
              </a:rPr>
              <a:t>Canal de communication</a:t>
            </a:r>
          </a:p>
        </p:txBody>
      </p:sp>
      <p:sp>
        <p:nvSpPr>
          <p:cNvPr id="102" name="Pentagon 101"/>
          <p:cNvSpPr/>
          <p:nvPr/>
        </p:nvSpPr>
        <p:spPr>
          <a:xfrm>
            <a:off x="1086899" y="2476489"/>
            <a:ext cx="2207751" cy="476284"/>
          </a:xfrm>
          <a:prstGeom prst="homePlat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noAutofit/>
          </a:bodyPr>
          <a:lstStyle/>
          <a:p>
            <a:pPr algn="ctr"/>
            <a:r>
              <a:rPr lang="en-US" sz="1292" dirty="0">
                <a:solidFill>
                  <a:schemeClr val="bg2"/>
                </a:solidFill>
              </a:rPr>
              <a:t>Groupe Yammer</a:t>
            </a:r>
          </a:p>
        </p:txBody>
      </p:sp>
      <p:sp>
        <p:nvSpPr>
          <p:cNvPr id="103" name="Pentagon 102"/>
          <p:cNvSpPr/>
          <p:nvPr/>
        </p:nvSpPr>
        <p:spPr>
          <a:xfrm>
            <a:off x="1120881" y="3464259"/>
            <a:ext cx="2207751" cy="476284"/>
          </a:xfrm>
          <a:prstGeom prst="homePlat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noAutofit/>
          </a:bodyPr>
          <a:lstStyle/>
          <a:p>
            <a:pPr algn="ctr"/>
            <a:r>
              <a:rPr lang="en-US" sz="1292" dirty="0">
                <a:solidFill>
                  <a:schemeClr val="bg2"/>
                </a:solidFill>
              </a:rPr>
              <a:t>Rendez-vous </a:t>
            </a:r>
            <a:r>
              <a:rPr lang="fr-FR" sz="1292" dirty="0">
                <a:solidFill>
                  <a:schemeClr val="bg2"/>
                </a:solidFill>
              </a:rPr>
              <a:t>mensuel</a:t>
            </a:r>
          </a:p>
        </p:txBody>
      </p:sp>
      <p:sp>
        <p:nvSpPr>
          <p:cNvPr id="104" name="Pentagon 103"/>
          <p:cNvSpPr/>
          <p:nvPr/>
        </p:nvSpPr>
        <p:spPr>
          <a:xfrm>
            <a:off x="1120881" y="4442777"/>
            <a:ext cx="2207751" cy="476284"/>
          </a:xfrm>
          <a:prstGeom prst="homePlat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noAutofit/>
          </a:bodyPr>
          <a:lstStyle/>
          <a:p>
            <a:pPr algn="ctr"/>
            <a:r>
              <a:rPr lang="fr-FR" sz="1292" dirty="0">
                <a:solidFill>
                  <a:schemeClr val="bg2"/>
                </a:solidFill>
              </a:rPr>
              <a:t>Newsletter</a:t>
            </a:r>
          </a:p>
        </p:txBody>
      </p:sp>
      <p:sp>
        <p:nvSpPr>
          <p:cNvPr id="105" name="Pentagon 104"/>
          <p:cNvSpPr/>
          <p:nvPr/>
        </p:nvSpPr>
        <p:spPr>
          <a:xfrm>
            <a:off x="1120881" y="5400315"/>
            <a:ext cx="2207751" cy="476284"/>
          </a:xfrm>
          <a:prstGeom prst="homePlate">
            <a:avLst/>
          </a:prstGeom>
          <a:solidFill>
            <a:schemeClr val="bg2">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noAutofit/>
          </a:bodyPr>
          <a:lstStyle/>
          <a:p>
            <a:pPr algn="ctr"/>
            <a:r>
              <a:rPr lang="fr-FR" sz="1292" dirty="0">
                <a:solidFill>
                  <a:schemeClr val="bg2"/>
                </a:solidFill>
              </a:rPr>
              <a:t>Evènement</a:t>
            </a:r>
          </a:p>
        </p:txBody>
      </p:sp>
      <p:sp>
        <p:nvSpPr>
          <p:cNvPr id="106" name="Freeform 408"/>
          <p:cNvSpPr>
            <a:spLocks noEditPoints="1"/>
          </p:cNvSpPr>
          <p:nvPr/>
        </p:nvSpPr>
        <p:spPr bwMode="auto">
          <a:xfrm>
            <a:off x="8051934" y="628468"/>
            <a:ext cx="720080" cy="551548"/>
          </a:xfrm>
          <a:custGeom>
            <a:avLst/>
            <a:gdLst>
              <a:gd name="T0" fmla="*/ 96 w 127"/>
              <a:gd name="T1" fmla="*/ 62 h 104"/>
              <a:gd name="T2" fmla="*/ 72 w 127"/>
              <a:gd name="T3" fmla="*/ 59 h 104"/>
              <a:gd name="T4" fmla="*/ 74 w 127"/>
              <a:gd name="T5" fmla="*/ 37 h 104"/>
              <a:gd name="T6" fmla="*/ 82 w 127"/>
              <a:gd name="T7" fmla="*/ 20 h 104"/>
              <a:gd name="T8" fmla="*/ 110 w 127"/>
              <a:gd name="T9" fmla="*/ 18 h 104"/>
              <a:gd name="T10" fmla="*/ 116 w 127"/>
              <a:gd name="T11" fmla="*/ 37 h 104"/>
              <a:gd name="T12" fmla="*/ 105 w 127"/>
              <a:gd name="T13" fmla="*/ 59 h 104"/>
              <a:gd name="T14" fmla="*/ 68 w 127"/>
              <a:gd name="T15" fmla="*/ 34 h 104"/>
              <a:gd name="T16" fmla="*/ 66 w 127"/>
              <a:gd name="T17" fmla="*/ 43 h 104"/>
              <a:gd name="T18" fmla="*/ 63 w 127"/>
              <a:gd name="T19" fmla="*/ 48 h 104"/>
              <a:gd name="T20" fmla="*/ 48 w 127"/>
              <a:gd name="T21" fmla="*/ 66 h 104"/>
              <a:gd name="T22" fmla="*/ 26 w 127"/>
              <a:gd name="T23" fmla="*/ 62 h 104"/>
              <a:gd name="T24" fmla="*/ 17 w 127"/>
              <a:gd name="T25" fmla="*/ 48 h 104"/>
              <a:gd name="T26" fmla="*/ 12 w 127"/>
              <a:gd name="T27" fmla="*/ 35 h 104"/>
              <a:gd name="T28" fmla="*/ 14 w 127"/>
              <a:gd name="T29" fmla="*/ 32 h 104"/>
              <a:gd name="T30" fmla="*/ 15 w 127"/>
              <a:gd name="T31" fmla="*/ 11 h 104"/>
              <a:gd name="T32" fmla="*/ 29 w 127"/>
              <a:gd name="T33" fmla="*/ 1 h 104"/>
              <a:gd name="T34" fmla="*/ 59 w 127"/>
              <a:gd name="T35" fmla="*/ 6 h 104"/>
              <a:gd name="T36" fmla="*/ 66 w 127"/>
              <a:gd name="T37" fmla="*/ 23 h 104"/>
              <a:gd name="T38" fmla="*/ 11 w 127"/>
              <a:gd name="T39" fmla="*/ 68 h 104"/>
              <a:gd name="T40" fmla="*/ 29 w 127"/>
              <a:gd name="T41" fmla="*/ 74 h 104"/>
              <a:gd name="T42" fmla="*/ 45 w 127"/>
              <a:gd name="T43" fmla="*/ 76 h 104"/>
              <a:gd name="T44" fmla="*/ 59 w 127"/>
              <a:gd name="T45" fmla="*/ 68 h 104"/>
              <a:gd name="T46" fmla="*/ 77 w 127"/>
              <a:gd name="T47" fmla="*/ 84 h 104"/>
              <a:gd name="T48" fmla="*/ 0 w 127"/>
              <a:gd name="T49" fmla="*/ 104 h 104"/>
              <a:gd name="T50" fmla="*/ 4 w 127"/>
              <a:gd name="T51" fmla="*/ 76 h 104"/>
              <a:gd name="T52" fmla="*/ 63 w 127"/>
              <a:gd name="T53" fmla="*/ 35 h 104"/>
              <a:gd name="T54" fmla="*/ 59 w 127"/>
              <a:gd name="T55" fmla="*/ 31 h 104"/>
              <a:gd name="T56" fmla="*/ 26 w 127"/>
              <a:gd name="T57" fmla="*/ 29 h 104"/>
              <a:gd name="T58" fmla="*/ 17 w 127"/>
              <a:gd name="T59" fmla="*/ 35 h 104"/>
              <a:gd name="T60" fmla="*/ 17 w 127"/>
              <a:gd name="T61" fmla="*/ 37 h 104"/>
              <a:gd name="T62" fmla="*/ 20 w 127"/>
              <a:gd name="T63" fmla="*/ 45 h 104"/>
              <a:gd name="T64" fmla="*/ 29 w 127"/>
              <a:gd name="T65" fmla="*/ 59 h 104"/>
              <a:gd name="T66" fmla="*/ 40 w 127"/>
              <a:gd name="T67" fmla="*/ 63 h 104"/>
              <a:gd name="T68" fmla="*/ 57 w 127"/>
              <a:gd name="T69" fmla="*/ 53 h 104"/>
              <a:gd name="T70" fmla="*/ 60 w 127"/>
              <a:gd name="T71" fmla="*/ 45 h 104"/>
              <a:gd name="T72" fmla="*/ 63 w 127"/>
              <a:gd name="T73" fmla="*/ 37 h 104"/>
              <a:gd name="T74" fmla="*/ 82 w 127"/>
              <a:gd name="T75" fmla="*/ 65 h 104"/>
              <a:gd name="T76" fmla="*/ 80 w 127"/>
              <a:gd name="T77" fmla="*/ 71 h 104"/>
              <a:gd name="T78" fmla="*/ 127 w 127"/>
              <a:gd name="T79" fmla="*/ 90 h 104"/>
              <a:gd name="T80" fmla="*/ 114 w 127"/>
              <a:gd name="T81" fmla="*/ 66 h 104"/>
              <a:gd name="T82" fmla="*/ 96 w 127"/>
              <a:gd name="T83" fmla="*/ 70 h 104"/>
              <a:gd name="T84" fmla="*/ 82 w 127"/>
              <a:gd name="T85" fmla="*/ 65 h 104"/>
              <a:gd name="T86" fmla="*/ 110 w 127"/>
              <a:gd name="T87" fmla="*/ 35 h 104"/>
              <a:gd name="T88" fmla="*/ 82 w 127"/>
              <a:gd name="T89" fmla="*/ 45 h 104"/>
              <a:gd name="T90" fmla="*/ 83 w 127"/>
              <a:gd name="T91" fmla="*/ 51 h 104"/>
              <a:gd name="T92" fmla="*/ 96 w 127"/>
              <a:gd name="T93" fmla="*/ 59 h 104"/>
              <a:gd name="T94" fmla="*/ 110 w 127"/>
              <a:gd name="T95"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04">
                <a:moveTo>
                  <a:pt x="105" y="59"/>
                </a:moveTo>
                <a:lnTo>
                  <a:pt x="105" y="59"/>
                </a:lnTo>
                <a:lnTo>
                  <a:pt x="96" y="62"/>
                </a:lnTo>
                <a:lnTo>
                  <a:pt x="96" y="62"/>
                </a:lnTo>
                <a:lnTo>
                  <a:pt x="96" y="62"/>
                </a:lnTo>
                <a:lnTo>
                  <a:pt x="96" y="62"/>
                </a:lnTo>
                <a:lnTo>
                  <a:pt x="88" y="59"/>
                </a:lnTo>
                <a:lnTo>
                  <a:pt x="72" y="59"/>
                </a:lnTo>
                <a:lnTo>
                  <a:pt x="74" y="45"/>
                </a:lnTo>
                <a:lnTo>
                  <a:pt x="74" y="45"/>
                </a:lnTo>
                <a:lnTo>
                  <a:pt x="74" y="45"/>
                </a:lnTo>
                <a:lnTo>
                  <a:pt x="74" y="37"/>
                </a:lnTo>
                <a:lnTo>
                  <a:pt x="76" y="29"/>
                </a:lnTo>
                <a:lnTo>
                  <a:pt x="79" y="23"/>
                </a:lnTo>
                <a:lnTo>
                  <a:pt x="82" y="20"/>
                </a:lnTo>
                <a:lnTo>
                  <a:pt x="82" y="20"/>
                </a:lnTo>
                <a:lnTo>
                  <a:pt x="88" y="15"/>
                </a:lnTo>
                <a:lnTo>
                  <a:pt x="96" y="15"/>
                </a:lnTo>
                <a:lnTo>
                  <a:pt x="102" y="15"/>
                </a:lnTo>
                <a:lnTo>
                  <a:pt x="110" y="18"/>
                </a:lnTo>
                <a:lnTo>
                  <a:pt x="110" y="18"/>
                </a:lnTo>
                <a:lnTo>
                  <a:pt x="113" y="23"/>
                </a:lnTo>
                <a:lnTo>
                  <a:pt x="114" y="29"/>
                </a:lnTo>
                <a:lnTo>
                  <a:pt x="116" y="37"/>
                </a:lnTo>
                <a:lnTo>
                  <a:pt x="117" y="45"/>
                </a:lnTo>
                <a:lnTo>
                  <a:pt x="117" y="45"/>
                </a:lnTo>
                <a:lnTo>
                  <a:pt x="117" y="59"/>
                </a:lnTo>
                <a:lnTo>
                  <a:pt x="105" y="59"/>
                </a:lnTo>
                <a:lnTo>
                  <a:pt x="105" y="59"/>
                </a:lnTo>
                <a:close/>
                <a:moveTo>
                  <a:pt x="66" y="32"/>
                </a:moveTo>
                <a:lnTo>
                  <a:pt x="66" y="32"/>
                </a:lnTo>
                <a:lnTo>
                  <a:pt x="68" y="34"/>
                </a:lnTo>
                <a:lnTo>
                  <a:pt x="68" y="34"/>
                </a:lnTo>
                <a:lnTo>
                  <a:pt x="68" y="35"/>
                </a:lnTo>
                <a:lnTo>
                  <a:pt x="68" y="35"/>
                </a:lnTo>
                <a:lnTo>
                  <a:pt x="66" y="43"/>
                </a:lnTo>
                <a:lnTo>
                  <a:pt x="66" y="43"/>
                </a:lnTo>
                <a:lnTo>
                  <a:pt x="65" y="46"/>
                </a:lnTo>
                <a:lnTo>
                  <a:pt x="63" y="48"/>
                </a:lnTo>
                <a:lnTo>
                  <a:pt x="63" y="48"/>
                </a:lnTo>
                <a:lnTo>
                  <a:pt x="60" y="56"/>
                </a:lnTo>
                <a:lnTo>
                  <a:pt x="54" y="62"/>
                </a:lnTo>
                <a:lnTo>
                  <a:pt x="54" y="62"/>
                </a:lnTo>
                <a:lnTo>
                  <a:pt x="48" y="66"/>
                </a:lnTo>
                <a:lnTo>
                  <a:pt x="40" y="68"/>
                </a:lnTo>
                <a:lnTo>
                  <a:pt x="40" y="68"/>
                </a:lnTo>
                <a:lnTo>
                  <a:pt x="32" y="66"/>
                </a:lnTo>
                <a:lnTo>
                  <a:pt x="26" y="62"/>
                </a:lnTo>
                <a:lnTo>
                  <a:pt x="26" y="62"/>
                </a:lnTo>
                <a:lnTo>
                  <a:pt x="20" y="56"/>
                </a:lnTo>
                <a:lnTo>
                  <a:pt x="17" y="48"/>
                </a:lnTo>
                <a:lnTo>
                  <a:pt x="17" y="48"/>
                </a:lnTo>
                <a:lnTo>
                  <a:pt x="15" y="46"/>
                </a:lnTo>
                <a:lnTo>
                  <a:pt x="14" y="43"/>
                </a:lnTo>
                <a:lnTo>
                  <a:pt x="14" y="43"/>
                </a:lnTo>
                <a:lnTo>
                  <a:pt x="12" y="35"/>
                </a:lnTo>
                <a:lnTo>
                  <a:pt x="12" y="34"/>
                </a:lnTo>
                <a:lnTo>
                  <a:pt x="12" y="34"/>
                </a:lnTo>
                <a:lnTo>
                  <a:pt x="12" y="34"/>
                </a:lnTo>
                <a:lnTo>
                  <a:pt x="14" y="32"/>
                </a:lnTo>
                <a:lnTo>
                  <a:pt x="14" y="32"/>
                </a:lnTo>
                <a:lnTo>
                  <a:pt x="12" y="23"/>
                </a:lnTo>
                <a:lnTo>
                  <a:pt x="14" y="15"/>
                </a:lnTo>
                <a:lnTo>
                  <a:pt x="15" y="11"/>
                </a:lnTo>
                <a:lnTo>
                  <a:pt x="20" y="6"/>
                </a:lnTo>
                <a:lnTo>
                  <a:pt x="20" y="6"/>
                </a:lnTo>
                <a:lnTo>
                  <a:pt x="23" y="3"/>
                </a:lnTo>
                <a:lnTo>
                  <a:pt x="29" y="1"/>
                </a:lnTo>
                <a:lnTo>
                  <a:pt x="38" y="0"/>
                </a:lnTo>
                <a:lnTo>
                  <a:pt x="49" y="1"/>
                </a:lnTo>
                <a:lnTo>
                  <a:pt x="54" y="3"/>
                </a:lnTo>
                <a:lnTo>
                  <a:pt x="59" y="6"/>
                </a:lnTo>
                <a:lnTo>
                  <a:pt x="59" y="6"/>
                </a:lnTo>
                <a:lnTo>
                  <a:pt x="63" y="9"/>
                </a:lnTo>
                <a:lnTo>
                  <a:pt x="66" y="15"/>
                </a:lnTo>
                <a:lnTo>
                  <a:pt x="66" y="23"/>
                </a:lnTo>
                <a:lnTo>
                  <a:pt x="66" y="32"/>
                </a:lnTo>
                <a:lnTo>
                  <a:pt x="66" y="32"/>
                </a:lnTo>
                <a:close/>
                <a:moveTo>
                  <a:pt x="11" y="68"/>
                </a:moveTo>
                <a:lnTo>
                  <a:pt x="11" y="68"/>
                </a:lnTo>
                <a:lnTo>
                  <a:pt x="21" y="68"/>
                </a:lnTo>
                <a:lnTo>
                  <a:pt x="21" y="68"/>
                </a:lnTo>
                <a:lnTo>
                  <a:pt x="26" y="71"/>
                </a:lnTo>
                <a:lnTo>
                  <a:pt x="29" y="74"/>
                </a:lnTo>
                <a:lnTo>
                  <a:pt x="34" y="76"/>
                </a:lnTo>
                <a:lnTo>
                  <a:pt x="40" y="76"/>
                </a:lnTo>
                <a:lnTo>
                  <a:pt x="40" y="76"/>
                </a:lnTo>
                <a:lnTo>
                  <a:pt x="45" y="76"/>
                </a:lnTo>
                <a:lnTo>
                  <a:pt x="49" y="74"/>
                </a:lnTo>
                <a:lnTo>
                  <a:pt x="54" y="71"/>
                </a:lnTo>
                <a:lnTo>
                  <a:pt x="59" y="68"/>
                </a:lnTo>
                <a:lnTo>
                  <a:pt x="59" y="68"/>
                </a:lnTo>
                <a:lnTo>
                  <a:pt x="69" y="68"/>
                </a:lnTo>
                <a:lnTo>
                  <a:pt x="69" y="68"/>
                </a:lnTo>
                <a:lnTo>
                  <a:pt x="74" y="76"/>
                </a:lnTo>
                <a:lnTo>
                  <a:pt x="77" y="84"/>
                </a:lnTo>
                <a:lnTo>
                  <a:pt x="80" y="94"/>
                </a:lnTo>
                <a:lnTo>
                  <a:pt x="80" y="104"/>
                </a:lnTo>
                <a:lnTo>
                  <a:pt x="80" y="104"/>
                </a:lnTo>
                <a:lnTo>
                  <a:pt x="0" y="104"/>
                </a:lnTo>
                <a:lnTo>
                  <a:pt x="0" y="104"/>
                </a:lnTo>
                <a:lnTo>
                  <a:pt x="0" y="94"/>
                </a:lnTo>
                <a:lnTo>
                  <a:pt x="1" y="85"/>
                </a:lnTo>
                <a:lnTo>
                  <a:pt x="4" y="76"/>
                </a:lnTo>
                <a:lnTo>
                  <a:pt x="11" y="68"/>
                </a:lnTo>
                <a:lnTo>
                  <a:pt x="11" y="68"/>
                </a:lnTo>
                <a:close/>
                <a:moveTo>
                  <a:pt x="63" y="35"/>
                </a:moveTo>
                <a:lnTo>
                  <a:pt x="63" y="35"/>
                </a:lnTo>
                <a:lnTo>
                  <a:pt x="60" y="37"/>
                </a:lnTo>
                <a:lnTo>
                  <a:pt x="60" y="37"/>
                </a:lnTo>
                <a:lnTo>
                  <a:pt x="59" y="31"/>
                </a:lnTo>
                <a:lnTo>
                  <a:pt x="59" y="31"/>
                </a:lnTo>
                <a:lnTo>
                  <a:pt x="43" y="32"/>
                </a:lnTo>
                <a:lnTo>
                  <a:pt x="35" y="32"/>
                </a:lnTo>
                <a:lnTo>
                  <a:pt x="26" y="29"/>
                </a:lnTo>
                <a:lnTo>
                  <a:pt x="26" y="29"/>
                </a:lnTo>
                <a:lnTo>
                  <a:pt x="21" y="37"/>
                </a:lnTo>
                <a:lnTo>
                  <a:pt x="21" y="37"/>
                </a:lnTo>
                <a:lnTo>
                  <a:pt x="17" y="35"/>
                </a:lnTo>
                <a:lnTo>
                  <a:pt x="17" y="35"/>
                </a:lnTo>
                <a:lnTo>
                  <a:pt x="17" y="35"/>
                </a:lnTo>
                <a:lnTo>
                  <a:pt x="17" y="35"/>
                </a:lnTo>
                <a:lnTo>
                  <a:pt x="17" y="37"/>
                </a:lnTo>
                <a:lnTo>
                  <a:pt x="17" y="37"/>
                </a:lnTo>
                <a:lnTo>
                  <a:pt x="17" y="42"/>
                </a:lnTo>
                <a:lnTo>
                  <a:pt x="17" y="42"/>
                </a:lnTo>
                <a:lnTo>
                  <a:pt x="20" y="45"/>
                </a:lnTo>
                <a:lnTo>
                  <a:pt x="20" y="45"/>
                </a:lnTo>
                <a:lnTo>
                  <a:pt x="21" y="46"/>
                </a:lnTo>
                <a:lnTo>
                  <a:pt x="21" y="46"/>
                </a:lnTo>
                <a:lnTo>
                  <a:pt x="24" y="53"/>
                </a:lnTo>
                <a:lnTo>
                  <a:pt x="29" y="59"/>
                </a:lnTo>
                <a:lnTo>
                  <a:pt x="29" y="59"/>
                </a:lnTo>
                <a:lnTo>
                  <a:pt x="34" y="62"/>
                </a:lnTo>
                <a:lnTo>
                  <a:pt x="40" y="63"/>
                </a:lnTo>
                <a:lnTo>
                  <a:pt x="40" y="63"/>
                </a:lnTo>
                <a:lnTo>
                  <a:pt x="46" y="62"/>
                </a:lnTo>
                <a:lnTo>
                  <a:pt x="52" y="59"/>
                </a:lnTo>
                <a:lnTo>
                  <a:pt x="52" y="59"/>
                </a:lnTo>
                <a:lnTo>
                  <a:pt x="57" y="53"/>
                </a:lnTo>
                <a:lnTo>
                  <a:pt x="60" y="46"/>
                </a:lnTo>
                <a:lnTo>
                  <a:pt x="60" y="45"/>
                </a:lnTo>
                <a:lnTo>
                  <a:pt x="60" y="45"/>
                </a:lnTo>
                <a:lnTo>
                  <a:pt x="60" y="45"/>
                </a:lnTo>
                <a:lnTo>
                  <a:pt x="63" y="42"/>
                </a:lnTo>
                <a:lnTo>
                  <a:pt x="63" y="42"/>
                </a:lnTo>
                <a:lnTo>
                  <a:pt x="63" y="37"/>
                </a:lnTo>
                <a:lnTo>
                  <a:pt x="63" y="37"/>
                </a:lnTo>
                <a:lnTo>
                  <a:pt x="63" y="35"/>
                </a:lnTo>
                <a:lnTo>
                  <a:pt x="63" y="35"/>
                </a:lnTo>
                <a:lnTo>
                  <a:pt x="63" y="35"/>
                </a:lnTo>
                <a:close/>
                <a:moveTo>
                  <a:pt x="82" y="65"/>
                </a:moveTo>
                <a:lnTo>
                  <a:pt x="82" y="65"/>
                </a:lnTo>
                <a:lnTo>
                  <a:pt x="77" y="66"/>
                </a:lnTo>
                <a:lnTo>
                  <a:pt x="77" y="66"/>
                </a:lnTo>
                <a:lnTo>
                  <a:pt x="80" y="71"/>
                </a:lnTo>
                <a:lnTo>
                  <a:pt x="82" y="77"/>
                </a:lnTo>
                <a:lnTo>
                  <a:pt x="85" y="90"/>
                </a:lnTo>
                <a:lnTo>
                  <a:pt x="127" y="90"/>
                </a:lnTo>
                <a:lnTo>
                  <a:pt x="127" y="90"/>
                </a:lnTo>
                <a:lnTo>
                  <a:pt x="127" y="84"/>
                </a:lnTo>
                <a:lnTo>
                  <a:pt x="124" y="76"/>
                </a:lnTo>
                <a:lnTo>
                  <a:pt x="117" y="70"/>
                </a:lnTo>
                <a:lnTo>
                  <a:pt x="114" y="66"/>
                </a:lnTo>
                <a:lnTo>
                  <a:pt x="110" y="63"/>
                </a:lnTo>
                <a:lnTo>
                  <a:pt x="110" y="63"/>
                </a:lnTo>
                <a:lnTo>
                  <a:pt x="103" y="68"/>
                </a:lnTo>
                <a:lnTo>
                  <a:pt x="96" y="70"/>
                </a:lnTo>
                <a:lnTo>
                  <a:pt x="96" y="70"/>
                </a:lnTo>
                <a:lnTo>
                  <a:pt x="88" y="68"/>
                </a:lnTo>
                <a:lnTo>
                  <a:pt x="82" y="65"/>
                </a:lnTo>
                <a:lnTo>
                  <a:pt x="82" y="65"/>
                </a:lnTo>
                <a:close/>
                <a:moveTo>
                  <a:pt x="110" y="48"/>
                </a:moveTo>
                <a:lnTo>
                  <a:pt x="110" y="48"/>
                </a:lnTo>
                <a:lnTo>
                  <a:pt x="110" y="35"/>
                </a:lnTo>
                <a:lnTo>
                  <a:pt x="110" y="35"/>
                </a:lnTo>
                <a:lnTo>
                  <a:pt x="97" y="37"/>
                </a:lnTo>
                <a:lnTo>
                  <a:pt x="90" y="37"/>
                </a:lnTo>
                <a:lnTo>
                  <a:pt x="82" y="35"/>
                </a:lnTo>
                <a:lnTo>
                  <a:pt x="82" y="45"/>
                </a:lnTo>
                <a:lnTo>
                  <a:pt x="82" y="45"/>
                </a:lnTo>
                <a:lnTo>
                  <a:pt x="82" y="46"/>
                </a:lnTo>
                <a:lnTo>
                  <a:pt x="82" y="46"/>
                </a:lnTo>
                <a:lnTo>
                  <a:pt x="83" y="51"/>
                </a:lnTo>
                <a:lnTo>
                  <a:pt x="86" y="54"/>
                </a:lnTo>
                <a:lnTo>
                  <a:pt x="91" y="57"/>
                </a:lnTo>
                <a:lnTo>
                  <a:pt x="96" y="59"/>
                </a:lnTo>
                <a:lnTo>
                  <a:pt x="96" y="59"/>
                </a:lnTo>
                <a:lnTo>
                  <a:pt x="100" y="57"/>
                </a:lnTo>
                <a:lnTo>
                  <a:pt x="105" y="56"/>
                </a:lnTo>
                <a:lnTo>
                  <a:pt x="108" y="51"/>
                </a:lnTo>
                <a:lnTo>
                  <a:pt x="110" y="48"/>
                </a:lnTo>
                <a:lnTo>
                  <a:pt x="110" y="48"/>
                </a:lnTo>
                <a:close/>
              </a:path>
            </a:pathLst>
          </a:custGeom>
          <a:solidFill>
            <a:schemeClr val="accent3"/>
          </a:solidFill>
          <a:ln>
            <a:noFill/>
          </a:ln>
          <a:extLst/>
        </p:spPr>
        <p:txBody>
          <a:bodyPr vert="horz" wrap="square" lIns="84406" tIns="42203" rIns="84406" bIns="42203" numCol="1" anchor="t" anchorCtr="0" compatLnSpc="1">
            <a:prstTxWarp prst="textNoShape">
              <a:avLst/>
            </a:prstTxWarp>
          </a:bodyPr>
          <a:lstStyle/>
          <a:p>
            <a:endParaRPr lang="en-US" dirty="0"/>
          </a:p>
        </p:txBody>
      </p:sp>
      <p:sp>
        <p:nvSpPr>
          <p:cNvPr id="39" name="Slide Number Placeholder 5"/>
          <p:cNvSpPr>
            <a:spLocks noGrp="1"/>
          </p:cNvSpPr>
          <p:nvPr>
            <p:ph type="sldNum" sz="quarter" idx="4"/>
          </p:nvPr>
        </p:nvSpPr>
        <p:spPr>
          <a:xfrm>
            <a:off x="386471" y="6494812"/>
            <a:ext cx="792088" cy="113557"/>
          </a:xfrm>
        </p:spPr>
        <p:txBody>
          <a:bodyPr/>
          <a:lstStyle/>
          <a:p>
            <a:pPr algn="l"/>
            <a:r>
              <a:rPr lang="en-GB" dirty="0" smtClean="0">
                <a:solidFill>
                  <a:schemeClr val="tx1"/>
                </a:solidFill>
              </a:rPr>
              <a:t>69</a:t>
            </a:r>
            <a:endParaRPr lang="en-GB" dirty="0">
              <a:solidFill>
                <a:schemeClr val="tx1"/>
              </a:solidFill>
            </a:endParaRPr>
          </a:p>
        </p:txBody>
      </p:sp>
    </p:spTree>
    <p:extLst>
      <p:ext uri="{BB962C8B-B14F-4D97-AF65-F5344CB8AC3E}">
        <p14:creationId xmlns:p14="http://schemas.microsoft.com/office/powerpoint/2010/main" val="31143788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2"/>
          <p:cNvSpPr>
            <a:spLocks noGrp="1" noChangeArrowheads="1"/>
          </p:cNvSpPr>
          <p:nvPr>
            <p:ph type="title"/>
          </p:nvPr>
        </p:nvSpPr>
        <p:spPr/>
        <p:txBody>
          <a:bodyPr/>
          <a:lstStyle/>
          <a:p>
            <a:pPr eaLnBrk="1" hangingPunct="1"/>
            <a:r>
              <a:rPr lang="en-GB" sz="2400" smtClean="0"/>
              <a:t>Action Brainstorm</a:t>
            </a:r>
            <a:r>
              <a:rPr lang="en-GB" smtClean="0"/>
              <a:t/>
            </a:r>
            <a:br>
              <a:rPr lang="en-GB" smtClean="0"/>
            </a:br>
            <a:r>
              <a:rPr lang="en-GB" sz="1800" b="1" smtClean="0">
                <a:solidFill>
                  <a:srgbClr val="99CC33"/>
                </a:solidFill>
                <a:cs typeface="Arial" pitchFamily="34" charset="0"/>
              </a:rPr>
              <a:t>Note down all the ideas</a:t>
            </a:r>
          </a:p>
        </p:txBody>
      </p:sp>
      <p:sp>
        <p:nvSpPr>
          <p:cNvPr id="130052" name="Slide Number Placeholder 5"/>
          <p:cNvSpPr>
            <a:spLocks noGrp="1"/>
          </p:cNvSpPr>
          <p:nvPr>
            <p:ph type="sldNum" sz="quarter" idx="11"/>
          </p:nvPr>
        </p:nvSpPr>
        <p:spPr>
          <a:noFill/>
        </p:spPr>
        <p:txBody>
          <a:bodyPr/>
          <a:lstStyle/>
          <a:p>
            <a:fld id="{5FEFF596-6E99-4480-8E43-76C3090D8736}" type="slidenum">
              <a:rPr lang="en-GB" altLang="en-GB"/>
              <a:pPr/>
              <a:t>7</a:t>
            </a:fld>
            <a:endParaRPr lang="en-GB" altLang="en-GB"/>
          </a:p>
        </p:txBody>
      </p:sp>
      <p:sp>
        <p:nvSpPr>
          <p:cNvPr id="130053" name="Rectangle 5"/>
          <p:cNvSpPr>
            <a:spLocks noGrp="1" noChangeArrowheads="1"/>
          </p:cNvSpPr>
          <p:nvPr>
            <p:ph type="body" sz="half" idx="4294967295"/>
          </p:nvPr>
        </p:nvSpPr>
        <p:spPr>
          <a:xfrm>
            <a:off x="688975" y="3971925"/>
            <a:ext cx="8455025" cy="898525"/>
          </a:xfrm>
          <a:noFill/>
          <a:ln>
            <a:noFill/>
          </a:ln>
        </p:spPr>
        <p:txBody>
          <a:bodyPr lIns="72000" tIns="72000" rIns="72000" bIns="72000"/>
          <a:lstStyle/>
          <a:p>
            <a:pPr marL="285750" indent="-285750" eaLnBrk="1" hangingPunct="1">
              <a:buFont typeface="Wingdings" panose="05000000000000000000" pitchFamily="2" charset="2"/>
              <a:buChar char="§"/>
            </a:pPr>
            <a:r>
              <a:rPr lang="en-GB" sz="1600" dirty="0" smtClean="0"/>
              <a:t>To get to an implemented future state value stream a series of changes are required</a:t>
            </a:r>
          </a:p>
          <a:p>
            <a:pPr marL="285750" indent="-285750" eaLnBrk="1" hangingPunct="1">
              <a:buFont typeface="Wingdings" panose="05000000000000000000" pitchFamily="2" charset="2"/>
              <a:buChar char="§"/>
            </a:pPr>
            <a:r>
              <a:rPr lang="en-GB" sz="1600" dirty="0" smtClean="0"/>
              <a:t>Brainstorm all the actions that need to occur to go from the current state to the future state on post-its</a:t>
            </a:r>
          </a:p>
        </p:txBody>
      </p:sp>
      <p:grpSp>
        <p:nvGrpSpPr>
          <p:cNvPr id="130054" name="Group 6"/>
          <p:cNvGrpSpPr>
            <a:grpSpLocks/>
          </p:cNvGrpSpPr>
          <p:nvPr/>
        </p:nvGrpSpPr>
        <p:grpSpPr bwMode="auto">
          <a:xfrm>
            <a:off x="184150" y="1052513"/>
            <a:ext cx="2736850" cy="2233612"/>
            <a:chOff x="385" y="663"/>
            <a:chExt cx="4717" cy="2515"/>
          </a:xfrm>
        </p:grpSpPr>
        <p:pic>
          <p:nvPicPr>
            <p:cNvPr id="130073"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5" y="663"/>
              <a:ext cx="4717" cy="2515"/>
            </a:xfrm>
            <a:prstGeom prst="rect">
              <a:avLst/>
            </a:prstGeom>
            <a:noFill/>
            <a:ln w="9525">
              <a:noFill/>
              <a:miter lim="800000"/>
              <a:headEnd/>
              <a:tailEnd/>
            </a:ln>
          </p:spPr>
        </p:pic>
        <p:sp>
          <p:nvSpPr>
            <p:cNvPr id="130074" name="Rectangle 8"/>
            <p:cNvSpPr>
              <a:spLocks noChangeArrowheads="1"/>
            </p:cNvSpPr>
            <p:nvPr/>
          </p:nvSpPr>
          <p:spPr bwMode="auto">
            <a:xfrm>
              <a:off x="567" y="1298"/>
              <a:ext cx="227" cy="136"/>
            </a:xfrm>
            <a:prstGeom prst="rect">
              <a:avLst/>
            </a:prstGeom>
            <a:solidFill>
              <a:srgbClr val="FFCC99"/>
            </a:solidFill>
            <a:ln w="9525">
              <a:noFill/>
              <a:miter lim="800000"/>
              <a:headEnd/>
              <a:tailEnd/>
            </a:ln>
          </p:spPr>
          <p:txBody>
            <a:bodyPr lIns="3600" tIns="3600" rIns="3600" bIns="3600" anchor="ctr"/>
            <a:lstStyle/>
            <a:p>
              <a:pPr algn="ctr"/>
              <a:r>
                <a:rPr lang="en-GB" sz="200" b="0">
                  <a:solidFill>
                    <a:srgbClr val="000066"/>
                  </a:solidFill>
                </a:rPr>
                <a:t>Over processing – order entry is input into two separate screens</a:t>
              </a:r>
            </a:p>
          </p:txBody>
        </p:sp>
      </p:grpSp>
      <p:pic>
        <p:nvPicPr>
          <p:cNvPr id="130055"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b="48642"/>
          <a:stretch>
            <a:fillRect/>
          </a:stretch>
        </p:blipFill>
        <p:spPr bwMode="auto">
          <a:xfrm>
            <a:off x="6227763" y="1700213"/>
            <a:ext cx="2736850" cy="1152525"/>
          </a:xfrm>
          <a:prstGeom prst="rect">
            <a:avLst/>
          </a:prstGeom>
          <a:solidFill>
            <a:srgbClr val="92D400"/>
          </a:solidFill>
          <a:ln w="9525">
            <a:noFill/>
            <a:miter lim="800000"/>
            <a:headEnd/>
            <a:tailEnd/>
          </a:ln>
        </p:spPr>
      </p:pic>
      <p:sp>
        <p:nvSpPr>
          <p:cNvPr id="130056" name="AutoShape 11"/>
          <p:cNvSpPr>
            <a:spLocks noChangeArrowheads="1"/>
          </p:cNvSpPr>
          <p:nvPr/>
        </p:nvSpPr>
        <p:spPr bwMode="auto">
          <a:xfrm>
            <a:off x="6605588" y="2200275"/>
            <a:ext cx="423862" cy="222250"/>
          </a:xfrm>
          <a:prstGeom prst="irregularSeal2">
            <a:avLst/>
          </a:prstGeom>
          <a:solidFill>
            <a:srgbClr val="92D400"/>
          </a:solidFill>
          <a:ln w="9525">
            <a:noFill/>
            <a:miter lim="800000"/>
            <a:headEnd/>
            <a:tailEnd/>
          </a:ln>
        </p:spPr>
        <p:txBody>
          <a:bodyPr anchor="ctr"/>
          <a:lstStyle/>
          <a:p>
            <a:pPr algn="ctr"/>
            <a:endParaRPr lang="en-US" sz="200" b="0">
              <a:solidFill>
                <a:srgbClr val="000066"/>
              </a:solidFill>
            </a:endParaRPr>
          </a:p>
        </p:txBody>
      </p:sp>
      <p:sp>
        <p:nvSpPr>
          <p:cNvPr id="130057" name="AutoShape 12"/>
          <p:cNvSpPr>
            <a:spLocks noChangeArrowheads="1"/>
          </p:cNvSpPr>
          <p:nvPr/>
        </p:nvSpPr>
        <p:spPr bwMode="auto">
          <a:xfrm>
            <a:off x="7218363" y="2236788"/>
            <a:ext cx="471487" cy="223837"/>
          </a:xfrm>
          <a:prstGeom prst="irregularSeal2">
            <a:avLst/>
          </a:prstGeom>
          <a:solidFill>
            <a:srgbClr val="92D400"/>
          </a:solidFill>
          <a:ln w="9525">
            <a:noFill/>
            <a:miter lim="800000"/>
            <a:headEnd/>
            <a:tailEnd/>
          </a:ln>
        </p:spPr>
        <p:txBody>
          <a:bodyPr anchor="ctr"/>
          <a:lstStyle/>
          <a:p>
            <a:pPr algn="ctr"/>
            <a:endParaRPr lang="en-US" sz="1200" b="0">
              <a:solidFill>
                <a:srgbClr val="000066"/>
              </a:solidFill>
            </a:endParaRPr>
          </a:p>
        </p:txBody>
      </p:sp>
      <p:sp>
        <p:nvSpPr>
          <p:cNvPr id="130058" name="AutoShape 13"/>
          <p:cNvSpPr>
            <a:spLocks noChangeArrowheads="1"/>
          </p:cNvSpPr>
          <p:nvPr/>
        </p:nvSpPr>
        <p:spPr bwMode="auto">
          <a:xfrm>
            <a:off x="2987675" y="1412875"/>
            <a:ext cx="3168650" cy="1655763"/>
          </a:xfrm>
          <a:prstGeom prst="rightArrow">
            <a:avLst>
              <a:gd name="adj1" fmla="val 50000"/>
              <a:gd name="adj2" fmla="val 47843"/>
            </a:avLst>
          </a:prstGeom>
          <a:solidFill>
            <a:srgbClr val="00A1DE"/>
          </a:solidFill>
          <a:ln w="9525">
            <a:noFill/>
            <a:miter lim="800000"/>
            <a:headEnd/>
            <a:tailEnd/>
          </a:ln>
        </p:spPr>
        <p:txBody>
          <a:bodyPr anchor="ctr"/>
          <a:lstStyle/>
          <a:p>
            <a:pPr algn="ctr"/>
            <a:r>
              <a:rPr lang="en-GB" sz="1400" b="0">
                <a:solidFill>
                  <a:srgbClr val="FFFFFF"/>
                </a:solidFill>
              </a:rPr>
              <a:t>Actions required to implement the future state</a:t>
            </a:r>
          </a:p>
        </p:txBody>
      </p:sp>
      <p:sp>
        <p:nvSpPr>
          <p:cNvPr id="130059" name="Line 20"/>
          <p:cNvSpPr>
            <a:spLocks noChangeShapeType="1"/>
          </p:cNvSpPr>
          <p:nvPr/>
        </p:nvSpPr>
        <p:spPr bwMode="auto">
          <a:xfrm flipH="1">
            <a:off x="6804025" y="1125538"/>
            <a:ext cx="144463" cy="1079500"/>
          </a:xfrm>
          <a:prstGeom prst="line">
            <a:avLst/>
          </a:prstGeom>
          <a:noFill/>
          <a:ln w="9525">
            <a:solidFill>
              <a:schemeClr val="accent1"/>
            </a:solidFill>
            <a:round/>
            <a:headEnd/>
            <a:tailEnd type="triangle" w="med" len="med"/>
          </a:ln>
        </p:spPr>
        <p:txBody>
          <a:bodyPr/>
          <a:lstStyle/>
          <a:p>
            <a:endParaRPr lang="en-GB"/>
          </a:p>
        </p:txBody>
      </p:sp>
      <p:pic>
        <p:nvPicPr>
          <p:cNvPr id="130060" name="Picture 22" descr="MPj04304740000[1]"/>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96900" y="5330825"/>
            <a:ext cx="1081088" cy="1081088"/>
          </a:xfrm>
          <a:prstGeom prst="rect">
            <a:avLst/>
          </a:prstGeom>
          <a:noFill/>
          <a:ln w="9525">
            <a:noFill/>
            <a:miter lim="800000"/>
            <a:headEnd/>
            <a:tailEnd/>
          </a:ln>
        </p:spPr>
      </p:pic>
      <p:sp>
        <p:nvSpPr>
          <p:cNvPr id="130061" name="Text Box 23"/>
          <p:cNvSpPr txBox="1">
            <a:spLocks noChangeArrowheads="1"/>
          </p:cNvSpPr>
          <p:nvPr/>
        </p:nvSpPr>
        <p:spPr bwMode="auto">
          <a:xfrm>
            <a:off x="1692275" y="5153025"/>
            <a:ext cx="7200900" cy="1169988"/>
          </a:xfrm>
          <a:prstGeom prst="rect">
            <a:avLst/>
          </a:prstGeom>
          <a:noFill/>
          <a:ln w="9525">
            <a:noFill/>
            <a:miter lim="800000"/>
            <a:headEnd/>
            <a:tailEnd/>
          </a:ln>
        </p:spPr>
        <p:txBody>
          <a:bodyPr>
            <a:spAutoFit/>
          </a:bodyPr>
          <a:lstStyle/>
          <a:p>
            <a:pPr marL="174625" indent="-174625">
              <a:spcBef>
                <a:spcPct val="50000"/>
              </a:spcBef>
              <a:buFont typeface="Arial" pitchFamily="34" charset="0"/>
              <a:buChar char="•"/>
            </a:pPr>
            <a:r>
              <a:rPr lang="en-GB" sz="1400" b="0" i="1" dirty="0">
                <a:solidFill>
                  <a:srgbClr val="000066"/>
                </a:solidFill>
              </a:rPr>
              <a:t>Use verbs, not nouns, to describe the actions that need to be taken</a:t>
            </a:r>
          </a:p>
          <a:p>
            <a:pPr marL="174625" indent="-174625">
              <a:spcBef>
                <a:spcPct val="50000"/>
              </a:spcBef>
              <a:buFont typeface="Arial" pitchFamily="34" charset="0"/>
              <a:buChar char="•"/>
            </a:pPr>
            <a:r>
              <a:rPr lang="en-GB" sz="1400" b="0" i="1" dirty="0">
                <a:solidFill>
                  <a:srgbClr val="000066"/>
                </a:solidFill>
              </a:rPr>
              <a:t>Don’t forget about the enablers that are documented on the future state map</a:t>
            </a:r>
          </a:p>
          <a:p>
            <a:pPr marL="174625" indent="-174625">
              <a:spcBef>
                <a:spcPct val="50000"/>
              </a:spcBef>
              <a:buFont typeface="Arial" pitchFamily="34" charset="0"/>
              <a:buChar char="•"/>
            </a:pPr>
            <a:r>
              <a:rPr lang="en-GB" sz="1400" b="0" i="1" dirty="0">
                <a:solidFill>
                  <a:srgbClr val="000066"/>
                </a:solidFill>
              </a:rPr>
              <a:t>Refer back to the wastes when considering the actions and check that they have been addressed</a:t>
            </a:r>
          </a:p>
        </p:txBody>
      </p:sp>
      <p:sp>
        <p:nvSpPr>
          <p:cNvPr id="130062" name="Rectangle 24"/>
          <p:cNvSpPr>
            <a:spLocks noChangeArrowheads="1"/>
          </p:cNvSpPr>
          <p:nvPr/>
        </p:nvSpPr>
        <p:spPr bwMode="auto">
          <a:xfrm>
            <a:off x="355602" y="5013325"/>
            <a:ext cx="8461373" cy="1439863"/>
          </a:xfrm>
          <a:prstGeom prst="rect">
            <a:avLst/>
          </a:prstGeom>
          <a:noFill/>
          <a:ln w="9525">
            <a:solidFill>
              <a:schemeClr val="accent3"/>
            </a:solidFill>
            <a:miter lim="800000"/>
            <a:headEnd/>
            <a:tailEnd/>
          </a:ln>
        </p:spPr>
        <p:txBody>
          <a:bodyPr wrap="none" anchor="ctr"/>
          <a:lstStyle/>
          <a:p>
            <a:endParaRPr lang="en-US" b="0">
              <a:solidFill>
                <a:srgbClr val="000066"/>
              </a:solidFill>
            </a:endParaRPr>
          </a:p>
        </p:txBody>
      </p:sp>
      <p:sp>
        <p:nvSpPr>
          <p:cNvPr id="140315" name="AutoShape 27"/>
          <p:cNvSpPr>
            <a:spLocks noChangeArrowheads="1"/>
          </p:cNvSpPr>
          <p:nvPr/>
        </p:nvSpPr>
        <p:spPr bwMode="auto">
          <a:xfrm>
            <a:off x="6418263" y="704850"/>
            <a:ext cx="2232025" cy="911225"/>
          </a:xfrm>
          <a:prstGeom prst="irregularSeal2">
            <a:avLst/>
          </a:prstGeom>
          <a:solidFill>
            <a:srgbClr val="92D400"/>
          </a:solidFill>
          <a:ln w="9525">
            <a:noFill/>
            <a:miter lim="800000"/>
            <a:headEnd/>
            <a:tailEnd/>
          </a:ln>
          <a:effectLst/>
        </p:spPr>
        <p:txBody>
          <a:bodyPr anchor="ctr"/>
          <a:lstStyle/>
          <a:p>
            <a:pPr algn="ctr">
              <a:defRPr/>
            </a:pPr>
            <a:r>
              <a:rPr lang="en-GB" sz="1200" b="0" dirty="0">
                <a:solidFill>
                  <a:srgbClr val="000066"/>
                </a:solidFill>
                <a:cs typeface="+mn-cs"/>
              </a:rPr>
              <a:t>Inputs to one screen</a:t>
            </a:r>
          </a:p>
        </p:txBody>
      </p:sp>
      <p:sp>
        <p:nvSpPr>
          <p:cNvPr id="23" name="Rounded Rectangle 22"/>
          <p:cNvSpPr/>
          <p:nvPr/>
        </p:nvSpPr>
        <p:spPr bwMode="auto">
          <a:xfrm>
            <a:off x="2990850" y="3228975"/>
            <a:ext cx="1114425" cy="542925"/>
          </a:xfrm>
          <a:prstGeom prst="round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0" dirty="0">
                <a:solidFill>
                  <a:schemeClr val="bg1"/>
                </a:solidFill>
              </a:rPr>
              <a:t>Install printer for invoice preparer</a:t>
            </a:r>
          </a:p>
        </p:txBody>
      </p:sp>
      <p:sp>
        <p:nvSpPr>
          <p:cNvPr id="28" name="Freeform 27"/>
          <p:cNvSpPr/>
          <p:nvPr/>
        </p:nvSpPr>
        <p:spPr bwMode="auto">
          <a:xfrm>
            <a:off x="3524250" y="2705100"/>
            <a:ext cx="606425" cy="523875"/>
          </a:xfrm>
          <a:custGeom>
            <a:avLst/>
            <a:gdLst>
              <a:gd name="connsiteX0" fmla="*/ 0 w 606425"/>
              <a:gd name="connsiteY0" fmla="*/ 523875 h 523875"/>
              <a:gd name="connsiteX1" fmla="*/ 130175 w 606425"/>
              <a:gd name="connsiteY1" fmla="*/ 263525 h 523875"/>
              <a:gd name="connsiteX2" fmla="*/ 606425 w 606425"/>
              <a:gd name="connsiteY2" fmla="*/ 0 h 523875"/>
            </a:gdLst>
            <a:ahLst/>
            <a:cxnLst>
              <a:cxn ang="0">
                <a:pos x="connsiteX0" y="connsiteY0"/>
              </a:cxn>
              <a:cxn ang="0">
                <a:pos x="connsiteX1" y="connsiteY1"/>
              </a:cxn>
              <a:cxn ang="0">
                <a:pos x="connsiteX2" y="connsiteY2"/>
              </a:cxn>
            </a:cxnLst>
            <a:rect l="l" t="t" r="r" b="b"/>
            <a:pathLst>
              <a:path w="606425" h="523875">
                <a:moveTo>
                  <a:pt x="0" y="523875"/>
                </a:moveTo>
                <a:cubicBezTo>
                  <a:pt x="14552" y="437356"/>
                  <a:pt x="29104" y="350837"/>
                  <a:pt x="130175" y="263525"/>
                </a:cubicBezTo>
                <a:cubicBezTo>
                  <a:pt x="231246" y="176213"/>
                  <a:pt x="418835" y="88106"/>
                  <a:pt x="606425" y="0"/>
                </a:cubicBezTo>
              </a:path>
            </a:pathLst>
          </a:custGeom>
          <a:ln>
            <a:solidFill>
              <a:schemeClr val="accent1"/>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sp>
        <p:nvSpPr>
          <p:cNvPr id="24" name="Rounded Rectangle 23"/>
          <p:cNvSpPr/>
          <p:nvPr/>
        </p:nvSpPr>
        <p:spPr bwMode="auto">
          <a:xfrm>
            <a:off x="4195763" y="3228975"/>
            <a:ext cx="1114425" cy="542925"/>
          </a:xfrm>
          <a:prstGeom prst="round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0" dirty="0">
                <a:solidFill>
                  <a:schemeClr val="bg1"/>
                </a:solidFill>
              </a:rPr>
              <a:t>Mistake proof order entry</a:t>
            </a:r>
          </a:p>
        </p:txBody>
      </p:sp>
      <p:sp>
        <p:nvSpPr>
          <p:cNvPr id="29" name="Freeform 28"/>
          <p:cNvSpPr/>
          <p:nvPr/>
        </p:nvSpPr>
        <p:spPr bwMode="auto">
          <a:xfrm>
            <a:off x="4629150" y="2701925"/>
            <a:ext cx="606425" cy="523875"/>
          </a:xfrm>
          <a:custGeom>
            <a:avLst/>
            <a:gdLst>
              <a:gd name="connsiteX0" fmla="*/ 0 w 606425"/>
              <a:gd name="connsiteY0" fmla="*/ 523875 h 523875"/>
              <a:gd name="connsiteX1" fmla="*/ 130175 w 606425"/>
              <a:gd name="connsiteY1" fmla="*/ 263525 h 523875"/>
              <a:gd name="connsiteX2" fmla="*/ 606425 w 606425"/>
              <a:gd name="connsiteY2" fmla="*/ 0 h 523875"/>
            </a:gdLst>
            <a:ahLst/>
            <a:cxnLst>
              <a:cxn ang="0">
                <a:pos x="connsiteX0" y="connsiteY0"/>
              </a:cxn>
              <a:cxn ang="0">
                <a:pos x="connsiteX1" y="connsiteY1"/>
              </a:cxn>
              <a:cxn ang="0">
                <a:pos x="connsiteX2" y="connsiteY2"/>
              </a:cxn>
            </a:cxnLst>
            <a:rect l="l" t="t" r="r" b="b"/>
            <a:pathLst>
              <a:path w="606425" h="523875">
                <a:moveTo>
                  <a:pt x="0" y="523875"/>
                </a:moveTo>
                <a:cubicBezTo>
                  <a:pt x="14552" y="437356"/>
                  <a:pt x="29104" y="350837"/>
                  <a:pt x="130175" y="263525"/>
                </a:cubicBezTo>
                <a:cubicBezTo>
                  <a:pt x="231246" y="176213"/>
                  <a:pt x="418835" y="88106"/>
                  <a:pt x="606425" y="0"/>
                </a:cubicBezTo>
              </a:path>
            </a:pathLst>
          </a:custGeom>
          <a:ln>
            <a:solidFill>
              <a:schemeClr val="accent1"/>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sp>
        <p:nvSpPr>
          <p:cNvPr id="25" name="Rounded Rectangle 24"/>
          <p:cNvSpPr/>
          <p:nvPr/>
        </p:nvSpPr>
        <p:spPr bwMode="auto">
          <a:xfrm>
            <a:off x="2990850" y="700088"/>
            <a:ext cx="1114425" cy="542925"/>
          </a:xfrm>
          <a:prstGeom prst="round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0" dirty="0">
                <a:solidFill>
                  <a:schemeClr val="bg1"/>
                </a:solidFill>
              </a:rPr>
              <a:t>Implement 5S filing - contracts</a:t>
            </a:r>
          </a:p>
        </p:txBody>
      </p:sp>
      <p:sp>
        <p:nvSpPr>
          <p:cNvPr id="31" name="Freeform 30"/>
          <p:cNvSpPr/>
          <p:nvPr/>
        </p:nvSpPr>
        <p:spPr bwMode="auto">
          <a:xfrm flipV="1">
            <a:off x="3521075" y="1244600"/>
            <a:ext cx="606425" cy="523875"/>
          </a:xfrm>
          <a:custGeom>
            <a:avLst/>
            <a:gdLst>
              <a:gd name="connsiteX0" fmla="*/ 0 w 606425"/>
              <a:gd name="connsiteY0" fmla="*/ 523875 h 523875"/>
              <a:gd name="connsiteX1" fmla="*/ 130175 w 606425"/>
              <a:gd name="connsiteY1" fmla="*/ 263525 h 523875"/>
              <a:gd name="connsiteX2" fmla="*/ 606425 w 606425"/>
              <a:gd name="connsiteY2" fmla="*/ 0 h 523875"/>
            </a:gdLst>
            <a:ahLst/>
            <a:cxnLst>
              <a:cxn ang="0">
                <a:pos x="connsiteX0" y="connsiteY0"/>
              </a:cxn>
              <a:cxn ang="0">
                <a:pos x="connsiteX1" y="connsiteY1"/>
              </a:cxn>
              <a:cxn ang="0">
                <a:pos x="connsiteX2" y="connsiteY2"/>
              </a:cxn>
            </a:cxnLst>
            <a:rect l="l" t="t" r="r" b="b"/>
            <a:pathLst>
              <a:path w="606425" h="523875">
                <a:moveTo>
                  <a:pt x="0" y="523875"/>
                </a:moveTo>
                <a:cubicBezTo>
                  <a:pt x="14552" y="437356"/>
                  <a:pt x="29104" y="350837"/>
                  <a:pt x="130175" y="263525"/>
                </a:cubicBezTo>
                <a:cubicBezTo>
                  <a:pt x="231246" y="176213"/>
                  <a:pt x="418835" y="88106"/>
                  <a:pt x="606425" y="0"/>
                </a:cubicBezTo>
              </a:path>
            </a:pathLst>
          </a:custGeom>
          <a:ln>
            <a:solidFill>
              <a:schemeClr val="accent1"/>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sp>
        <p:nvSpPr>
          <p:cNvPr id="26" name="Rounded Rectangle 25"/>
          <p:cNvSpPr/>
          <p:nvPr/>
        </p:nvSpPr>
        <p:spPr bwMode="auto">
          <a:xfrm>
            <a:off x="4195763" y="700088"/>
            <a:ext cx="1114425" cy="542925"/>
          </a:xfrm>
          <a:prstGeom prst="round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b="0" dirty="0">
                <a:solidFill>
                  <a:schemeClr val="bg1"/>
                </a:solidFill>
              </a:rPr>
              <a:t>Develop skills matrix – input team</a:t>
            </a:r>
          </a:p>
        </p:txBody>
      </p:sp>
      <p:sp>
        <p:nvSpPr>
          <p:cNvPr id="32" name="Freeform 31"/>
          <p:cNvSpPr/>
          <p:nvPr/>
        </p:nvSpPr>
        <p:spPr bwMode="auto">
          <a:xfrm flipV="1">
            <a:off x="4638675" y="1244600"/>
            <a:ext cx="606425" cy="523875"/>
          </a:xfrm>
          <a:custGeom>
            <a:avLst/>
            <a:gdLst>
              <a:gd name="connsiteX0" fmla="*/ 0 w 606425"/>
              <a:gd name="connsiteY0" fmla="*/ 523875 h 523875"/>
              <a:gd name="connsiteX1" fmla="*/ 130175 w 606425"/>
              <a:gd name="connsiteY1" fmla="*/ 263525 h 523875"/>
              <a:gd name="connsiteX2" fmla="*/ 606425 w 606425"/>
              <a:gd name="connsiteY2" fmla="*/ 0 h 523875"/>
            </a:gdLst>
            <a:ahLst/>
            <a:cxnLst>
              <a:cxn ang="0">
                <a:pos x="connsiteX0" y="connsiteY0"/>
              </a:cxn>
              <a:cxn ang="0">
                <a:pos x="connsiteX1" y="connsiteY1"/>
              </a:cxn>
              <a:cxn ang="0">
                <a:pos x="connsiteX2" y="connsiteY2"/>
              </a:cxn>
            </a:cxnLst>
            <a:rect l="l" t="t" r="r" b="b"/>
            <a:pathLst>
              <a:path w="606425" h="523875">
                <a:moveTo>
                  <a:pt x="0" y="523875"/>
                </a:moveTo>
                <a:cubicBezTo>
                  <a:pt x="14552" y="437356"/>
                  <a:pt x="29104" y="350837"/>
                  <a:pt x="130175" y="263525"/>
                </a:cubicBezTo>
                <a:cubicBezTo>
                  <a:pt x="231246" y="176213"/>
                  <a:pt x="418835" y="88106"/>
                  <a:pt x="606425" y="0"/>
                </a:cubicBezTo>
              </a:path>
            </a:pathLst>
          </a:custGeom>
          <a:ln>
            <a:solidFill>
              <a:schemeClr val="accent1"/>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sp>
        <p:nvSpPr>
          <p:cNvPr id="130072" name="Rectangle 26"/>
          <p:cNvSpPr>
            <a:spLocks noChangeArrowheads="1"/>
          </p:cNvSpPr>
          <p:nvPr/>
        </p:nvSpPr>
        <p:spPr bwMode="auto">
          <a:xfrm>
            <a:off x="474663" y="5102225"/>
            <a:ext cx="1198562" cy="369888"/>
          </a:xfrm>
          <a:prstGeom prst="rect">
            <a:avLst/>
          </a:prstGeom>
          <a:noFill/>
          <a:ln w="9525">
            <a:noFill/>
            <a:miter lim="800000"/>
            <a:headEnd/>
            <a:tailEnd/>
          </a:ln>
        </p:spPr>
        <p:txBody>
          <a:bodyPr wrap="none">
            <a:spAutoFit/>
          </a:bodyPr>
          <a:lstStyle/>
          <a:p>
            <a:pPr marL="268288" indent="-174625">
              <a:tabLst>
                <a:tab pos="1166813" algn="l"/>
              </a:tabLst>
            </a:pPr>
            <a:r>
              <a:rPr lang="en-US" i="1">
                <a:solidFill>
                  <a:srgbClr val="000066"/>
                </a:solidFill>
              </a:rPr>
              <a:t>Hot Tips</a:t>
            </a: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Title 1"/>
          <p:cNvSpPr>
            <a:spLocks noGrp="1"/>
          </p:cNvSpPr>
          <p:nvPr>
            <p:ph type="title"/>
          </p:nvPr>
        </p:nvSpPr>
        <p:spPr/>
        <p:txBody>
          <a:bodyPr/>
          <a:lstStyle/>
          <a:p>
            <a:r>
              <a:rPr lang="en-GB" smtClean="0"/>
              <a:t>Final Thoughts and Q&amp;A Session </a:t>
            </a:r>
            <a:br>
              <a:rPr lang="en-GB" smtClean="0"/>
            </a:br>
            <a:r>
              <a:rPr lang="en-GB" sz="1800" b="1" smtClean="0">
                <a:solidFill>
                  <a:srgbClr val="99CC33"/>
                </a:solidFill>
              </a:rPr>
              <a:t>Ask away...</a:t>
            </a:r>
            <a:endParaRPr lang="en-GB" sz="1800" smtClean="0"/>
          </a:p>
        </p:txBody>
      </p:sp>
      <p:sp>
        <p:nvSpPr>
          <p:cNvPr id="173059" name="Slide Number Placeholder 4"/>
          <p:cNvSpPr>
            <a:spLocks noGrp="1"/>
          </p:cNvSpPr>
          <p:nvPr>
            <p:ph type="sldNum" sz="quarter" idx="11"/>
          </p:nvPr>
        </p:nvSpPr>
        <p:spPr>
          <a:noFill/>
        </p:spPr>
        <p:txBody>
          <a:bodyPr/>
          <a:lstStyle/>
          <a:p>
            <a:fld id="{9D2F1D43-A48D-4FAA-B74B-C057036C4F29}" type="slidenum">
              <a:rPr lang="en-GB" altLang="en-GB"/>
              <a:pPr/>
              <a:t>70</a:t>
            </a:fld>
            <a:endParaRPr lang="en-GB" altLang="en-GB"/>
          </a:p>
        </p:txBody>
      </p:sp>
      <p:pic>
        <p:nvPicPr>
          <p:cNvPr id="173060" name="Picture 4" descr="ORG004_wso_obj"/>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81579" y="1015999"/>
            <a:ext cx="2809875" cy="5646058"/>
          </a:xfrm>
          <a:prstGeom prst="rect">
            <a:avLst/>
          </a:prstGeom>
          <a:noFill/>
          <a:ln w="9525">
            <a:noFill/>
            <a:miter lim="800000"/>
            <a:headEnd/>
            <a:tailEnd/>
          </a:ln>
        </p:spPr>
      </p:pic>
    </p:spTree>
    <p:extLst>
      <p:ext uri="{BB962C8B-B14F-4D97-AF65-F5344CB8AC3E}">
        <p14:creationId xmlns:p14="http://schemas.microsoft.com/office/powerpoint/2010/main" val="362862439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Title 1"/>
          <p:cNvSpPr>
            <a:spLocks noGrp="1"/>
          </p:cNvSpPr>
          <p:nvPr>
            <p:ph type="title"/>
          </p:nvPr>
        </p:nvSpPr>
        <p:spPr/>
        <p:txBody>
          <a:bodyPr/>
          <a:lstStyle/>
          <a:p>
            <a:r>
              <a:rPr lang="en-GB" dirty="0" smtClean="0"/>
              <a:t>WWW &amp; WBBI</a:t>
            </a:r>
            <a:br>
              <a:rPr lang="en-GB" dirty="0" smtClean="0"/>
            </a:br>
            <a:r>
              <a:rPr lang="en-GB" altLang="fr-FR" sz="1800" b="1" dirty="0">
                <a:solidFill>
                  <a:srgbClr val="92D400"/>
                </a:solidFill>
                <a:cs typeface="Arial" pitchFamily="34" charset="0"/>
              </a:rPr>
              <a:t>Your thoughts</a:t>
            </a:r>
            <a:endParaRPr lang="en-GB" sz="1800" dirty="0" smtClean="0"/>
          </a:p>
        </p:txBody>
      </p:sp>
      <p:sp>
        <p:nvSpPr>
          <p:cNvPr id="174083" name="Slide Number Placeholder 4"/>
          <p:cNvSpPr>
            <a:spLocks noGrp="1"/>
          </p:cNvSpPr>
          <p:nvPr>
            <p:ph type="sldNum" sz="quarter" idx="11"/>
          </p:nvPr>
        </p:nvSpPr>
        <p:spPr>
          <a:noFill/>
        </p:spPr>
        <p:txBody>
          <a:bodyPr/>
          <a:lstStyle/>
          <a:p>
            <a:fld id="{49D8CC5A-80CE-4F04-80BB-94775C958E26}" type="slidenum">
              <a:rPr lang="en-GB" altLang="en-GB"/>
              <a:pPr/>
              <a:t>71</a:t>
            </a:fld>
            <a:endParaRPr lang="en-GB" altLang="en-GB"/>
          </a:p>
        </p:txBody>
      </p:sp>
      <p:cxnSp>
        <p:nvCxnSpPr>
          <p:cNvPr id="6" name="Straight Connector 5"/>
          <p:cNvCxnSpPr/>
          <p:nvPr/>
        </p:nvCxnSpPr>
        <p:spPr>
          <a:xfrm>
            <a:off x="468313" y="1700213"/>
            <a:ext cx="8062912" cy="0"/>
          </a:xfrm>
          <a:prstGeom prst="line">
            <a:avLst/>
          </a:prstGeom>
          <a:ln w="19050">
            <a:solidFill>
              <a:srgbClr val="000066"/>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rot="5400000">
            <a:off x="1907381" y="3717132"/>
            <a:ext cx="5183187" cy="0"/>
          </a:xfrm>
          <a:prstGeom prst="line">
            <a:avLst/>
          </a:prstGeom>
          <a:ln w="19050">
            <a:solidFill>
              <a:srgbClr val="000066"/>
            </a:solidFill>
          </a:ln>
        </p:spPr>
        <p:style>
          <a:lnRef idx="1">
            <a:schemeClr val="accent1"/>
          </a:lnRef>
          <a:fillRef idx="0">
            <a:schemeClr val="accent1"/>
          </a:fillRef>
          <a:effectRef idx="0">
            <a:schemeClr val="accent1"/>
          </a:effectRef>
          <a:fontRef idx="minor">
            <a:schemeClr val="tx1"/>
          </a:fontRef>
        </p:style>
      </p:cxnSp>
      <p:sp>
        <p:nvSpPr>
          <p:cNvPr id="174086" name="TextBox 7"/>
          <p:cNvSpPr txBox="1">
            <a:spLocks noChangeArrowheads="1"/>
          </p:cNvSpPr>
          <p:nvPr/>
        </p:nvSpPr>
        <p:spPr bwMode="auto">
          <a:xfrm>
            <a:off x="2051050" y="1258888"/>
            <a:ext cx="3889375" cy="369887"/>
          </a:xfrm>
          <a:prstGeom prst="rect">
            <a:avLst/>
          </a:prstGeom>
          <a:noFill/>
          <a:ln w="9525">
            <a:noFill/>
            <a:miter lim="800000"/>
            <a:headEnd/>
            <a:tailEnd/>
          </a:ln>
        </p:spPr>
        <p:txBody>
          <a:bodyPr>
            <a:spAutoFit/>
          </a:bodyPr>
          <a:lstStyle/>
          <a:p>
            <a:r>
              <a:rPr lang="en-GB">
                <a:solidFill>
                  <a:srgbClr val="000066"/>
                </a:solidFill>
              </a:rPr>
              <a:t>What Worked Well?</a:t>
            </a:r>
          </a:p>
        </p:txBody>
      </p:sp>
      <p:sp>
        <p:nvSpPr>
          <p:cNvPr id="174087" name="TextBox 8"/>
          <p:cNvSpPr txBox="1">
            <a:spLocks noChangeArrowheads="1"/>
          </p:cNvSpPr>
          <p:nvPr/>
        </p:nvSpPr>
        <p:spPr bwMode="auto">
          <a:xfrm>
            <a:off x="4716463" y="1258888"/>
            <a:ext cx="3887787" cy="369887"/>
          </a:xfrm>
          <a:prstGeom prst="rect">
            <a:avLst/>
          </a:prstGeom>
          <a:noFill/>
          <a:ln w="9525">
            <a:noFill/>
            <a:miter lim="800000"/>
            <a:headEnd/>
            <a:tailEnd/>
          </a:ln>
        </p:spPr>
        <p:txBody>
          <a:bodyPr>
            <a:spAutoFit/>
          </a:bodyPr>
          <a:lstStyle/>
          <a:p>
            <a:r>
              <a:rPr lang="en-GB">
                <a:solidFill>
                  <a:srgbClr val="000066"/>
                </a:solidFill>
              </a:rPr>
              <a:t>Would Be Better If?</a:t>
            </a:r>
          </a:p>
        </p:txBody>
      </p:sp>
      <p:sp>
        <p:nvSpPr>
          <p:cNvPr id="8" name="Rectangle 7"/>
          <p:cNvSpPr/>
          <p:nvPr/>
        </p:nvSpPr>
        <p:spPr>
          <a:xfrm>
            <a:off x="50800" y="50800"/>
            <a:ext cx="9036000" cy="6743700"/>
          </a:xfrm>
          <a:prstGeom prst="rect">
            <a:avLst/>
          </a:prstGeom>
          <a:noFill/>
          <a:ln w="107950">
            <a:solidFill>
              <a:srgbClr val="92D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7591" y="355600"/>
            <a:ext cx="1095097" cy="928048"/>
          </a:xfrm>
          <a:prstGeom prst="rect">
            <a:avLst/>
          </a:prstGeom>
        </p:spPr>
      </p:pic>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4"/>
          <p:cNvSpPr>
            <a:spLocks/>
          </p:cNvSpPr>
          <p:nvPr/>
        </p:nvSpPr>
        <p:spPr bwMode="auto">
          <a:xfrm>
            <a:off x="358775" y="4229100"/>
            <a:ext cx="6589713" cy="2093913"/>
          </a:xfrm>
          <a:prstGeom prst="rect">
            <a:avLst/>
          </a:prstGeom>
          <a:noFill/>
          <a:ln w="9525">
            <a:noFill/>
            <a:miter lim="800000"/>
            <a:headEnd/>
            <a:tailEnd/>
          </a:ln>
        </p:spPr>
        <p:txBody>
          <a:bodyPr lIns="0" tIns="0" rIns="0" bIns="0" anchor="b"/>
          <a:lstStyle/>
          <a:p>
            <a:pPr defTabSz="1017588">
              <a:lnSpc>
                <a:spcPts val="1400"/>
              </a:lnSpc>
              <a:spcAft>
                <a:spcPts val="1200"/>
              </a:spcAft>
              <a:buClr>
                <a:srgbClr val="FFFFFF"/>
              </a:buClr>
              <a:buSzPct val="80000"/>
            </a:pPr>
            <a:r>
              <a:rPr lang="en-GB" sz="800" b="0" dirty="0">
                <a:solidFill>
                  <a:srgbClr val="000066"/>
                </a:solidFill>
              </a:rPr>
              <a:t>This is an internal document which provides confidential advice and guidance to partners and staff of Deloitte MCS Limited. It is not to be copied or made available to any other party.</a:t>
            </a:r>
          </a:p>
          <a:p>
            <a:pPr defTabSz="1017588">
              <a:lnSpc>
                <a:spcPts val="1400"/>
              </a:lnSpc>
              <a:spcAft>
                <a:spcPts val="1200"/>
              </a:spcAft>
              <a:buClr>
                <a:srgbClr val="FFFFFF"/>
              </a:buClr>
              <a:buSzPct val="80000"/>
            </a:pPr>
            <a:r>
              <a:rPr lang="en-GB" sz="800" b="0" dirty="0">
                <a:solidFill>
                  <a:srgbClr val="000066"/>
                </a:solidFill>
              </a:rPr>
              <a:t>© </a:t>
            </a:r>
            <a:r>
              <a:rPr lang="en-GB" sz="800" b="0" dirty="0" smtClean="0">
                <a:solidFill>
                  <a:srgbClr val="000066"/>
                </a:solidFill>
              </a:rPr>
              <a:t>2015 Deloitte </a:t>
            </a:r>
            <a:r>
              <a:rPr lang="en-GB" sz="800" b="0" dirty="0">
                <a:solidFill>
                  <a:srgbClr val="000066"/>
                </a:solidFill>
              </a:rPr>
              <a:t>MCS Limited. All rights reserved.</a:t>
            </a:r>
          </a:p>
          <a:p>
            <a:pPr defTabSz="1017588">
              <a:lnSpc>
                <a:spcPts val="1400"/>
              </a:lnSpc>
              <a:spcAft>
                <a:spcPts val="1200"/>
              </a:spcAft>
              <a:buClr>
                <a:srgbClr val="FFFFFF"/>
              </a:buClr>
              <a:buSzPct val="80000"/>
            </a:pPr>
            <a:r>
              <a:rPr lang="en-GB" sz="800" dirty="0">
                <a:solidFill>
                  <a:srgbClr val="000066"/>
                </a:solidFill>
              </a:rPr>
              <a:t>Member of Deloitte Touche Tohmatsu Limited</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80" name="Rectangle 37"/>
          <p:cNvSpPr>
            <a:spLocks noGrp="1" noChangeArrowheads="1"/>
          </p:cNvSpPr>
          <p:nvPr>
            <p:ph type="title"/>
          </p:nvPr>
        </p:nvSpPr>
        <p:spPr/>
        <p:txBody>
          <a:bodyPr/>
          <a:lstStyle/>
          <a:p>
            <a:pPr eaLnBrk="1" hangingPunct="1"/>
            <a:r>
              <a:rPr lang="en-GB" sz="2400" dirty="0" smtClean="0"/>
              <a:t>Work Breakdown Structure</a:t>
            </a:r>
            <a:r>
              <a:rPr lang="en-GB" dirty="0" smtClean="0"/>
              <a:t/>
            </a:r>
            <a:br>
              <a:rPr lang="en-GB" dirty="0" smtClean="0"/>
            </a:br>
            <a:r>
              <a:rPr lang="en-GB" sz="1800" b="1" dirty="0" smtClean="0">
                <a:solidFill>
                  <a:srgbClr val="92D050"/>
                </a:solidFill>
              </a:rPr>
              <a:t>The breakdown of complex task into work packages</a:t>
            </a:r>
          </a:p>
        </p:txBody>
      </p:sp>
      <p:sp>
        <p:nvSpPr>
          <p:cNvPr id="131081" name="Slide Number Placeholder 4"/>
          <p:cNvSpPr>
            <a:spLocks noGrp="1"/>
          </p:cNvSpPr>
          <p:nvPr>
            <p:ph type="sldNum" sz="quarter" idx="11"/>
          </p:nvPr>
        </p:nvSpPr>
        <p:spPr>
          <a:noFill/>
        </p:spPr>
        <p:txBody>
          <a:bodyPr/>
          <a:lstStyle/>
          <a:p>
            <a:fld id="{8FD847E4-3C1E-47C9-A69E-59A11177894D}" type="slidenum">
              <a:rPr lang="en-GB" altLang="en-GB"/>
              <a:pPr/>
              <a:t>8</a:t>
            </a:fld>
            <a:endParaRPr lang="en-GB" altLang="en-GB"/>
          </a:p>
        </p:txBody>
      </p:sp>
      <p:sp>
        <p:nvSpPr>
          <p:cNvPr id="131082" name="Rectangle 86"/>
          <p:cNvSpPr>
            <a:spLocks noChangeArrowheads="1"/>
          </p:cNvSpPr>
          <p:nvPr/>
        </p:nvSpPr>
        <p:spPr bwMode="auto">
          <a:xfrm>
            <a:off x="3969607" y="1271588"/>
            <a:ext cx="4830137" cy="3562350"/>
          </a:xfrm>
          <a:prstGeom prst="rect">
            <a:avLst/>
          </a:prstGeom>
          <a:solidFill>
            <a:schemeClr val="bg1"/>
          </a:solidFill>
          <a:ln w="3175">
            <a:solidFill>
              <a:srgbClr val="002776"/>
            </a:solidFill>
            <a:miter lim="800000"/>
            <a:headEnd/>
            <a:tailEnd/>
          </a:ln>
        </p:spPr>
        <p:txBody>
          <a:bodyPr wrap="none" anchor="ctr"/>
          <a:lstStyle/>
          <a:p>
            <a:endParaRPr lang="en-US" b="0">
              <a:solidFill>
                <a:srgbClr val="000066"/>
              </a:solidFill>
            </a:endParaRPr>
          </a:p>
        </p:txBody>
      </p:sp>
      <p:sp>
        <p:nvSpPr>
          <p:cNvPr id="131083" name="AutoShape 56"/>
          <p:cNvSpPr>
            <a:spLocks noChangeArrowheads="1"/>
          </p:cNvSpPr>
          <p:nvPr/>
        </p:nvSpPr>
        <p:spPr bwMode="auto">
          <a:xfrm>
            <a:off x="7706582" y="1946275"/>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endParaRPr lang="en-US" sz="2400" b="0">
              <a:solidFill>
                <a:srgbClr val="000066"/>
              </a:solidFill>
              <a:latin typeface="Verdana" pitchFamily="34" charset="0"/>
            </a:endParaRPr>
          </a:p>
        </p:txBody>
      </p:sp>
      <p:sp>
        <p:nvSpPr>
          <p:cNvPr id="131084" name="AutoShape 4"/>
          <p:cNvSpPr>
            <a:spLocks noChangeArrowheads="1"/>
          </p:cNvSpPr>
          <p:nvPr/>
        </p:nvSpPr>
        <p:spPr bwMode="auto">
          <a:xfrm>
            <a:off x="4250594" y="2457450"/>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B</a:t>
            </a:r>
          </a:p>
        </p:txBody>
      </p:sp>
      <p:sp>
        <p:nvSpPr>
          <p:cNvPr id="131085" name="AutoShape 5"/>
          <p:cNvSpPr>
            <a:spLocks noChangeArrowheads="1"/>
          </p:cNvSpPr>
          <p:nvPr/>
        </p:nvSpPr>
        <p:spPr bwMode="auto">
          <a:xfrm>
            <a:off x="5407882" y="3433763"/>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B</a:t>
            </a:r>
          </a:p>
        </p:txBody>
      </p:sp>
      <p:sp>
        <p:nvSpPr>
          <p:cNvPr id="131086" name="AutoShape 6"/>
          <p:cNvSpPr>
            <a:spLocks noChangeArrowheads="1"/>
          </p:cNvSpPr>
          <p:nvPr/>
        </p:nvSpPr>
        <p:spPr bwMode="auto">
          <a:xfrm>
            <a:off x="4193444" y="3457575"/>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B</a:t>
            </a:r>
          </a:p>
        </p:txBody>
      </p:sp>
      <p:sp>
        <p:nvSpPr>
          <p:cNvPr id="131087" name="AutoShape 7"/>
          <p:cNvSpPr>
            <a:spLocks noChangeArrowheads="1"/>
          </p:cNvSpPr>
          <p:nvPr/>
        </p:nvSpPr>
        <p:spPr bwMode="auto">
          <a:xfrm>
            <a:off x="4933219" y="2409825"/>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C</a:t>
            </a:r>
          </a:p>
        </p:txBody>
      </p:sp>
      <p:sp>
        <p:nvSpPr>
          <p:cNvPr id="131088" name="AutoShape 8"/>
          <p:cNvSpPr>
            <a:spLocks noChangeArrowheads="1"/>
          </p:cNvSpPr>
          <p:nvPr/>
        </p:nvSpPr>
        <p:spPr bwMode="auto">
          <a:xfrm>
            <a:off x="5509482" y="4138613"/>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C</a:t>
            </a:r>
          </a:p>
        </p:txBody>
      </p:sp>
      <p:sp>
        <p:nvSpPr>
          <p:cNvPr id="131089" name="AutoShape 9"/>
          <p:cNvSpPr>
            <a:spLocks noChangeArrowheads="1"/>
          </p:cNvSpPr>
          <p:nvPr/>
        </p:nvSpPr>
        <p:spPr bwMode="auto">
          <a:xfrm>
            <a:off x="4753832" y="3214688"/>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C</a:t>
            </a:r>
          </a:p>
        </p:txBody>
      </p:sp>
      <p:sp>
        <p:nvSpPr>
          <p:cNvPr id="131090" name="AutoShape 10"/>
          <p:cNvSpPr>
            <a:spLocks noChangeArrowheads="1"/>
          </p:cNvSpPr>
          <p:nvPr/>
        </p:nvSpPr>
        <p:spPr bwMode="auto">
          <a:xfrm>
            <a:off x="5536469" y="1906588"/>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C</a:t>
            </a:r>
          </a:p>
        </p:txBody>
      </p:sp>
      <p:sp>
        <p:nvSpPr>
          <p:cNvPr id="131091" name="AutoShape 11"/>
          <p:cNvSpPr>
            <a:spLocks noChangeArrowheads="1"/>
          </p:cNvSpPr>
          <p:nvPr/>
        </p:nvSpPr>
        <p:spPr bwMode="auto">
          <a:xfrm>
            <a:off x="4853844" y="1617663"/>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A</a:t>
            </a:r>
          </a:p>
        </p:txBody>
      </p:sp>
      <p:sp>
        <p:nvSpPr>
          <p:cNvPr id="131092" name="AutoShape 12"/>
          <p:cNvSpPr>
            <a:spLocks noChangeArrowheads="1"/>
          </p:cNvSpPr>
          <p:nvPr/>
        </p:nvSpPr>
        <p:spPr bwMode="auto">
          <a:xfrm>
            <a:off x="4796694" y="4089400"/>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A</a:t>
            </a:r>
          </a:p>
        </p:txBody>
      </p:sp>
      <p:sp>
        <p:nvSpPr>
          <p:cNvPr id="131093" name="AutoShape 13"/>
          <p:cNvSpPr>
            <a:spLocks noChangeArrowheads="1"/>
          </p:cNvSpPr>
          <p:nvPr/>
        </p:nvSpPr>
        <p:spPr bwMode="auto">
          <a:xfrm>
            <a:off x="5568219" y="2757488"/>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A</a:t>
            </a:r>
          </a:p>
        </p:txBody>
      </p:sp>
      <p:sp>
        <p:nvSpPr>
          <p:cNvPr id="131094" name="AutoShape 14"/>
          <p:cNvSpPr>
            <a:spLocks noChangeArrowheads="1"/>
          </p:cNvSpPr>
          <p:nvPr/>
        </p:nvSpPr>
        <p:spPr bwMode="auto">
          <a:xfrm>
            <a:off x="4133119" y="1755775"/>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A</a:t>
            </a:r>
          </a:p>
        </p:txBody>
      </p:sp>
      <p:sp>
        <p:nvSpPr>
          <p:cNvPr id="131095" name="Rectangle 31"/>
          <p:cNvSpPr>
            <a:spLocks noChangeArrowheads="1"/>
          </p:cNvSpPr>
          <p:nvPr/>
        </p:nvSpPr>
        <p:spPr bwMode="auto">
          <a:xfrm>
            <a:off x="361950" y="1277938"/>
            <a:ext cx="3223079" cy="3562350"/>
          </a:xfrm>
          <a:prstGeom prst="rect">
            <a:avLst/>
          </a:prstGeom>
          <a:solidFill>
            <a:schemeClr val="bg1"/>
          </a:solidFill>
          <a:ln w="3175">
            <a:noFill/>
            <a:miter lim="800000"/>
            <a:headEnd/>
            <a:tailEnd/>
          </a:ln>
        </p:spPr>
        <p:txBody>
          <a:bodyPr lIns="72000" tIns="72000" rIns="72000" bIns="72000" anchor="t"/>
          <a:lstStyle/>
          <a:p>
            <a:pPr marL="285750" indent="-285750" defTabSz="977900">
              <a:spcAft>
                <a:spcPct val="40000"/>
              </a:spcAft>
              <a:buFont typeface="Wingdings" panose="05000000000000000000" pitchFamily="2" charset="2"/>
              <a:buChar char="§"/>
            </a:pPr>
            <a:r>
              <a:rPr lang="en-GB" sz="1600" b="0" dirty="0">
                <a:solidFill>
                  <a:srgbClr val="000066"/>
                </a:solidFill>
              </a:rPr>
              <a:t>An affinity diagram involves the grouping of qualitative* information into major categories</a:t>
            </a:r>
          </a:p>
          <a:p>
            <a:pPr marL="285750" indent="-285750" defTabSz="977900">
              <a:spcAft>
                <a:spcPct val="40000"/>
              </a:spcAft>
              <a:buFont typeface="Wingdings" panose="05000000000000000000" pitchFamily="2" charset="2"/>
              <a:buChar char="§"/>
            </a:pPr>
            <a:r>
              <a:rPr lang="en-GB" sz="1600" b="0" dirty="0">
                <a:solidFill>
                  <a:srgbClr val="000066"/>
                </a:solidFill>
              </a:rPr>
              <a:t>An affinity diagram can be an effective tool to organise the actions that have been developed into work size packages</a:t>
            </a:r>
          </a:p>
          <a:p>
            <a:pPr marL="285750" indent="-285750" defTabSz="977900">
              <a:spcAft>
                <a:spcPct val="40000"/>
              </a:spcAft>
              <a:buFont typeface="Wingdings" panose="05000000000000000000" pitchFamily="2" charset="2"/>
              <a:buChar char="§"/>
            </a:pPr>
            <a:r>
              <a:rPr lang="en-GB" sz="1600" b="0" dirty="0">
                <a:solidFill>
                  <a:srgbClr val="000066"/>
                </a:solidFill>
              </a:rPr>
              <a:t>The resulting groups </a:t>
            </a:r>
            <a:r>
              <a:rPr lang="en-GB" sz="1600" b="0" dirty="0" smtClean="0">
                <a:solidFill>
                  <a:srgbClr val="000066"/>
                </a:solidFill>
              </a:rPr>
              <a:t>define each </a:t>
            </a:r>
            <a:r>
              <a:rPr lang="en-GB" sz="1600" b="0" dirty="0">
                <a:solidFill>
                  <a:srgbClr val="000066"/>
                </a:solidFill>
              </a:rPr>
              <a:t>work </a:t>
            </a:r>
            <a:r>
              <a:rPr lang="en-GB" sz="1600" b="0" dirty="0" smtClean="0">
                <a:solidFill>
                  <a:srgbClr val="000066"/>
                </a:solidFill>
              </a:rPr>
              <a:t>package to implement</a:t>
            </a:r>
            <a:endParaRPr lang="en-GB" sz="1600" b="0" dirty="0">
              <a:solidFill>
                <a:srgbClr val="000066"/>
              </a:solidFill>
            </a:endParaRPr>
          </a:p>
        </p:txBody>
      </p:sp>
      <p:sp>
        <p:nvSpPr>
          <p:cNvPr id="131096" name="Text Box 33"/>
          <p:cNvSpPr txBox="1">
            <a:spLocks noChangeArrowheads="1"/>
          </p:cNvSpPr>
          <p:nvPr/>
        </p:nvSpPr>
        <p:spPr bwMode="auto">
          <a:xfrm>
            <a:off x="620713" y="6503988"/>
            <a:ext cx="5403850" cy="238125"/>
          </a:xfrm>
          <a:prstGeom prst="rect">
            <a:avLst/>
          </a:prstGeom>
          <a:noFill/>
          <a:ln w="9525" algn="ctr">
            <a:noFill/>
            <a:miter lim="800000"/>
            <a:headEnd/>
            <a:tailEnd/>
          </a:ln>
        </p:spPr>
        <p:txBody>
          <a:bodyPr>
            <a:spAutoFit/>
          </a:bodyPr>
          <a:lstStyle/>
          <a:p>
            <a:pPr marL="176213" indent="-176213">
              <a:lnSpc>
                <a:spcPct val="80000"/>
              </a:lnSpc>
              <a:spcBef>
                <a:spcPct val="50000"/>
              </a:spcBef>
              <a:buClr>
                <a:srgbClr val="000066"/>
              </a:buClr>
            </a:pPr>
            <a:r>
              <a:rPr lang="en-GB" sz="1200" b="0" i="1" dirty="0">
                <a:solidFill>
                  <a:srgbClr val="000066"/>
                </a:solidFill>
              </a:rPr>
              <a:t>*Qualitative</a:t>
            </a:r>
            <a:r>
              <a:rPr lang="en-GB" sz="1200" b="0" i="1" dirty="0" smtClean="0">
                <a:solidFill>
                  <a:srgbClr val="000066"/>
                </a:solidFill>
              </a:rPr>
              <a:t>:</a:t>
            </a:r>
            <a:r>
              <a:rPr lang="en-GB" sz="1200" b="0" dirty="0" smtClean="0">
                <a:solidFill>
                  <a:srgbClr val="000066"/>
                </a:solidFill>
              </a:rPr>
              <a:t> an </a:t>
            </a:r>
            <a:r>
              <a:rPr lang="en-GB" sz="1200" b="0" dirty="0">
                <a:solidFill>
                  <a:srgbClr val="000066"/>
                </a:solidFill>
              </a:rPr>
              <a:t>opinion / view / perception</a:t>
            </a:r>
          </a:p>
        </p:txBody>
      </p:sp>
      <p:sp>
        <p:nvSpPr>
          <p:cNvPr id="131097" name="AutoShape 54"/>
          <p:cNvSpPr>
            <a:spLocks noChangeArrowheads="1"/>
          </p:cNvSpPr>
          <p:nvPr/>
        </p:nvSpPr>
        <p:spPr bwMode="auto">
          <a:xfrm rot="5400000">
            <a:off x="4935600" y="2990057"/>
            <a:ext cx="3095625" cy="211138"/>
          </a:xfrm>
          <a:prstGeom prst="triangle">
            <a:avLst>
              <a:gd name="adj" fmla="val 50000"/>
            </a:avLst>
          </a:prstGeom>
          <a:solidFill>
            <a:schemeClr val="accent1"/>
          </a:solidFill>
          <a:ln w="9525">
            <a:noFill/>
            <a:miter lim="800000"/>
            <a:headEnd/>
            <a:tailEnd/>
          </a:ln>
        </p:spPr>
        <p:txBody>
          <a:bodyPr wrap="none" anchor="ctr"/>
          <a:lstStyle/>
          <a:p>
            <a:endParaRPr lang="en-US" b="0">
              <a:solidFill>
                <a:srgbClr val="000066"/>
              </a:solidFill>
            </a:endParaRPr>
          </a:p>
        </p:txBody>
      </p:sp>
      <p:sp>
        <p:nvSpPr>
          <p:cNvPr id="131098" name="AutoShape 55"/>
          <p:cNvSpPr>
            <a:spLocks noChangeArrowheads="1"/>
          </p:cNvSpPr>
          <p:nvPr/>
        </p:nvSpPr>
        <p:spPr bwMode="auto">
          <a:xfrm>
            <a:off x="7635144" y="2001838"/>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endParaRPr lang="en-US" sz="2400" b="0">
              <a:solidFill>
                <a:srgbClr val="000066"/>
              </a:solidFill>
              <a:latin typeface="Verdana" pitchFamily="34" charset="0"/>
            </a:endParaRPr>
          </a:p>
        </p:txBody>
      </p:sp>
      <p:sp>
        <p:nvSpPr>
          <p:cNvPr id="131099" name="AutoShape 59"/>
          <p:cNvSpPr>
            <a:spLocks noChangeArrowheads="1"/>
          </p:cNvSpPr>
          <p:nvPr/>
        </p:nvSpPr>
        <p:spPr bwMode="auto">
          <a:xfrm>
            <a:off x="7562119" y="2051050"/>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endParaRPr lang="en-US" sz="2400" b="0">
              <a:solidFill>
                <a:srgbClr val="000066"/>
              </a:solidFill>
              <a:latin typeface="Verdana" pitchFamily="34" charset="0"/>
            </a:endParaRPr>
          </a:p>
        </p:txBody>
      </p:sp>
      <p:sp>
        <p:nvSpPr>
          <p:cNvPr id="131100" name="AutoShape 60"/>
          <p:cNvSpPr>
            <a:spLocks noChangeArrowheads="1"/>
          </p:cNvSpPr>
          <p:nvPr/>
        </p:nvSpPr>
        <p:spPr bwMode="auto">
          <a:xfrm>
            <a:off x="7479569" y="2109788"/>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A</a:t>
            </a:r>
          </a:p>
        </p:txBody>
      </p:sp>
      <p:sp>
        <p:nvSpPr>
          <p:cNvPr id="131101" name="AutoShape 78"/>
          <p:cNvSpPr>
            <a:spLocks noChangeArrowheads="1"/>
          </p:cNvSpPr>
          <p:nvPr/>
        </p:nvSpPr>
        <p:spPr bwMode="auto">
          <a:xfrm>
            <a:off x="7681182" y="2990850"/>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endParaRPr lang="en-US" sz="2400" b="0">
              <a:solidFill>
                <a:srgbClr val="000066"/>
              </a:solidFill>
              <a:latin typeface="Verdana" pitchFamily="34" charset="0"/>
            </a:endParaRPr>
          </a:p>
        </p:txBody>
      </p:sp>
      <p:sp>
        <p:nvSpPr>
          <p:cNvPr id="131102" name="AutoShape 79"/>
          <p:cNvSpPr>
            <a:spLocks noChangeArrowheads="1"/>
          </p:cNvSpPr>
          <p:nvPr/>
        </p:nvSpPr>
        <p:spPr bwMode="auto">
          <a:xfrm>
            <a:off x="7609744" y="3046413"/>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endParaRPr lang="en-US" sz="2400" b="0">
              <a:solidFill>
                <a:srgbClr val="000066"/>
              </a:solidFill>
              <a:latin typeface="Verdana" pitchFamily="34" charset="0"/>
            </a:endParaRPr>
          </a:p>
        </p:txBody>
      </p:sp>
      <p:sp>
        <p:nvSpPr>
          <p:cNvPr id="131103" name="AutoShape 80"/>
          <p:cNvSpPr>
            <a:spLocks noChangeArrowheads="1"/>
          </p:cNvSpPr>
          <p:nvPr/>
        </p:nvSpPr>
        <p:spPr bwMode="auto">
          <a:xfrm>
            <a:off x="7536719" y="3095625"/>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endParaRPr lang="en-US" sz="2400" b="0">
              <a:solidFill>
                <a:srgbClr val="000066"/>
              </a:solidFill>
              <a:latin typeface="Verdana" pitchFamily="34" charset="0"/>
            </a:endParaRPr>
          </a:p>
        </p:txBody>
      </p:sp>
      <p:sp>
        <p:nvSpPr>
          <p:cNvPr id="131104" name="AutoShape 81"/>
          <p:cNvSpPr>
            <a:spLocks noChangeArrowheads="1"/>
          </p:cNvSpPr>
          <p:nvPr/>
        </p:nvSpPr>
        <p:spPr bwMode="auto">
          <a:xfrm>
            <a:off x="7454169" y="3154363"/>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B</a:t>
            </a:r>
          </a:p>
        </p:txBody>
      </p:sp>
      <p:sp>
        <p:nvSpPr>
          <p:cNvPr id="131105" name="AutoShape 82"/>
          <p:cNvSpPr>
            <a:spLocks noChangeArrowheads="1"/>
          </p:cNvSpPr>
          <p:nvPr/>
        </p:nvSpPr>
        <p:spPr bwMode="auto">
          <a:xfrm>
            <a:off x="7706582" y="4141788"/>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endParaRPr lang="en-US" sz="2400" b="0">
              <a:solidFill>
                <a:srgbClr val="000066"/>
              </a:solidFill>
              <a:latin typeface="Verdana" pitchFamily="34" charset="0"/>
            </a:endParaRPr>
          </a:p>
        </p:txBody>
      </p:sp>
      <p:sp>
        <p:nvSpPr>
          <p:cNvPr id="131106" name="AutoShape 83"/>
          <p:cNvSpPr>
            <a:spLocks noChangeArrowheads="1"/>
          </p:cNvSpPr>
          <p:nvPr/>
        </p:nvSpPr>
        <p:spPr bwMode="auto">
          <a:xfrm>
            <a:off x="7635144" y="4197350"/>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endParaRPr lang="en-US" sz="2400" b="0">
              <a:solidFill>
                <a:srgbClr val="000066"/>
              </a:solidFill>
              <a:latin typeface="Verdana" pitchFamily="34" charset="0"/>
            </a:endParaRPr>
          </a:p>
        </p:txBody>
      </p:sp>
      <p:sp>
        <p:nvSpPr>
          <p:cNvPr id="131107" name="AutoShape 84"/>
          <p:cNvSpPr>
            <a:spLocks noChangeArrowheads="1"/>
          </p:cNvSpPr>
          <p:nvPr/>
        </p:nvSpPr>
        <p:spPr bwMode="auto">
          <a:xfrm>
            <a:off x="7562119" y="4246563"/>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endParaRPr lang="en-US" sz="2400" b="0">
              <a:solidFill>
                <a:srgbClr val="000066"/>
              </a:solidFill>
              <a:latin typeface="Verdana" pitchFamily="34" charset="0"/>
            </a:endParaRPr>
          </a:p>
        </p:txBody>
      </p:sp>
      <p:sp>
        <p:nvSpPr>
          <p:cNvPr id="131108" name="AutoShape 85"/>
          <p:cNvSpPr>
            <a:spLocks noChangeArrowheads="1"/>
          </p:cNvSpPr>
          <p:nvPr/>
        </p:nvSpPr>
        <p:spPr bwMode="auto">
          <a:xfrm>
            <a:off x="7479569" y="4305300"/>
            <a:ext cx="539750" cy="409575"/>
          </a:xfrm>
          <a:prstGeom prst="foldedCorner">
            <a:avLst>
              <a:gd name="adj" fmla="val 12500"/>
            </a:avLst>
          </a:prstGeom>
          <a:solidFill>
            <a:srgbClr val="FFFF00"/>
          </a:solidFill>
          <a:ln w="12700">
            <a:solidFill>
              <a:schemeClr val="tx1"/>
            </a:solidFill>
            <a:round/>
            <a:headEnd/>
            <a:tailEnd/>
          </a:ln>
        </p:spPr>
        <p:txBody>
          <a:bodyPr wrap="none" anchor="ctr"/>
          <a:lstStyle/>
          <a:p>
            <a:pPr algn="ctr" eaLnBrk="0" hangingPunct="0"/>
            <a:r>
              <a:rPr lang="en-GB" sz="2400" b="0">
                <a:solidFill>
                  <a:srgbClr val="000066"/>
                </a:solidFill>
                <a:latin typeface="Verdana" pitchFamily="34" charset="0"/>
              </a:rPr>
              <a:t>C</a:t>
            </a:r>
          </a:p>
        </p:txBody>
      </p:sp>
      <p:grpSp>
        <p:nvGrpSpPr>
          <p:cNvPr id="131109" name="Group 35"/>
          <p:cNvGrpSpPr>
            <a:grpSpLocks/>
          </p:cNvGrpSpPr>
          <p:nvPr/>
        </p:nvGrpSpPr>
        <p:grpSpPr bwMode="auto">
          <a:xfrm>
            <a:off x="361950" y="5013325"/>
            <a:ext cx="8437793" cy="1390650"/>
            <a:chOff x="360032" y="5051425"/>
            <a:chExt cx="8589942" cy="1390650"/>
          </a:xfrm>
        </p:grpSpPr>
        <p:pic>
          <p:nvPicPr>
            <p:cNvPr id="131110" name="Picture 34" descr="MPj04304740000[1]"/>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96900" y="5360988"/>
              <a:ext cx="1081088" cy="1081087"/>
            </a:xfrm>
            <a:prstGeom prst="rect">
              <a:avLst/>
            </a:prstGeom>
            <a:noFill/>
            <a:ln w="9525">
              <a:noFill/>
              <a:miter lim="800000"/>
              <a:headEnd/>
              <a:tailEnd/>
            </a:ln>
          </p:spPr>
        </p:pic>
        <p:sp>
          <p:nvSpPr>
            <p:cNvPr id="131111" name="Text Box 35"/>
            <p:cNvSpPr txBox="1">
              <a:spLocks noChangeArrowheads="1"/>
            </p:cNvSpPr>
            <p:nvPr/>
          </p:nvSpPr>
          <p:spPr bwMode="auto">
            <a:xfrm>
              <a:off x="1692275" y="5065939"/>
              <a:ext cx="7200900" cy="1277938"/>
            </a:xfrm>
            <a:prstGeom prst="rect">
              <a:avLst/>
            </a:prstGeom>
            <a:noFill/>
            <a:ln w="9525">
              <a:noFill/>
              <a:miter lim="800000"/>
              <a:headEnd/>
              <a:tailEnd/>
            </a:ln>
          </p:spPr>
          <p:txBody>
            <a:bodyPr>
              <a:spAutoFit/>
            </a:bodyPr>
            <a:lstStyle/>
            <a:p>
              <a:pPr>
                <a:spcBef>
                  <a:spcPct val="50000"/>
                </a:spcBef>
              </a:pPr>
              <a:r>
                <a:rPr lang="en-GB" sz="1400" b="0" i="1" dirty="0">
                  <a:solidFill>
                    <a:srgbClr val="000066"/>
                  </a:solidFill>
                </a:rPr>
                <a:t>If the work package grouping becomes too large or there is a mix of implementation complexity, break into further sub groups categories so that work packages become smaller and more manageable</a:t>
              </a:r>
            </a:p>
            <a:p>
              <a:pPr>
                <a:spcBef>
                  <a:spcPct val="50000"/>
                </a:spcBef>
              </a:pPr>
              <a:r>
                <a:rPr lang="en-GB" sz="1400" b="0" i="1" dirty="0">
                  <a:solidFill>
                    <a:srgbClr val="000066"/>
                  </a:solidFill>
                </a:rPr>
                <a:t>Start with 3 major categories of “quick win”, “short term” and “medium term” to highlight which actions can be completed quickly</a:t>
              </a:r>
            </a:p>
          </p:txBody>
        </p:sp>
        <p:sp>
          <p:nvSpPr>
            <p:cNvPr id="131112" name="Rectangle 36"/>
            <p:cNvSpPr>
              <a:spLocks noChangeArrowheads="1"/>
            </p:cNvSpPr>
            <p:nvPr/>
          </p:nvSpPr>
          <p:spPr bwMode="auto">
            <a:xfrm>
              <a:off x="360032" y="5051425"/>
              <a:ext cx="8589942" cy="1368003"/>
            </a:xfrm>
            <a:prstGeom prst="rect">
              <a:avLst/>
            </a:prstGeom>
            <a:noFill/>
            <a:ln w="9525">
              <a:solidFill>
                <a:schemeClr val="accent3"/>
              </a:solidFill>
              <a:miter lim="800000"/>
              <a:headEnd/>
              <a:tailEnd/>
            </a:ln>
          </p:spPr>
          <p:txBody>
            <a:bodyPr wrap="none" anchor="ctr"/>
            <a:lstStyle/>
            <a:p>
              <a:endParaRPr lang="en-US" b="0">
                <a:solidFill>
                  <a:srgbClr val="000066"/>
                </a:solidFill>
              </a:endParaRPr>
            </a:p>
          </p:txBody>
        </p:sp>
        <p:sp>
          <p:nvSpPr>
            <p:cNvPr id="131113" name="Rectangle 34"/>
            <p:cNvSpPr>
              <a:spLocks noChangeArrowheads="1"/>
            </p:cNvSpPr>
            <p:nvPr/>
          </p:nvSpPr>
          <p:spPr bwMode="auto">
            <a:xfrm>
              <a:off x="503238" y="5102225"/>
              <a:ext cx="1198562" cy="369888"/>
            </a:xfrm>
            <a:prstGeom prst="rect">
              <a:avLst/>
            </a:prstGeom>
            <a:noFill/>
            <a:ln w="9525">
              <a:noFill/>
              <a:miter lim="800000"/>
              <a:headEnd/>
              <a:tailEnd/>
            </a:ln>
          </p:spPr>
          <p:txBody>
            <a:bodyPr wrap="none">
              <a:spAutoFit/>
            </a:bodyPr>
            <a:lstStyle/>
            <a:p>
              <a:pPr marL="268288" indent="-174625">
                <a:tabLst>
                  <a:tab pos="1166813" algn="l"/>
                </a:tabLst>
              </a:pPr>
              <a:r>
                <a:rPr lang="en-US" i="1">
                  <a:solidFill>
                    <a:srgbClr val="000066"/>
                  </a:solidFill>
                </a:rPr>
                <a:t>Hot Tips</a:t>
              </a:r>
            </a:p>
          </p:txBody>
        </p:sp>
      </p:grpSp>
      <p:sp>
        <p:nvSpPr>
          <p:cNvPr id="39" name="5-Point Star 38"/>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102" name="Rectangle 37"/>
          <p:cNvSpPr>
            <a:spLocks noChangeArrowheads="1"/>
          </p:cNvSpPr>
          <p:nvPr/>
        </p:nvSpPr>
        <p:spPr bwMode="auto">
          <a:xfrm>
            <a:off x="4749800" y="1198606"/>
            <a:ext cx="4214813" cy="5292000"/>
          </a:xfrm>
          <a:prstGeom prst="rect">
            <a:avLst/>
          </a:prstGeom>
          <a:solidFill>
            <a:srgbClr val="E5E5CC"/>
          </a:solidFill>
          <a:ln w="9525">
            <a:noFill/>
            <a:miter lim="800000"/>
            <a:headEnd/>
            <a:tailEnd/>
          </a:ln>
        </p:spPr>
        <p:txBody>
          <a:bodyPr wrap="none" anchor="ctr"/>
          <a:lstStyle/>
          <a:p>
            <a:endParaRPr lang="en-US" b="0">
              <a:solidFill>
                <a:srgbClr val="000066"/>
              </a:solidFill>
            </a:endParaRPr>
          </a:p>
        </p:txBody>
      </p:sp>
      <p:sp>
        <p:nvSpPr>
          <p:cNvPr id="132103" name="Rectangle 38"/>
          <p:cNvSpPr>
            <a:spLocks noChangeArrowheads="1"/>
          </p:cNvSpPr>
          <p:nvPr/>
        </p:nvSpPr>
        <p:spPr bwMode="auto">
          <a:xfrm>
            <a:off x="5076825" y="1341438"/>
            <a:ext cx="3671888" cy="4608512"/>
          </a:xfrm>
          <a:prstGeom prst="rect">
            <a:avLst/>
          </a:prstGeom>
          <a:solidFill>
            <a:schemeClr val="bg1"/>
          </a:solidFill>
          <a:ln w="9525">
            <a:noFill/>
            <a:miter lim="800000"/>
            <a:headEnd/>
            <a:tailEnd/>
          </a:ln>
        </p:spPr>
        <p:txBody>
          <a:bodyPr wrap="none" anchor="ctr"/>
          <a:lstStyle/>
          <a:p>
            <a:endParaRPr lang="en-US" b="0">
              <a:solidFill>
                <a:srgbClr val="000066"/>
              </a:solidFill>
            </a:endParaRPr>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2973" y="1370466"/>
            <a:ext cx="3697740" cy="4533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2099" name="Rectangle 2"/>
          <p:cNvSpPr>
            <a:spLocks noGrp="1" noChangeArrowheads="1"/>
          </p:cNvSpPr>
          <p:nvPr>
            <p:ph type="title"/>
          </p:nvPr>
        </p:nvSpPr>
        <p:spPr/>
        <p:txBody>
          <a:bodyPr/>
          <a:lstStyle/>
          <a:p>
            <a:pPr eaLnBrk="1" hangingPunct="1"/>
            <a:r>
              <a:rPr lang="en-GB" sz="2400" smtClean="0"/>
              <a:t>Work Packages - Prioritisation</a:t>
            </a:r>
            <a:r>
              <a:rPr lang="en-GB" smtClean="0"/>
              <a:t/>
            </a:r>
            <a:br>
              <a:rPr lang="en-GB" smtClean="0"/>
            </a:br>
            <a:r>
              <a:rPr lang="en-GB" sz="1800" b="1" smtClean="0">
                <a:solidFill>
                  <a:srgbClr val="99CC33"/>
                </a:solidFill>
                <a:cs typeface="Arial" pitchFamily="34" charset="0"/>
              </a:rPr>
              <a:t>What do to first</a:t>
            </a:r>
          </a:p>
        </p:txBody>
      </p:sp>
      <p:sp>
        <p:nvSpPr>
          <p:cNvPr id="132100" name="Slide Number Placeholder 5"/>
          <p:cNvSpPr>
            <a:spLocks noGrp="1"/>
          </p:cNvSpPr>
          <p:nvPr>
            <p:ph type="sldNum" sz="quarter" idx="11"/>
          </p:nvPr>
        </p:nvSpPr>
        <p:spPr>
          <a:noFill/>
        </p:spPr>
        <p:txBody>
          <a:bodyPr/>
          <a:lstStyle/>
          <a:p>
            <a:fld id="{1E034E28-E719-46DC-A3FB-4C2E2D0B6024}" type="slidenum">
              <a:rPr lang="en-GB" altLang="en-GB"/>
              <a:pPr/>
              <a:t>9</a:t>
            </a:fld>
            <a:endParaRPr lang="en-GB" altLang="en-GB"/>
          </a:p>
        </p:txBody>
      </p:sp>
      <p:sp>
        <p:nvSpPr>
          <p:cNvPr id="132101" name="Rectangle 4"/>
          <p:cNvSpPr>
            <a:spLocks noGrp="1" noChangeArrowheads="1"/>
          </p:cNvSpPr>
          <p:nvPr>
            <p:ph type="body" sz="half" idx="4294967295"/>
          </p:nvPr>
        </p:nvSpPr>
        <p:spPr>
          <a:xfrm>
            <a:off x="361950" y="1160463"/>
            <a:ext cx="4210050" cy="4989512"/>
          </a:xfrm>
          <a:solidFill>
            <a:schemeClr val="bg1"/>
          </a:solidFill>
          <a:ln w="3175">
            <a:noFill/>
          </a:ln>
        </p:spPr>
        <p:txBody>
          <a:bodyPr lIns="72000" tIns="72000" rIns="36000" bIns="72000"/>
          <a:lstStyle/>
          <a:p>
            <a:pPr marL="0" indent="0" eaLnBrk="1" hangingPunct="1">
              <a:lnSpc>
                <a:spcPct val="90000"/>
              </a:lnSpc>
              <a:spcAft>
                <a:spcPct val="30000"/>
              </a:spcAft>
            </a:pPr>
            <a:r>
              <a:rPr lang="en-GB" b="1" dirty="0" smtClean="0">
                <a:solidFill>
                  <a:schemeClr val="accent3"/>
                </a:solidFill>
              </a:rPr>
              <a:t>Objective:</a:t>
            </a:r>
            <a:r>
              <a:rPr lang="en-GB" dirty="0" smtClean="0"/>
              <a:t> Prioritise the implementation </a:t>
            </a:r>
          </a:p>
          <a:p>
            <a:pPr marL="0" indent="0" eaLnBrk="1" hangingPunct="1">
              <a:lnSpc>
                <a:spcPct val="90000"/>
              </a:lnSpc>
              <a:spcAft>
                <a:spcPct val="30000"/>
              </a:spcAft>
            </a:pPr>
            <a:r>
              <a:rPr lang="en-GB" sz="1600" dirty="0" smtClean="0"/>
              <a:t>Implementing high impact, easy solutions first will maintain sponsor engagement</a:t>
            </a:r>
          </a:p>
          <a:p>
            <a:pPr marL="176213" indent="-176213" eaLnBrk="1" hangingPunct="1">
              <a:lnSpc>
                <a:spcPct val="100000"/>
              </a:lnSpc>
              <a:spcBef>
                <a:spcPts val="600"/>
              </a:spcBef>
              <a:spcAft>
                <a:spcPts val="300"/>
              </a:spcAft>
            </a:pPr>
            <a:r>
              <a:rPr lang="en-GB" b="1" dirty="0" smtClean="0"/>
              <a:t>Key questions:</a:t>
            </a:r>
            <a:endParaRPr lang="en-GB" dirty="0" smtClean="0"/>
          </a:p>
          <a:p>
            <a:pPr marL="285750" indent="-285750" eaLnBrk="1" hangingPunct="1">
              <a:lnSpc>
                <a:spcPct val="100000"/>
              </a:lnSpc>
              <a:spcAft>
                <a:spcPct val="0"/>
              </a:spcAft>
              <a:buFont typeface="Wingdings" panose="05000000000000000000" pitchFamily="2" charset="2"/>
              <a:buChar char="§"/>
            </a:pPr>
            <a:r>
              <a:rPr lang="en-GB" sz="1600" dirty="0" smtClean="0"/>
              <a:t>How easy is it to implement the work package?</a:t>
            </a:r>
          </a:p>
          <a:p>
            <a:pPr marL="635000" lvl="1" eaLnBrk="1" hangingPunct="1">
              <a:lnSpc>
                <a:spcPct val="90000"/>
              </a:lnSpc>
              <a:spcAft>
                <a:spcPct val="0"/>
              </a:spcAft>
            </a:pPr>
            <a:r>
              <a:rPr lang="en-GB" sz="1400" dirty="0" smtClean="0"/>
              <a:t>How much time is needed?</a:t>
            </a:r>
          </a:p>
          <a:p>
            <a:pPr marL="635000" lvl="1" eaLnBrk="1" hangingPunct="1">
              <a:lnSpc>
                <a:spcPct val="90000"/>
              </a:lnSpc>
              <a:spcAft>
                <a:spcPct val="0"/>
              </a:spcAft>
            </a:pPr>
            <a:r>
              <a:rPr lang="en-GB" sz="1400" dirty="0" smtClean="0"/>
              <a:t>Is IT development required?</a:t>
            </a:r>
          </a:p>
          <a:p>
            <a:pPr marL="635000" lvl="1" eaLnBrk="1" hangingPunct="1">
              <a:lnSpc>
                <a:spcPct val="90000"/>
              </a:lnSpc>
              <a:spcAft>
                <a:spcPct val="30000"/>
              </a:spcAft>
            </a:pPr>
            <a:r>
              <a:rPr lang="en-GB" sz="1400" dirty="0" smtClean="0"/>
              <a:t>Will it cost a lot of money?</a:t>
            </a:r>
          </a:p>
          <a:p>
            <a:pPr marL="285750" indent="-285750" eaLnBrk="1" hangingPunct="1">
              <a:lnSpc>
                <a:spcPct val="100000"/>
              </a:lnSpc>
              <a:spcAft>
                <a:spcPct val="0"/>
              </a:spcAft>
              <a:buFont typeface="Wingdings" panose="05000000000000000000" pitchFamily="2" charset="2"/>
              <a:buChar char="§"/>
            </a:pPr>
            <a:r>
              <a:rPr lang="en-GB" sz="1600" dirty="0" smtClean="0"/>
              <a:t>How much will operation of the process change?</a:t>
            </a:r>
          </a:p>
          <a:p>
            <a:pPr marL="635000" lvl="1" eaLnBrk="1" hangingPunct="1">
              <a:lnSpc>
                <a:spcPct val="90000"/>
              </a:lnSpc>
              <a:spcAft>
                <a:spcPct val="0"/>
              </a:spcAft>
            </a:pPr>
            <a:r>
              <a:rPr lang="en-GB" sz="1400" dirty="0"/>
              <a:t>Improve multiple customer requirements e.g. time, defects</a:t>
            </a:r>
          </a:p>
          <a:p>
            <a:pPr marL="635000" lvl="1" eaLnBrk="1" hangingPunct="1">
              <a:lnSpc>
                <a:spcPct val="90000"/>
              </a:lnSpc>
              <a:spcAft>
                <a:spcPct val="0"/>
              </a:spcAft>
            </a:pPr>
            <a:r>
              <a:rPr lang="en-GB" sz="1400" dirty="0" smtClean="0"/>
              <a:t>Substantial </a:t>
            </a:r>
            <a:r>
              <a:rPr lang="en-GB" sz="1400" dirty="0"/>
              <a:t>improvement of THE one big customer </a:t>
            </a:r>
            <a:r>
              <a:rPr lang="en-GB" sz="1400" dirty="0" smtClean="0"/>
              <a:t>requirement</a:t>
            </a:r>
            <a:endParaRPr lang="en-GB" sz="1400" dirty="0"/>
          </a:p>
          <a:p>
            <a:pPr marL="285750" indent="-285750" eaLnBrk="1" hangingPunct="1">
              <a:lnSpc>
                <a:spcPct val="100000"/>
              </a:lnSpc>
              <a:spcBef>
                <a:spcPts val="600"/>
              </a:spcBef>
              <a:spcAft>
                <a:spcPts val="300"/>
              </a:spcAft>
              <a:buFont typeface="Wingdings" panose="05000000000000000000" pitchFamily="2" charset="2"/>
              <a:buChar char="§"/>
            </a:pPr>
            <a:r>
              <a:rPr lang="en-GB" sz="1600" dirty="0" smtClean="0"/>
              <a:t>The ranking should be relative against each work package </a:t>
            </a:r>
          </a:p>
          <a:p>
            <a:pPr marL="285750" indent="-285750" eaLnBrk="1" hangingPunct="1">
              <a:lnSpc>
                <a:spcPct val="100000"/>
              </a:lnSpc>
              <a:spcBef>
                <a:spcPts val="600"/>
              </a:spcBef>
              <a:spcAft>
                <a:spcPts val="300"/>
              </a:spcAft>
              <a:buFont typeface="Wingdings" panose="05000000000000000000" pitchFamily="2" charset="2"/>
              <a:buChar char="§"/>
            </a:pPr>
            <a:r>
              <a:rPr lang="en-GB" sz="1600" dirty="0" smtClean="0"/>
              <a:t>If any work packages need to dropped, then the future state value stream should be checked for impact</a:t>
            </a:r>
          </a:p>
        </p:txBody>
      </p:sp>
      <p:grpSp>
        <p:nvGrpSpPr>
          <p:cNvPr id="132104" name="Group 36"/>
          <p:cNvGrpSpPr>
            <a:grpSpLocks/>
          </p:cNvGrpSpPr>
          <p:nvPr/>
        </p:nvGrpSpPr>
        <p:grpSpPr bwMode="auto">
          <a:xfrm>
            <a:off x="4719639" y="1341438"/>
            <a:ext cx="4065588" cy="4938712"/>
            <a:chOff x="3020" y="845"/>
            <a:chExt cx="2561" cy="3111"/>
          </a:xfrm>
        </p:grpSpPr>
        <p:sp>
          <p:nvSpPr>
            <p:cNvPr id="132105" name="Rectangle 10"/>
            <p:cNvSpPr>
              <a:spLocks noChangeArrowheads="1"/>
            </p:cNvSpPr>
            <p:nvPr/>
          </p:nvSpPr>
          <p:spPr bwMode="auto">
            <a:xfrm>
              <a:off x="4398" y="2306"/>
              <a:ext cx="1158" cy="1461"/>
            </a:xfrm>
            <a:prstGeom prst="rect">
              <a:avLst/>
            </a:prstGeom>
            <a:noFill/>
            <a:ln w="9525">
              <a:noFill/>
              <a:miter lim="800000"/>
              <a:headEnd/>
              <a:tailEnd/>
            </a:ln>
          </p:spPr>
          <p:txBody>
            <a:bodyPr/>
            <a:lstStyle/>
            <a:p>
              <a:pPr>
                <a:lnSpc>
                  <a:spcPct val="102000"/>
                </a:lnSpc>
                <a:spcAft>
                  <a:spcPct val="37000"/>
                </a:spcAft>
                <a:tabLst>
                  <a:tab pos="5715000" algn="l"/>
                </a:tabLst>
              </a:pPr>
              <a:endParaRPr lang="en-US" sz="1600" b="0">
                <a:solidFill>
                  <a:srgbClr val="000066"/>
                </a:solidFill>
              </a:endParaRPr>
            </a:p>
          </p:txBody>
        </p:sp>
        <p:sp>
          <p:nvSpPr>
            <p:cNvPr id="132106" name="Rectangle 9"/>
            <p:cNvSpPr>
              <a:spLocks noChangeArrowheads="1"/>
            </p:cNvSpPr>
            <p:nvPr/>
          </p:nvSpPr>
          <p:spPr bwMode="auto">
            <a:xfrm>
              <a:off x="3240" y="2306"/>
              <a:ext cx="1158" cy="1461"/>
            </a:xfrm>
            <a:prstGeom prst="rect">
              <a:avLst/>
            </a:prstGeom>
            <a:noFill/>
            <a:ln w="9525">
              <a:noFill/>
              <a:miter lim="800000"/>
              <a:headEnd/>
              <a:tailEnd/>
            </a:ln>
          </p:spPr>
          <p:txBody>
            <a:bodyPr/>
            <a:lstStyle/>
            <a:p>
              <a:pPr>
                <a:lnSpc>
                  <a:spcPct val="102000"/>
                </a:lnSpc>
                <a:spcAft>
                  <a:spcPct val="37000"/>
                </a:spcAft>
                <a:tabLst>
                  <a:tab pos="5715000" algn="l"/>
                </a:tabLst>
              </a:pPr>
              <a:endParaRPr lang="en-US" sz="1600" b="0">
                <a:solidFill>
                  <a:srgbClr val="000066"/>
                </a:solidFill>
              </a:endParaRPr>
            </a:p>
          </p:txBody>
        </p:sp>
        <p:sp>
          <p:nvSpPr>
            <p:cNvPr id="132107" name="Rectangle 8"/>
            <p:cNvSpPr>
              <a:spLocks noChangeArrowheads="1"/>
            </p:cNvSpPr>
            <p:nvPr/>
          </p:nvSpPr>
          <p:spPr bwMode="auto">
            <a:xfrm>
              <a:off x="4398" y="845"/>
              <a:ext cx="1158" cy="1461"/>
            </a:xfrm>
            <a:prstGeom prst="rect">
              <a:avLst/>
            </a:prstGeom>
            <a:noFill/>
            <a:ln w="9525">
              <a:noFill/>
              <a:miter lim="800000"/>
              <a:headEnd/>
              <a:tailEnd/>
            </a:ln>
          </p:spPr>
          <p:txBody>
            <a:bodyPr/>
            <a:lstStyle/>
            <a:p>
              <a:pPr>
                <a:lnSpc>
                  <a:spcPct val="102000"/>
                </a:lnSpc>
                <a:spcAft>
                  <a:spcPct val="37000"/>
                </a:spcAft>
                <a:tabLst>
                  <a:tab pos="5715000" algn="l"/>
                </a:tabLst>
              </a:pPr>
              <a:endParaRPr lang="en-US" sz="1600" b="0">
                <a:solidFill>
                  <a:srgbClr val="000066"/>
                </a:solidFill>
              </a:endParaRPr>
            </a:p>
          </p:txBody>
        </p:sp>
        <p:sp>
          <p:nvSpPr>
            <p:cNvPr id="132108" name="Rectangle 7"/>
            <p:cNvSpPr>
              <a:spLocks noChangeArrowheads="1"/>
            </p:cNvSpPr>
            <p:nvPr/>
          </p:nvSpPr>
          <p:spPr bwMode="auto">
            <a:xfrm>
              <a:off x="3240" y="845"/>
              <a:ext cx="1158" cy="1461"/>
            </a:xfrm>
            <a:prstGeom prst="rect">
              <a:avLst/>
            </a:prstGeom>
            <a:noFill/>
            <a:ln w="9525">
              <a:noFill/>
              <a:miter lim="800000"/>
              <a:headEnd/>
              <a:tailEnd/>
            </a:ln>
          </p:spPr>
          <p:txBody>
            <a:bodyPr/>
            <a:lstStyle/>
            <a:p>
              <a:pPr>
                <a:lnSpc>
                  <a:spcPct val="102000"/>
                </a:lnSpc>
                <a:spcAft>
                  <a:spcPct val="37000"/>
                </a:spcAft>
                <a:tabLst>
                  <a:tab pos="5715000" algn="l"/>
                </a:tabLst>
              </a:pPr>
              <a:endParaRPr lang="en-US" sz="1600" b="0">
                <a:solidFill>
                  <a:srgbClr val="000066"/>
                </a:solidFill>
              </a:endParaRPr>
            </a:p>
          </p:txBody>
        </p:sp>
        <p:sp>
          <p:nvSpPr>
            <p:cNvPr id="132109" name="Line 11"/>
            <p:cNvSpPr>
              <a:spLocks noChangeShapeType="1"/>
            </p:cNvSpPr>
            <p:nvPr/>
          </p:nvSpPr>
          <p:spPr bwMode="auto">
            <a:xfrm>
              <a:off x="3240" y="845"/>
              <a:ext cx="2316" cy="0"/>
            </a:xfrm>
            <a:prstGeom prst="line">
              <a:avLst/>
            </a:prstGeom>
            <a:noFill/>
            <a:ln w="9525" cap="sq">
              <a:solidFill>
                <a:schemeClr val="accent1"/>
              </a:solidFill>
              <a:round/>
              <a:headEnd/>
              <a:tailEnd/>
            </a:ln>
          </p:spPr>
          <p:txBody>
            <a:bodyPr/>
            <a:lstStyle/>
            <a:p>
              <a:endParaRPr lang="en-GB"/>
            </a:p>
          </p:txBody>
        </p:sp>
        <p:sp>
          <p:nvSpPr>
            <p:cNvPr id="132111" name="Line 13"/>
            <p:cNvSpPr>
              <a:spLocks noChangeShapeType="1"/>
            </p:cNvSpPr>
            <p:nvPr/>
          </p:nvSpPr>
          <p:spPr bwMode="auto">
            <a:xfrm>
              <a:off x="3240" y="3767"/>
              <a:ext cx="2316" cy="0"/>
            </a:xfrm>
            <a:prstGeom prst="line">
              <a:avLst/>
            </a:prstGeom>
            <a:noFill/>
            <a:ln w="28575" cap="sq">
              <a:solidFill>
                <a:schemeClr val="accent1"/>
              </a:solidFill>
              <a:round/>
              <a:headEnd type="none" w="med" len="med"/>
              <a:tailEnd type="triangle" w="lg" len="lg"/>
            </a:ln>
          </p:spPr>
          <p:txBody>
            <a:bodyPr/>
            <a:lstStyle/>
            <a:p>
              <a:endParaRPr lang="en-GB"/>
            </a:p>
          </p:txBody>
        </p:sp>
        <p:sp>
          <p:nvSpPr>
            <p:cNvPr id="132112" name="Line 14"/>
            <p:cNvSpPr>
              <a:spLocks noChangeShapeType="1"/>
            </p:cNvSpPr>
            <p:nvPr/>
          </p:nvSpPr>
          <p:spPr bwMode="auto">
            <a:xfrm>
              <a:off x="3240" y="845"/>
              <a:ext cx="0" cy="2922"/>
            </a:xfrm>
            <a:prstGeom prst="line">
              <a:avLst/>
            </a:prstGeom>
            <a:noFill/>
            <a:ln w="28575" cap="sq">
              <a:solidFill>
                <a:schemeClr val="accent1"/>
              </a:solidFill>
              <a:round/>
              <a:headEnd type="triangle" w="lg" len="lg"/>
              <a:tailEnd type="none" w="med" len="med"/>
            </a:ln>
          </p:spPr>
          <p:txBody>
            <a:bodyPr/>
            <a:lstStyle/>
            <a:p>
              <a:endParaRPr lang="en-GB"/>
            </a:p>
          </p:txBody>
        </p:sp>
        <p:sp>
          <p:nvSpPr>
            <p:cNvPr id="132114" name="Line 16"/>
            <p:cNvSpPr>
              <a:spLocks noChangeShapeType="1"/>
            </p:cNvSpPr>
            <p:nvPr/>
          </p:nvSpPr>
          <p:spPr bwMode="auto">
            <a:xfrm>
              <a:off x="5556" y="845"/>
              <a:ext cx="0" cy="2922"/>
            </a:xfrm>
            <a:prstGeom prst="line">
              <a:avLst/>
            </a:prstGeom>
            <a:noFill/>
            <a:ln w="9525" cap="sq">
              <a:solidFill>
                <a:schemeClr val="accent1"/>
              </a:solidFill>
              <a:round/>
              <a:headEnd/>
              <a:tailEnd/>
            </a:ln>
          </p:spPr>
          <p:txBody>
            <a:bodyPr/>
            <a:lstStyle/>
            <a:p>
              <a:endParaRPr lang="en-GB"/>
            </a:p>
          </p:txBody>
        </p:sp>
        <p:sp>
          <p:nvSpPr>
            <p:cNvPr id="132115" name="Text Box 18"/>
            <p:cNvSpPr txBox="1">
              <a:spLocks noChangeArrowheads="1"/>
            </p:cNvSpPr>
            <p:nvPr/>
          </p:nvSpPr>
          <p:spPr bwMode="auto">
            <a:xfrm rot="-5400000">
              <a:off x="2241" y="2203"/>
              <a:ext cx="1769" cy="212"/>
            </a:xfrm>
            <a:prstGeom prst="rect">
              <a:avLst/>
            </a:prstGeom>
            <a:noFill/>
            <a:ln w="9525">
              <a:noFill/>
              <a:miter lim="800000"/>
              <a:headEnd/>
              <a:tailEnd/>
            </a:ln>
          </p:spPr>
          <p:txBody>
            <a:bodyPr>
              <a:spAutoFit/>
            </a:bodyPr>
            <a:lstStyle/>
            <a:p>
              <a:pPr algn="ctr">
                <a:spcBef>
                  <a:spcPct val="50000"/>
                </a:spcBef>
              </a:pPr>
              <a:r>
                <a:rPr lang="en-GB" sz="1600" b="0" dirty="0" smtClean="0">
                  <a:solidFill>
                    <a:srgbClr val="000066"/>
                  </a:solidFill>
                </a:rPr>
                <a:t>Expected benefits</a:t>
              </a:r>
              <a:endParaRPr lang="en-GB" sz="1600" b="0" dirty="0">
                <a:solidFill>
                  <a:srgbClr val="000066"/>
                </a:solidFill>
              </a:endParaRPr>
            </a:p>
          </p:txBody>
        </p:sp>
        <p:sp>
          <p:nvSpPr>
            <p:cNvPr id="132116" name="Text Box 19"/>
            <p:cNvSpPr txBox="1">
              <a:spLocks noChangeArrowheads="1"/>
            </p:cNvSpPr>
            <p:nvPr/>
          </p:nvSpPr>
          <p:spPr bwMode="auto">
            <a:xfrm>
              <a:off x="3531" y="3744"/>
              <a:ext cx="1769" cy="212"/>
            </a:xfrm>
            <a:prstGeom prst="rect">
              <a:avLst/>
            </a:prstGeom>
            <a:noFill/>
            <a:ln w="9525">
              <a:noFill/>
              <a:miter lim="800000"/>
              <a:headEnd/>
              <a:tailEnd/>
            </a:ln>
          </p:spPr>
          <p:txBody>
            <a:bodyPr>
              <a:spAutoFit/>
            </a:bodyPr>
            <a:lstStyle/>
            <a:p>
              <a:pPr algn="ctr">
                <a:spcBef>
                  <a:spcPct val="50000"/>
                </a:spcBef>
              </a:pPr>
              <a:r>
                <a:rPr lang="en-GB" sz="1600" b="0" dirty="0">
                  <a:solidFill>
                    <a:srgbClr val="000066"/>
                  </a:solidFill>
                </a:rPr>
                <a:t>Ease of Implementation</a:t>
              </a:r>
            </a:p>
          </p:txBody>
        </p:sp>
        <p:sp>
          <p:nvSpPr>
            <p:cNvPr id="132117" name="Text Box 20"/>
            <p:cNvSpPr txBox="1">
              <a:spLocks noChangeArrowheads="1"/>
            </p:cNvSpPr>
            <p:nvPr/>
          </p:nvSpPr>
          <p:spPr bwMode="auto">
            <a:xfrm>
              <a:off x="3235" y="3781"/>
              <a:ext cx="296" cy="155"/>
            </a:xfrm>
            <a:prstGeom prst="rect">
              <a:avLst/>
            </a:prstGeom>
            <a:noFill/>
            <a:ln w="9525">
              <a:noFill/>
              <a:miter lim="800000"/>
              <a:headEnd/>
              <a:tailEnd/>
            </a:ln>
          </p:spPr>
          <p:txBody>
            <a:bodyPr wrap="square">
              <a:spAutoFit/>
            </a:bodyPr>
            <a:lstStyle/>
            <a:p>
              <a:pPr algn="ctr">
                <a:spcBef>
                  <a:spcPct val="50000"/>
                </a:spcBef>
              </a:pPr>
              <a:r>
                <a:rPr lang="en-GB" sz="1000" b="0" dirty="0" smtClean="0">
                  <a:solidFill>
                    <a:srgbClr val="000066"/>
                  </a:solidFill>
                </a:rPr>
                <a:t>Easy</a:t>
              </a:r>
              <a:endParaRPr lang="en-GB" sz="1000" b="0" dirty="0">
                <a:solidFill>
                  <a:srgbClr val="000066"/>
                </a:solidFill>
              </a:endParaRPr>
            </a:p>
          </p:txBody>
        </p:sp>
        <p:sp>
          <p:nvSpPr>
            <p:cNvPr id="132118" name="Text Box 21"/>
            <p:cNvSpPr txBox="1">
              <a:spLocks noChangeArrowheads="1"/>
            </p:cNvSpPr>
            <p:nvPr/>
          </p:nvSpPr>
          <p:spPr bwMode="auto">
            <a:xfrm rot="-5400000">
              <a:off x="2995" y="3402"/>
              <a:ext cx="272" cy="154"/>
            </a:xfrm>
            <a:prstGeom prst="rect">
              <a:avLst/>
            </a:prstGeom>
            <a:noFill/>
            <a:ln w="9525">
              <a:noFill/>
              <a:miter lim="800000"/>
              <a:headEnd/>
              <a:tailEnd/>
            </a:ln>
          </p:spPr>
          <p:txBody>
            <a:bodyPr>
              <a:spAutoFit/>
            </a:bodyPr>
            <a:lstStyle/>
            <a:p>
              <a:pPr algn="ctr">
                <a:spcBef>
                  <a:spcPct val="50000"/>
                </a:spcBef>
              </a:pPr>
              <a:r>
                <a:rPr lang="en-GB" sz="1000" b="0">
                  <a:solidFill>
                    <a:srgbClr val="000066"/>
                  </a:solidFill>
                </a:rPr>
                <a:t>Low</a:t>
              </a:r>
            </a:p>
          </p:txBody>
        </p:sp>
        <p:sp>
          <p:nvSpPr>
            <p:cNvPr id="132119" name="Text Box 22"/>
            <p:cNvSpPr txBox="1">
              <a:spLocks noChangeArrowheads="1"/>
            </p:cNvSpPr>
            <p:nvPr/>
          </p:nvSpPr>
          <p:spPr bwMode="auto">
            <a:xfrm>
              <a:off x="5274" y="3781"/>
              <a:ext cx="307" cy="154"/>
            </a:xfrm>
            <a:prstGeom prst="rect">
              <a:avLst/>
            </a:prstGeom>
            <a:noFill/>
            <a:ln w="9525">
              <a:noFill/>
              <a:miter lim="800000"/>
              <a:headEnd/>
              <a:tailEnd/>
            </a:ln>
          </p:spPr>
          <p:txBody>
            <a:bodyPr>
              <a:spAutoFit/>
            </a:bodyPr>
            <a:lstStyle/>
            <a:p>
              <a:pPr algn="ctr">
                <a:spcBef>
                  <a:spcPct val="50000"/>
                </a:spcBef>
              </a:pPr>
              <a:r>
                <a:rPr lang="en-GB" sz="1000" b="0" dirty="0" smtClean="0">
                  <a:solidFill>
                    <a:srgbClr val="000066"/>
                  </a:solidFill>
                </a:rPr>
                <a:t>Hard</a:t>
              </a:r>
              <a:endParaRPr lang="en-GB" sz="1000" b="0" dirty="0">
                <a:solidFill>
                  <a:srgbClr val="000066"/>
                </a:solidFill>
              </a:endParaRPr>
            </a:p>
          </p:txBody>
        </p:sp>
        <p:sp>
          <p:nvSpPr>
            <p:cNvPr id="132120" name="Text Box 23"/>
            <p:cNvSpPr txBox="1">
              <a:spLocks noChangeArrowheads="1"/>
            </p:cNvSpPr>
            <p:nvPr/>
          </p:nvSpPr>
          <p:spPr bwMode="auto">
            <a:xfrm rot="-5400000">
              <a:off x="2995" y="1020"/>
              <a:ext cx="307" cy="154"/>
            </a:xfrm>
            <a:prstGeom prst="rect">
              <a:avLst/>
            </a:prstGeom>
            <a:noFill/>
            <a:ln w="9525">
              <a:noFill/>
              <a:miter lim="800000"/>
              <a:headEnd/>
              <a:tailEnd/>
            </a:ln>
          </p:spPr>
          <p:txBody>
            <a:bodyPr>
              <a:spAutoFit/>
            </a:bodyPr>
            <a:lstStyle/>
            <a:p>
              <a:pPr algn="ctr">
                <a:spcBef>
                  <a:spcPct val="50000"/>
                </a:spcBef>
              </a:pPr>
              <a:r>
                <a:rPr lang="en-GB" sz="1000" b="0">
                  <a:solidFill>
                    <a:srgbClr val="000066"/>
                  </a:solidFill>
                </a:rPr>
                <a:t>High</a:t>
              </a:r>
            </a:p>
          </p:txBody>
        </p:sp>
      </p:grpSp>
      <p:sp>
        <p:nvSpPr>
          <p:cNvPr id="35" name="5-Point Star 34"/>
          <p:cNvSpPr/>
          <p:nvPr/>
        </p:nvSpPr>
        <p:spPr>
          <a:xfrm>
            <a:off x="6221845" y="40944"/>
            <a:ext cx="341952" cy="341952"/>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bwMode="auto">
          <a:xfrm>
            <a:off x="5076825" y="1370466"/>
            <a:ext cx="3708402" cy="4533513"/>
          </a:xfrm>
          <a:prstGeom prst="rect">
            <a:avLst/>
          </a:prstGeom>
          <a:solidFill>
            <a:schemeClr val="bg1">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46" name="Line 12"/>
          <p:cNvSpPr>
            <a:spLocks noChangeShapeType="1"/>
          </p:cNvSpPr>
          <p:nvPr/>
        </p:nvSpPr>
        <p:spPr bwMode="auto">
          <a:xfrm>
            <a:off x="5068889" y="3660775"/>
            <a:ext cx="3676650" cy="0"/>
          </a:xfrm>
          <a:prstGeom prst="line">
            <a:avLst/>
          </a:prstGeom>
          <a:noFill/>
          <a:ln w="12700">
            <a:solidFill>
              <a:schemeClr val="accent1"/>
            </a:solidFill>
            <a:round/>
            <a:headEnd/>
            <a:tailEnd/>
          </a:ln>
        </p:spPr>
        <p:txBody>
          <a:bodyPr/>
          <a:lstStyle/>
          <a:p>
            <a:endParaRPr lang="en-GB"/>
          </a:p>
        </p:txBody>
      </p:sp>
      <p:sp>
        <p:nvSpPr>
          <p:cNvPr id="47" name="Line 15"/>
          <p:cNvSpPr>
            <a:spLocks noChangeShapeType="1"/>
          </p:cNvSpPr>
          <p:nvPr/>
        </p:nvSpPr>
        <p:spPr bwMode="auto">
          <a:xfrm>
            <a:off x="6907214" y="1341438"/>
            <a:ext cx="0" cy="4638675"/>
          </a:xfrm>
          <a:prstGeom prst="line">
            <a:avLst/>
          </a:prstGeom>
          <a:noFill/>
          <a:ln w="12700">
            <a:solidFill>
              <a:schemeClr val="accent1"/>
            </a:solidFill>
            <a:round/>
            <a:headEnd/>
            <a:tailEnd/>
          </a:ln>
        </p:spPr>
        <p:txBody>
          <a:bodyPr/>
          <a:lstStyle/>
          <a:p>
            <a:endParaRPr lang="en-GB"/>
          </a:p>
        </p:txBody>
      </p:sp>
      <p:sp>
        <p:nvSpPr>
          <p:cNvPr id="48" name="Text Box 24"/>
          <p:cNvSpPr txBox="1">
            <a:spLocks noChangeArrowheads="1"/>
          </p:cNvSpPr>
          <p:nvPr/>
        </p:nvSpPr>
        <p:spPr bwMode="auto">
          <a:xfrm>
            <a:off x="5444908" y="2982009"/>
            <a:ext cx="647700" cy="374650"/>
          </a:xfrm>
          <a:prstGeom prst="rect">
            <a:avLst/>
          </a:prstGeom>
          <a:solidFill>
            <a:srgbClr val="FFFF00"/>
          </a:solidFill>
          <a:ln w="9525">
            <a:solidFill>
              <a:srgbClr val="000066"/>
            </a:solidFill>
            <a:miter lim="800000"/>
            <a:headEnd/>
            <a:tailEnd/>
          </a:ln>
        </p:spPr>
        <p:txBody>
          <a:bodyPr>
            <a:spAutoFit/>
          </a:bodyPr>
          <a:lstStyle/>
          <a:p>
            <a:pPr>
              <a:spcBef>
                <a:spcPct val="50000"/>
              </a:spcBef>
            </a:pPr>
            <a:r>
              <a:rPr lang="en-GB" sz="900" b="0" dirty="0">
                <a:solidFill>
                  <a:srgbClr val="000066"/>
                </a:solidFill>
              </a:rPr>
              <a:t>Package – 5S</a:t>
            </a:r>
          </a:p>
        </p:txBody>
      </p:sp>
      <p:sp>
        <p:nvSpPr>
          <p:cNvPr id="49" name="Text Box 25"/>
          <p:cNvSpPr txBox="1">
            <a:spLocks noChangeArrowheads="1"/>
          </p:cNvSpPr>
          <p:nvPr/>
        </p:nvSpPr>
        <p:spPr bwMode="auto">
          <a:xfrm>
            <a:off x="7953377" y="4926013"/>
            <a:ext cx="647700" cy="374650"/>
          </a:xfrm>
          <a:prstGeom prst="rect">
            <a:avLst/>
          </a:prstGeom>
          <a:solidFill>
            <a:srgbClr val="FFFF00"/>
          </a:solidFill>
          <a:ln w="9525">
            <a:solidFill>
              <a:srgbClr val="000066"/>
            </a:solidFill>
            <a:miter lim="800000"/>
            <a:headEnd/>
            <a:tailEnd/>
          </a:ln>
        </p:spPr>
        <p:txBody>
          <a:bodyPr>
            <a:spAutoFit/>
          </a:bodyPr>
          <a:lstStyle/>
          <a:p>
            <a:pPr>
              <a:spcBef>
                <a:spcPct val="50000"/>
              </a:spcBef>
            </a:pPr>
            <a:r>
              <a:rPr lang="en-GB" sz="900" b="0">
                <a:solidFill>
                  <a:srgbClr val="000066"/>
                </a:solidFill>
              </a:rPr>
              <a:t>Package – IT</a:t>
            </a:r>
          </a:p>
        </p:txBody>
      </p:sp>
      <p:sp>
        <p:nvSpPr>
          <p:cNvPr id="50" name="Text Box 26"/>
          <p:cNvSpPr txBox="1">
            <a:spLocks noChangeArrowheads="1"/>
          </p:cNvSpPr>
          <p:nvPr/>
        </p:nvSpPr>
        <p:spPr bwMode="auto">
          <a:xfrm>
            <a:off x="7747230" y="2514374"/>
            <a:ext cx="647700" cy="374650"/>
          </a:xfrm>
          <a:prstGeom prst="rect">
            <a:avLst/>
          </a:prstGeom>
          <a:solidFill>
            <a:srgbClr val="FFFF00"/>
          </a:solidFill>
          <a:ln w="9525">
            <a:solidFill>
              <a:srgbClr val="000066"/>
            </a:solidFill>
            <a:miter lim="800000"/>
            <a:headEnd/>
            <a:tailEnd/>
          </a:ln>
        </p:spPr>
        <p:txBody>
          <a:bodyPr>
            <a:spAutoFit/>
          </a:bodyPr>
          <a:lstStyle/>
          <a:p>
            <a:pPr>
              <a:spcBef>
                <a:spcPct val="50000"/>
              </a:spcBef>
            </a:pPr>
            <a:r>
              <a:rPr lang="en-GB" sz="900" b="0" dirty="0">
                <a:solidFill>
                  <a:srgbClr val="000066"/>
                </a:solidFill>
              </a:rPr>
              <a:t>Package – Layout</a:t>
            </a:r>
          </a:p>
        </p:txBody>
      </p:sp>
      <p:sp>
        <p:nvSpPr>
          <p:cNvPr id="3" name="Isosceles Triangle 2"/>
          <p:cNvSpPr/>
          <p:nvPr/>
        </p:nvSpPr>
        <p:spPr bwMode="auto">
          <a:xfrm rot="5400000">
            <a:off x="7300690" y="4470397"/>
            <a:ext cx="243344" cy="1184280"/>
          </a:xfrm>
          <a:prstGeom prst="triangle">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2" name="Text Box 34"/>
          <p:cNvSpPr txBox="1">
            <a:spLocks noChangeArrowheads="1"/>
          </p:cNvSpPr>
          <p:nvPr/>
        </p:nvSpPr>
        <p:spPr bwMode="auto">
          <a:xfrm>
            <a:off x="5282297" y="4590136"/>
            <a:ext cx="1800225" cy="919401"/>
          </a:xfrm>
          <a:prstGeom prst="wedgeRoundRectCallout">
            <a:avLst>
              <a:gd name="adj1" fmla="val -24864"/>
              <a:gd name="adj2" fmla="val -185351"/>
              <a:gd name="adj3" fmla="val 16667"/>
            </a:avLst>
          </a:prstGeom>
          <a:solidFill>
            <a:schemeClr val="bg1">
              <a:lumMod val="50000"/>
            </a:schemeClr>
          </a:solidFill>
          <a:ln w="9525">
            <a:noFill/>
            <a:miter lim="800000"/>
            <a:headEnd/>
            <a:tailEnd/>
          </a:ln>
        </p:spPr>
        <p:txBody>
          <a:bodyPr>
            <a:spAutoFit/>
          </a:bodyPr>
          <a:lstStyle/>
          <a:p>
            <a:pPr>
              <a:spcBef>
                <a:spcPct val="50000"/>
              </a:spcBef>
            </a:pPr>
            <a:r>
              <a:rPr lang="en-GB" sz="1200" b="0" dirty="0">
                <a:solidFill>
                  <a:schemeClr val="bg1"/>
                </a:solidFill>
              </a:rPr>
              <a:t>Rankings are relative – 5S is easier to implement that IT, but has less impac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ED2H2HNpE.nhj8gtT5S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Fqw6ObvsE.Uv6ubMZS6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a6ZgcsggEW9ZwhL2jc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pke.q3MRk.rxVEJ5Ati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in">
  <a:themeElements>
    <a:clrScheme name="Deloitte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Standard_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Deloitte Standard_white 1">
        <a:dk1>
          <a:srgbClr val="D9D9B2"/>
        </a:dk1>
        <a:lt1>
          <a:srgbClr val="FFFFFF"/>
        </a:lt1>
        <a:dk2>
          <a:srgbClr val="E5E5CC"/>
        </a:dk2>
        <a:lt2>
          <a:srgbClr val="000066"/>
        </a:lt2>
        <a:accent1>
          <a:srgbClr val="800080"/>
        </a:accent1>
        <a:accent2>
          <a:srgbClr val="996633"/>
        </a:accent2>
        <a:accent3>
          <a:srgbClr val="F0F0E2"/>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FS2">
  <a:themeElements>
    <a:clrScheme name="Deloitte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White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eloitte White Presentation 1">
        <a:dk1>
          <a:srgbClr val="99CC00"/>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
      <a:clrScheme name="Deloitte White Presentation 2">
        <a:dk1>
          <a:srgbClr val="000066"/>
        </a:dk1>
        <a:lt1>
          <a:srgbClr val="FFFFFF"/>
        </a:lt1>
        <a:dk2>
          <a:srgbClr val="000066"/>
        </a:dk2>
        <a:lt2>
          <a:srgbClr val="99CC00"/>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Deloitte White Presentation 3">
        <a:dk1>
          <a:srgbClr val="D9DAB2"/>
        </a:dk1>
        <a:lt1>
          <a:srgbClr val="FFFFFF"/>
        </a:lt1>
        <a:dk2>
          <a:srgbClr val="000066"/>
        </a:dk2>
        <a:lt2>
          <a:srgbClr val="FFFFFF"/>
        </a:lt2>
        <a:accent1>
          <a:srgbClr val="800080"/>
        </a:accent1>
        <a:accent2>
          <a:srgbClr val="996633"/>
        </a:accent2>
        <a:accent3>
          <a:srgbClr val="AAAAB8"/>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
      <a:clrScheme name="Deloitte White Presentation 4">
        <a:dk1>
          <a:srgbClr val="000066"/>
        </a:dk1>
        <a:lt1>
          <a:srgbClr val="FFFFFF"/>
        </a:lt1>
        <a:dk2>
          <a:srgbClr val="000066"/>
        </a:dk2>
        <a:lt2>
          <a:srgbClr val="D9D9B2"/>
        </a:lt2>
        <a:accent1>
          <a:srgbClr val="800080"/>
        </a:accent1>
        <a:accent2>
          <a:srgbClr val="996633"/>
        </a:accent2>
        <a:accent3>
          <a:srgbClr val="FFFFFF"/>
        </a:accent3>
        <a:accent4>
          <a:srgbClr val="000056"/>
        </a:accent4>
        <a:accent5>
          <a:srgbClr val="C0AAC0"/>
        </a:accent5>
        <a:accent6>
          <a:srgbClr val="8A5C2D"/>
        </a:accent6>
        <a:hlink>
          <a:srgbClr val="336600"/>
        </a:hlink>
        <a:folHlink>
          <a:srgbClr val="6666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WorkPilot">
  <a:themeElements>
    <a:clrScheme name="Deloitte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White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eloitte White Presentation 1">
        <a:dk1>
          <a:srgbClr val="99CC00"/>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
      <a:clrScheme name="Deloitte White Presentation 2">
        <a:dk1>
          <a:srgbClr val="000066"/>
        </a:dk1>
        <a:lt1>
          <a:srgbClr val="FFFFFF"/>
        </a:lt1>
        <a:dk2>
          <a:srgbClr val="000066"/>
        </a:dk2>
        <a:lt2>
          <a:srgbClr val="99CC00"/>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Deloitte White Presentation 3">
        <a:dk1>
          <a:srgbClr val="D9DAB2"/>
        </a:dk1>
        <a:lt1>
          <a:srgbClr val="FFFFFF"/>
        </a:lt1>
        <a:dk2>
          <a:srgbClr val="000066"/>
        </a:dk2>
        <a:lt2>
          <a:srgbClr val="FFFFFF"/>
        </a:lt2>
        <a:accent1>
          <a:srgbClr val="800080"/>
        </a:accent1>
        <a:accent2>
          <a:srgbClr val="996633"/>
        </a:accent2>
        <a:accent3>
          <a:srgbClr val="AAAAB8"/>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
      <a:clrScheme name="Deloitte White Presentation 4">
        <a:dk1>
          <a:srgbClr val="000066"/>
        </a:dk1>
        <a:lt1>
          <a:srgbClr val="FFFFFF"/>
        </a:lt1>
        <a:dk2>
          <a:srgbClr val="000066"/>
        </a:dk2>
        <a:lt2>
          <a:srgbClr val="D9D9B2"/>
        </a:lt2>
        <a:accent1>
          <a:srgbClr val="800080"/>
        </a:accent1>
        <a:accent2>
          <a:srgbClr val="996633"/>
        </a:accent2>
        <a:accent3>
          <a:srgbClr val="FFFFFF"/>
        </a:accent3>
        <a:accent4>
          <a:srgbClr val="000056"/>
        </a:accent4>
        <a:accent5>
          <a:srgbClr val="C0AAC0"/>
        </a:accent5>
        <a:accent6>
          <a:srgbClr val="8A5C2D"/>
        </a:accent6>
        <a:hlink>
          <a:srgbClr val="336600"/>
        </a:hlink>
        <a:folHlink>
          <a:srgbClr val="6666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493</TotalTime>
  <Words>6800</Words>
  <Application>Microsoft Office PowerPoint</Application>
  <PresentationFormat>On-screen Show (4:3)</PresentationFormat>
  <Paragraphs>1438</Paragraphs>
  <Slides>72</Slides>
  <Notes>46</Notes>
  <HiddenSlides>1</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72</vt:i4>
      </vt:variant>
    </vt:vector>
  </HeadingPairs>
  <TitlesOfParts>
    <vt:vector size="91" baseType="lpstr">
      <vt:lpstr>MS Mincho</vt:lpstr>
      <vt:lpstr>SimSun</vt:lpstr>
      <vt:lpstr>Akzidenz Grotesk CE Roman</vt:lpstr>
      <vt:lpstr>Arial</vt:lpstr>
      <vt:lpstr>Arial (Body)</vt:lpstr>
      <vt:lpstr>Barclays Sans</vt:lpstr>
      <vt:lpstr>Courier New</vt:lpstr>
      <vt:lpstr>Futura Medium</vt:lpstr>
      <vt:lpstr>Monotype Sorts</vt:lpstr>
      <vt:lpstr>Symbol</vt:lpstr>
      <vt:lpstr>Times New Roman</vt:lpstr>
      <vt:lpstr>Verdana</vt:lpstr>
      <vt:lpstr>Wingdings</vt:lpstr>
      <vt:lpstr>Wingdings 2</vt:lpstr>
      <vt:lpstr>ヒラギノ角ゴ Pro W3</vt:lpstr>
      <vt:lpstr>Plain</vt:lpstr>
      <vt:lpstr>FS2</vt:lpstr>
      <vt:lpstr>WorkPilot</vt:lpstr>
      <vt:lpstr>think-cell Slide</vt:lpstr>
      <vt:lpstr>PowerPoint Presentation</vt:lpstr>
      <vt:lpstr>Agenda Day 4 – Future State 2 &amp; Work Pilot</vt:lpstr>
      <vt:lpstr>Teachback  So tell us what you know so far about LSS.... </vt:lpstr>
      <vt:lpstr>The Deloitte 5 Workshop Approach   Where does today fit in the 5 Workshop approach?</vt:lpstr>
      <vt:lpstr>Future State 2  What are the main objectives of the first Future State workshop?</vt:lpstr>
      <vt:lpstr>Agenda Day 4 – Future State 2 &amp; Work Pilot</vt:lpstr>
      <vt:lpstr>Action Brainstorm Note down all the ideas</vt:lpstr>
      <vt:lpstr>Work Breakdown Structure The breakdown of complex task into work packages</vt:lpstr>
      <vt:lpstr>Work Packages - Prioritisation What do to first</vt:lpstr>
      <vt:lpstr>Work Packages - Charter Development Each work package will become a mini-project on his own</vt:lpstr>
      <vt:lpstr>Work Packages - High Level Plan A view of all work packages</vt:lpstr>
      <vt:lpstr>Work Packages - Governance Vital implementation information</vt:lpstr>
      <vt:lpstr>Work Packages - Decision points Key stopping points</vt:lpstr>
      <vt:lpstr>Exercise Implementing the Future State Design  </vt:lpstr>
      <vt:lpstr>Agenda Day 4 – Future State 2 &amp; Work Pilot</vt:lpstr>
      <vt:lpstr>Work Pilot The final stages</vt:lpstr>
      <vt:lpstr>The Deloitte 5 Workshop Approach   Where does today fit in the 5 Workshop approach?</vt:lpstr>
      <vt:lpstr>Work Pilot definition What happens in this stage </vt:lpstr>
      <vt:lpstr>Why use a Work Pilot The uses</vt:lpstr>
      <vt:lpstr>Work Pilot objectives What we are planning to achieve</vt:lpstr>
      <vt:lpstr>The set up starts at the mobilisation phase The timeline of preparing for the work pilot</vt:lpstr>
      <vt:lpstr>Logistics of setting up a Work Pilot Things that need to be considered</vt:lpstr>
      <vt:lpstr>3 Levers to initiate a Continuous Improvement culture</vt:lpstr>
      <vt:lpstr>Success factors to run the work pilot Using the 3 Levers model to set up the work pilot</vt:lpstr>
      <vt:lpstr>Simulation Pilot Round Implement your future state design and run the final round</vt:lpstr>
      <vt:lpstr>Agenda Day 4 – Future State 2 &amp; Work Pilot</vt:lpstr>
      <vt:lpstr>Simulation Final Round Implement your future state design and run the final round</vt:lpstr>
      <vt:lpstr>Simulation Final Round Feedback and final round summary</vt:lpstr>
      <vt:lpstr>Agenda Day 4 – Future State 2 &amp; Work Pilot</vt:lpstr>
      <vt:lpstr>Lean management tools &amp; techniques </vt:lpstr>
      <vt:lpstr>Lean management tools &amp; techniques </vt:lpstr>
      <vt:lpstr>Lean management tools &amp; techniques 5S environment - Application of 5S in Office environments</vt:lpstr>
      <vt:lpstr>PowerPoint Presentation</vt:lpstr>
      <vt:lpstr>If you don’t believe me…</vt:lpstr>
      <vt:lpstr>Lean management tools &amp; techniques 5S environment - Application of 5S in Office environments</vt:lpstr>
      <vt:lpstr>Lean management tools &amp; techniques 5S environment - Application of 5S in Office environments</vt:lpstr>
      <vt:lpstr>Lean management tools &amp; techniques 5S environment - Application of 5S in IT Helpdesk Operations</vt:lpstr>
      <vt:lpstr>Lean management tools &amp; techniques 5S environment - Application of 5S in Shopfloor environments</vt:lpstr>
      <vt:lpstr>Lean management tools &amp; techniques 5S environment - Everyday application in the Kitchen</vt:lpstr>
      <vt:lpstr>Lean management tools &amp; techniques 5S: Sort   Straighten  Shine  Standarise  Sustain </vt:lpstr>
      <vt:lpstr>Tools &amp; Techniques </vt:lpstr>
      <vt:lpstr>Lean management tools &amp; techniques One of the foundation of 5S is Visual management</vt:lpstr>
      <vt:lpstr>Lean management tools &amp; techniques Visual management is here everyday</vt:lpstr>
      <vt:lpstr>Lean management tools &amp; techniques Simple visual aids can be used throughout the workplace</vt:lpstr>
      <vt:lpstr>Examples of visual management</vt:lpstr>
      <vt:lpstr>Lean management tools &amp; techniques Visual Management - KPI &amp; Metrics</vt:lpstr>
      <vt:lpstr>Lean management tools &amp; techniques Daily routine to review performance on the visual management board…</vt:lpstr>
      <vt:lpstr>Lean management tools &amp; techniques … and to capture the daily issues (variance from the standard)</vt:lpstr>
      <vt:lpstr>Lean management tools &amp; techniques Visual Management – the power of visual management is often neglected</vt:lpstr>
      <vt:lpstr>Lean management tools &amp; techniques Visual Management provides a foundation for building a lean environment</vt:lpstr>
      <vt:lpstr>Example Visual Management Displays</vt:lpstr>
      <vt:lpstr>PowerPoint Presentation</vt:lpstr>
      <vt:lpstr>Lean management tools &amp; techniques Formalising the skills matrix</vt:lpstr>
      <vt:lpstr>Lean management tools &amp; techniques An exercise in using SOPs</vt:lpstr>
      <vt:lpstr>Lean management tools &amp; techniques Pre requisites for Standard Work</vt:lpstr>
      <vt:lpstr>Lean management tools &amp; techniques Standard Work</vt:lpstr>
      <vt:lpstr>Lean management tools &amp; techniques Standard Work – Practical use</vt:lpstr>
      <vt:lpstr>PowerPoint Presentation</vt:lpstr>
      <vt:lpstr>Example Standard Work in Lean manufacturing</vt:lpstr>
      <vt:lpstr>Lean management tools &amp; techniques Standard Work key points</vt:lpstr>
      <vt:lpstr>Transferring activities to BAU Without this there is risk the changes and benefits may not be realised</vt:lpstr>
      <vt:lpstr>PowerPoint Presentation</vt:lpstr>
      <vt:lpstr>Agenda Day 4 – Future State 2 &amp; Work Pilot</vt:lpstr>
      <vt:lpstr>Day 4 Review and Wrap Up</vt:lpstr>
      <vt:lpstr>La communauté</vt:lpstr>
      <vt:lpstr>Lean Six Sigma en action</vt:lpstr>
      <vt:lpstr>La communauté LSS Deloitte</vt:lpstr>
      <vt:lpstr>La communauté LSS Deloitte</vt:lpstr>
      <vt:lpstr>La communauté LSS Deloitte</vt:lpstr>
      <vt:lpstr>Final Thoughts and Q&amp;A Session  Ask away...</vt:lpstr>
      <vt:lpstr>WWW &amp; WBBI Your thoughts</vt:lpstr>
      <vt:lpstr>PowerPoint Presentation</vt:lpstr>
    </vt:vector>
  </TitlesOfParts>
  <Company>Deloitte &amp; Touche LL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im Bates</dc:creator>
  <cp:lastModifiedBy>Muller, Xavier (FR - Paris)</cp:lastModifiedBy>
  <cp:revision>358</cp:revision>
  <cp:lastPrinted>2013-11-04T18:04:05Z</cp:lastPrinted>
  <dcterms:created xsi:type="dcterms:W3CDTF">2008-11-17T16:43:48Z</dcterms:created>
  <dcterms:modified xsi:type="dcterms:W3CDTF">2016-03-21T16:5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TDocType">
    <vt:lpwstr>Presentation</vt:lpwstr>
  </property>
</Properties>
</file>